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3.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98" r:id="rId3"/>
    <p:sldMasterId id="2147483752" r:id="rId4"/>
    <p:sldMasterId id="2147483801" r:id="rId5"/>
    <p:sldMasterId id="2147483813" r:id="rId6"/>
  </p:sldMasterIdLst>
  <p:notesMasterIdLst>
    <p:notesMasterId r:id="rId49"/>
  </p:notesMasterIdLst>
  <p:sldIdLst>
    <p:sldId id="260" r:id="rId7"/>
    <p:sldId id="366" r:id="rId8"/>
    <p:sldId id="365" r:id="rId9"/>
    <p:sldId id="383" r:id="rId10"/>
    <p:sldId id="259" r:id="rId11"/>
    <p:sldId id="263" r:id="rId12"/>
    <p:sldId id="385" r:id="rId13"/>
    <p:sldId id="403" r:id="rId14"/>
    <p:sldId id="384" r:id="rId15"/>
    <p:sldId id="267" r:id="rId16"/>
    <p:sldId id="386" r:id="rId17"/>
    <p:sldId id="388" r:id="rId18"/>
    <p:sldId id="387" r:id="rId19"/>
    <p:sldId id="389" r:id="rId20"/>
    <p:sldId id="398" r:id="rId21"/>
    <p:sldId id="400" r:id="rId22"/>
    <p:sldId id="394" r:id="rId23"/>
    <p:sldId id="396" r:id="rId24"/>
    <p:sldId id="399" r:id="rId25"/>
    <p:sldId id="395" r:id="rId26"/>
    <p:sldId id="390" r:id="rId27"/>
    <p:sldId id="391" r:id="rId28"/>
    <p:sldId id="392" r:id="rId29"/>
    <p:sldId id="393" r:id="rId30"/>
    <p:sldId id="404" r:id="rId31"/>
    <p:sldId id="405" r:id="rId32"/>
    <p:sldId id="401" r:id="rId33"/>
    <p:sldId id="402" r:id="rId34"/>
    <p:sldId id="266" r:id="rId35"/>
    <p:sldId id="273" r:id="rId36"/>
    <p:sldId id="284" r:id="rId37"/>
    <p:sldId id="344" r:id="rId38"/>
    <p:sldId id="345" r:id="rId39"/>
    <p:sldId id="340" r:id="rId40"/>
    <p:sldId id="363" r:id="rId41"/>
    <p:sldId id="286" r:id="rId42"/>
    <p:sldId id="289" r:id="rId43"/>
    <p:sldId id="290" r:id="rId44"/>
    <p:sldId id="351" r:id="rId45"/>
    <p:sldId id="352" r:id="rId46"/>
    <p:sldId id="346" r:id="rId47"/>
    <p:sldId id="307" r:id="rId48"/>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54512BCF-42FB-4A4B-8D05-0B54AD93009D}">
          <p14:sldIdLst>
            <p14:sldId id="260"/>
            <p14:sldId id="366"/>
            <p14:sldId id="365"/>
            <p14:sldId id="383"/>
            <p14:sldId id="259"/>
            <p14:sldId id="263"/>
            <p14:sldId id="385"/>
            <p14:sldId id="403"/>
          </p14:sldIdLst>
        </p14:section>
        <p14:section name="laser" id="{C4ABB8CA-D508-4617-BD31-63359E615101}">
          <p14:sldIdLst>
            <p14:sldId id="384"/>
            <p14:sldId id="267"/>
            <p14:sldId id="386"/>
            <p14:sldId id="388"/>
            <p14:sldId id="387"/>
            <p14:sldId id="389"/>
            <p14:sldId id="398"/>
            <p14:sldId id="400"/>
            <p14:sldId id="394"/>
            <p14:sldId id="396"/>
            <p14:sldId id="399"/>
            <p14:sldId id="395"/>
          </p14:sldIdLst>
        </p14:section>
        <p14:section name="2019" id="{939EFA42-AB79-45B9-820B-1B995D986AB9}">
          <p14:sldIdLst>
            <p14:sldId id="390"/>
          </p14:sldIdLst>
        </p14:section>
        <p14:section name="2020" id="{A915BA43-FBFF-4B32-8498-F203F4638556}">
          <p14:sldIdLst>
            <p14:sldId id="391"/>
            <p14:sldId id="392"/>
            <p14:sldId id="393"/>
            <p14:sldId id="404"/>
            <p14:sldId id="405"/>
            <p14:sldId id="401"/>
            <p14:sldId id="402"/>
            <p14:sldId id="266"/>
            <p14:sldId id="273"/>
            <p14:sldId id="284"/>
            <p14:sldId id="344"/>
            <p14:sldId id="345"/>
            <p14:sldId id="340"/>
            <p14:sldId id="363"/>
            <p14:sldId id="286"/>
            <p14:sldId id="289"/>
            <p14:sldId id="290"/>
            <p14:sldId id="351"/>
            <p14:sldId id="352"/>
            <p14:sldId id="346"/>
            <p14:sldId id="307"/>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ang Rui" initials="ZR" lastIdx="1" clrIdx="0">
    <p:extLst>
      <p:ext uri="{19B8F6BF-5375-455C-9EA6-DF929625EA0E}">
        <p15:presenceInfo xmlns:p15="http://schemas.microsoft.com/office/powerpoint/2012/main" userId="5ac6539f8edd20a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C3C00"/>
    <a:srgbClr val="505050"/>
    <a:srgbClr val="003963"/>
    <a:srgbClr val="1468C5"/>
    <a:srgbClr val="7030A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D113A9D2-9D6B-4929-AA2D-F23B5EE8CBE7}" styleName="テーマ スタイル 2 - アクセント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E9639D4-E3E2-4D34-9284-5A2195B3D0D7}" styleName="スタイル (淡色)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9" d="100"/>
          <a:sy n="159" d="100"/>
        </p:scale>
        <p:origin x="168" y="13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heme" Target="theme/theme1.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8" Type="http://schemas.openxmlformats.org/officeDocument/2006/relationships/slide" Target="slides/slide2.xml"/><Relationship Id="rId51"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Dice-K\Documents\Tokyo%20Institute%20of%20Technology\Research\Ir5Ce_Photocathode\Heating_Method\EB_Heating\Choke_Structure\data_Spara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924265191897013"/>
          <c:y val="5.1400554097404488E-2"/>
          <c:w val="0.71196507541569587"/>
          <c:h val="0.75456747196001794"/>
        </c:manualLayout>
      </c:layout>
      <c:scatterChart>
        <c:scatterStyle val="smoothMarker"/>
        <c:varyColors val="0"/>
        <c:ser>
          <c:idx val="0"/>
          <c:order val="0"/>
          <c:tx>
            <c:v>Reflection</c:v>
          </c:tx>
          <c:spPr>
            <a:ln w="25400">
              <a:solidFill>
                <a:srgbClr val="0070C0"/>
              </a:solidFill>
            </a:ln>
          </c:spPr>
          <c:marker>
            <c:symbol val="none"/>
          </c:marker>
          <c:xVal>
            <c:numRef>
              <c:f>data_Spara2!$B$3:$B$10003</c:f>
              <c:numCache>
                <c:formatCode>General</c:formatCode>
                <c:ptCount val="10001"/>
                <c:pt idx="0">
                  <c:v>2</c:v>
                </c:pt>
                <c:pt idx="1">
                  <c:v>2.0001997999999999</c:v>
                </c:pt>
                <c:pt idx="2">
                  <c:v>2.0003997999999998</c:v>
                </c:pt>
                <c:pt idx="3">
                  <c:v>2.0006001000000002</c:v>
                </c:pt>
                <c:pt idx="4">
                  <c:v>2.0007999000000001</c:v>
                </c:pt>
                <c:pt idx="5">
                  <c:v>2.0009999000000001</c:v>
                </c:pt>
                <c:pt idx="6">
                  <c:v>2.0011999999999999</c:v>
                </c:pt>
                <c:pt idx="7">
                  <c:v>2.0013999999999998</c:v>
                </c:pt>
                <c:pt idx="8">
                  <c:v>2.0015999999999998</c:v>
                </c:pt>
                <c:pt idx="9">
                  <c:v>2.0017998000000001</c:v>
                </c:pt>
                <c:pt idx="10">
                  <c:v>2.0019998999999999</c:v>
                </c:pt>
                <c:pt idx="11">
                  <c:v>2.0021998999999999</c:v>
                </c:pt>
                <c:pt idx="12">
                  <c:v>2.0023998999999999</c:v>
                </c:pt>
                <c:pt idx="13">
                  <c:v>2.0026000000000002</c:v>
                </c:pt>
                <c:pt idx="14">
                  <c:v>2.0028000000000001</c:v>
                </c:pt>
                <c:pt idx="15">
                  <c:v>2.0030000000000001</c:v>
                </c:pt>
                <c:pt idx="16">
                  <c:v>2.0032000999999999</c:v>
                </c:pt>
                <c:pt idx="17">
                  <c:v>2.0033998</c:v>
                </c:pt>
                <c:pt idx="18">
                  <c:v>2.0035999000000002</c:v>
                </c:pt>
                <c:pt idx="19">
                  <c:v>2.0037999000000002</c:v>
                </c:pt>
                <c:pt idx="20">
                  <c:v>2.0039999000000002</c:v>
                </c:pt>
                <c:pt idx="21">
                  <c:v>2.0042</c:v>
                </c:pt>
                <c:pt idx="22">
                  <c:v>2.0044</c:v>
                </c:pt>
                <c:pt idx="23">
                  <c:v>2.0045999999999999</c:v>
                </c:pt>
                <c:pt idx="24">
                  <c:v>2.0047997999999998</c:v>
                </c:pt>
                <c:pt idx="25">
                  <c:v>2.0049999000000001</c:v>
                </c:pt>
                <c:pt idx="26">
                  <c:v>2.0051999</c:v>
                </c:pt>
                <c:pt idx="27">
                  <c:v>2.0053999</c:v>
                </c:pt>
                <c:pt idx="28">
                  <c:v>2.0055999999999998</c:v>
                </c:pt>
                <c:pt idx="29">
                  <c:v>2.0057998000000001</c:v>
                </c:pt>
                <c:pt idx="30">
                  <c:v>2.0059999999999998</c:v>
                </c:pt>
                <c:pt idx="31">
                  <c:v>2.0062001</c:v>
                </c:pt>
                <c:pt idx="32">
                  <c:v>2.0063998999999999</c:v>
                </c:pt>
                <c:pt idx="33">
                  <c:v>2.0065998999999999</c:v>
                </c:pt>
                <c:pt idx="34">
                  <c:v>2.0067998999999999</c:v>
                </c:pt>
                <c:pt idx="35">
                  <c:v>2.0070000000000001</c:v>
                </c:pt>
                <c:pt idx="36">
                  <c:v>2.0072000000000001</c:v>
                </c:pt>
                <c:pt idx="37">
                  <c:v>2.0073998</c:v>
                </c:pt>
                <c:pt idx="38">
                  <c:v>2.0075997999999999</c:v>
                </c:pt>
                <c:pt idx="39">
                  <c:v>2.0078000999999999</c:v>
                </c:pt>
                <c:pt idx="40">
                  <c:v>2.0079999000000002</c:v>
                </c:pt>
                <c:pt idx="41">
                  <c:v>2.0081999000000001</c:v>
                </c:pt>
                <c:pt idx="42">
                  <c:v>2.0084</c:v>
                </c:pt>
                <c:pt idx="43">
                  <c:v>2.0085999999999999</c:v>
                </c:pt>
                <c:pt idx="44">
                  <c:v>2.0087999999999999</c:v>
                </c:pt>
                <c:pt idx="45">
                  <c:v>2.0089997999999998</c:v>
                </c:pt>
                <c:pt idx="46">
                  <c:v>2.0091999</c:v>
                </c:pt>
                <c:pt idx="47">
                  <c:v>2.0093999</c:v>
                </c:pt>
                <c:pt idx="48">
                  <c:v>2.0095999</c:v>
                </c:pt>
                <c:pt idx="49">
                  <c:v>2.0097999999999998</c:v>
                </c:pt>
                <c:pt idx="50">
                  <c:v>2.0099999999999998</c:v>
                </c:pt>
                <c:pt idx="51">
                  <c:v>2.0102000000000002</c:v>
                </c:pt>
                <c:pt idx="52">
                  <c:v>2.0104001</c:v>
                </c:pt>
                <c:pt idx="53">
                  <c:v>2.0105998999999999</c:v>
                </c:pt>
                <c:pt idx="54">
                  <c:v>2.0107998999999999</c:v>
                </c:pt>
                <c:pt idx="55">
                  <c:v>2.0109998999999998</c:v>
                </c:pt>
                <c:pt idx="56">
                  <c:v>2.0112000000000001</c:v>
                </c:pt>
                <c:pt idx="57">
                  <c:v>2.0114000000000001</c:v>
                </c:pt>
                <c:pt idx="58">
                  <c:v>2.0116000000000001</c:v>
                </c:pt>
                <c:pt idx="59">
                  <c:v>2.0118000999999999</c:v>
                </c:pt>
                <c:pt idx="60">
                  <c:v>2.0119997999999999</c:v>
                </c:pt>
                <c:pt idx="61">
                  <c:v>2.0121999000000002</c:v>
                </c:pt>
                <c:pt idx="62">
                  <c:v>2.0123999000000001</c:v>
                </c:pt>
                <c:pt idx="63">
                  <c:v>2.0125999000000001</c:v>
                </c:pt>
                <c:pt idx="64">
                  <c:v>2.0127999999999999</c:v>
                </c:pt>
                <c:pt idx="65">
                  <c:v>2.0129997999999998</c:v>
                </c:pt>
                <c:pt idx="66">
                  <c:v>2.0131999999999999</c:v>
                </c:pt>
                <c:pt idx="67">
                  <c:v>2.0134001000000001</c:v>
                </c:pt>
                <c:pt idx="68">
                  <c:v>2.0135999</c:v>
                </c:pt>
                <c:pt idx="69">
                  <c:v>2.0137999</c:v>
                </c:pt>
                <c:pt idx="70">
                  <c:v>2.0139999</c:v>
                </c:pt>
                <c:pt idx="71">
                  <c:v>2.0142000000000002</c:v>
                </c:pt>
                <c:pt idx="72">
                  <c:v>2.0144000000000002</c:v>
                </c:pt>
                <c:pt idx="73">
                  <c:v>2.0145998000000001</c:v>
                </c:pt>
                <c:pt idx="74">
                  <c:v>2.0147998</c:v>
                </c:pt>
                <c:pt idx="75">
                  <c:v>2.0150001</c:v>
                </c:pt>
                <c:pt idx="76">
                  <c:v>2.0151998999999998</c:v>
                </c:pt>
                <c:pt idx="77">
                  <c:v>2.0153998999999998</c:v>
                </c:pt>
                <c:pt idx="78">
                  <c:v>2.0156000000000001</c:v>
                </c:pt>
                <c:pt idx="79">
                  <c:v>2.0158</c:v>
                </c:pt>
                <c:pt idx="80">
                  <c:v>2.016</c:v>
                </c:pt>
                <c:pt idx="81">
                  <c:v>2.0161997999999999</c:v>
                </c:pt>
                <c:pt idx="82">
                  <c:v>2.0163999000000001</c:v>
                </c:pt>
                <c:pt idx="83">
                  <c:v>2.0165999000000001</c:v>
                </c:pt>
                <c:pt idx="84">
                  <c:v>2.0167999000000001</c:v>
                </c:pt>
                <c:pt idx="85">
                  <c:v>2.0169999999999999</c:v>
                </c:pt>
                <c:pt idx="86">
                  <c:v>2.0171999999999999</c:v>
                </c:pt>
                <c:pt idx="87">
                  <c:v>2.0173999999999999</c:v>
                </c:pt>
                <c:pt idx="88">
                  <c:v>2.0176001000000001</c:v>
                </c:pt>
                <c:pt idx="89">
                  <c:v>2.0177999</c:v>
                </c:pt>
                <c:pt idx="90">
                  <c:v>2.0179999</c:v>
                </c:pt>
                <c:pt idx="91">
                  <c:v>2.0181998999999999</c:v>
                </c:pt>
                <c:pt idx="92">
                  <c:v>2.0184000000000002</c:v>
                </c:pt>
                <c:pt idx="93">
                  <c:v>2.0186000000000002</c:v>
                </c:pt>
                <c:pt idx="94">
                  <c:v>2.0188000000000001</c:v>
                </c:pt>
                <c:pt idx="95">
                  <c:v>2.0190001</c:v>
                </c:pt>
                <c:pt idx="96">
                  <c:v>2.0191998</c:v>
                </c:pt>
                <c:pt idx="97">
                  <c:v>2.0193998999999998</c:v>
                </c:pt>
                <c:pt idx="98">
                  <c:v>2.0195998999999998</c:v>
                </c:pt>
                <c:pt idx="99">
                  <c:v>2.0197999000000002</c:v>
                </c:pt>
                <c:pt idx="100">
                  <c:v>2.02</c:v>
                </c:pt>
                <c:pt idx="101">
                  <c:v>2.0201997999999999</c:v>
                </c:pt>
                <c:pt idx="102">
                  <c:v>2.0204</c:v>
                </c:pt>
                <c:pt idx="103">
                  <c:v>2.0206000999999998</c:v>
                </c:pt>
                <c:pt idx="104">
                  <c:v>2.0207999000000001</c:v>
                </c:pt>
                <c:pt idx="105">
                  <c:v>2.0209999000000001</c:v>
                </c:pt>
                <c:pt idx="106">
                  <c:v>2.0211999</c:v>
                </c:pt>
                <c:pt idx="107">
                  <c:v>2.0213999999999999</c:v>
                </c:pt>
                <c:pt idx="108">
                  <c:v>2.0215999999999998</c:v>
                </c:pt>
                <c:pt idx="109">
                  <c:v>2.0217998000000001</c:v>
                </c:pt>
                <c:pt idx="110">
                  <c:v>2.0219998000000001</c:v>
                </c:pt>
                <c:pt idx="111">
                  <c:v>2.0222001000000001</c:v>
                </c:pt>
                <c:pt idx="112">
                  <c:v>2.0223998999999999</c:v>
                </c:pt>
                <c:pt idx="113">
                  <c:v>2.0225998999999999</c:v>
                </c:pt>
                <c:pt idx="114">
                  <c:v>2.0228000000000002</c:v>
                </c:pt>
                <c:pt idx="115">
                  <c:v>2.0230000000000001</c:v>
                </c:pt>
                <c:pt idx="116">
                  <c:v>2.0232000000000001</c:v>
                </c:pt>
                <c:pt idx="117">
                  <c:v>2.0233998</c:v>
                </c:pt>
                <c:pt idx="118">
                  <c:v>2.0235998999999998</c:v>
                </c:pt>
                <c:pt idx="119">
                  <c:v>2.0237999000000002</c:v>
                </c:pt>
                <c:pt idx="120">
                  <c:v>2.0239999000000002</c:v>
                </c:pt>
                <c:pt idx="121">
                  <c:v>2.0242</c:v>
                </c:pt>
                <c:pt idx="122">
                  <c:v>2.0244</c:v>
                </c:pt>
                <c:pt idx="123">
                  <c:v>2.0246</c:v>
                </c:pt>
                <c:pt idx="124">
                  <c:v>2.0247997999999998</c:v>
                </c:pt>
                <c:pt idx="125">
                  <c:v>2.0249999000000001</c:v>
                </c:pt>
                <c:pt idx="126">
                  <c:v>2.0251999000000001</c:v>
                </c:pt>
                <c:pt idx="127">
                  <c:v>2.0253999</c:v>
                </c:pt>
                <c:pt idx="128">
                  <c:v>2.0255999999999998</c:v>
                </c:pt>
                <c:pt idx="129">
                  <c:v>2.0257999999999998</c:v>
                </c:pt>
                <c:pt idx="130">
                  <c:v>2.0259999999999998</c:v>
                </c:pt>
                <c:pt idx="131">
                  <c:v>2.0262001000000001</c:v>
                </c:pt>
                <c:pt idx="132">
                  <c:v>2.0263998999999999</c:v>
                </c:pt>
                <c:pt idx="133">
                  <c:v>2.0265998999999999</c:v>
                </c:pt>
                <c:pt idx="134">
                  <c:v>2.0267998999999999</c:v>
                </c:pt>
                <c:pt idx="135">
                  <c:v>2.0270000000000001</c:v>
                </c:pt>
                <c:pt idx="136">
                  <c:v>2.0272000000000001</c:v>
                </c:pt>
                <c:pt idx="137">
                  <c:v>2.0273998</c:v>
                </c:pt>
                <c:pt idx="138">
                  <c:v>2.0276000000000001</c:v>
                </c:pt>
                <c:pt idx="139">
                  <c:v>2.0278000999999999</c:v>
                </c:pt>
                <c:pt idx="140">
                  <c:v>2.0279999000000002</c:v>
                </c:pt>
                <c:pt idx="141">
                  <c:v>2.0281999000000002</c:v>
                </c:pt>
                <c:pt idx="142">
                  <c:v>2.0283999000000001</c:v>
                </c:pt>
                <c:pt idx="143">
                  <c:v>2.0286</c:v>
                </c:pt>
                <c:pt idx="144">
                  <c:v>2.0287999999999999</c:v>
                </c:pt>
                <c:pt idx="145">
                  <c:v>2.0289997999999998</c:v>
                </c:pt>
                <c:pt idx="146">
                  <c:v>2.0291998000000002</c:v>
                </c:pt>
                <c:pt idx="147">
                  <c:v>2.0294001000000002</c:v>
                </c:pt>
                <c:pt idx="148">
                  <c:v>2.0295999</c:v>
                </c:pt>
                <c:pt idx="149">
                  <c:v>2.0297999</c:v>
                </c:pt>
                <c:pt idx="150">
                  <c:v>2.0299999999999998</c:v>
                </c:pt>
                <c:pt idx="151">
                  <c:v>2.0301999999999998</c:v>
                </c:pt>
                <c:pt idx="152">
                  <c:v>2.0304000000000002</c:v>
                </c:pt>
                <c:pt idx="153">
                  <c:v>2.0305998000000001</c:v>
                </c:pt>
                <c:pt idx="154">
                  <c:v>2.0307998999999999</c:v>
                </c:pt>
                <c:pt idx="155">
                  <c:v>2.0309998999999999</c:v>
                </c:pt>
                <c:pt idx="156">
                  <c:v>2.0311998999999998</c:v>
                </c:pt>
                <c:pt idx="157">
                  <c:v>2.0314000000000001</c:v>
                </c:pt>
                <c:pt idx="158">
                  <c:v>2.0316000000000001</c:v>
                </c:pt>
                <c:pt idx="159">
                  <c:v>2.0318000000000001</c:v>
                </c:pt>
                <c:pt idx="160">
                  <c:v>2.0319997999999999</c:v>
                </c:pt>
                <c:pt idx="161">
                  <c:v>2.0321999000000002</c:v>
                </c:pt>
                <c:pt idx="162">
                  <c:v>2.0323999000000001</c:v>
                </c:pt>
                <c:pt idx="163">
                  <c:v>2.0325999000000001</c:v>
                </c:pt>
                <c:pt idx="164">
                  <c:v>2.0327999999999999</c:v>
                </c:pt>
                <c:pt idx="165">
                  <c:v>2.0329999999999999</c:v>
                </c:pt>
                <c:pt idx="166">
                  <c:v>2.0331999999999999</c:v>
                </c:pt>
                <c:pt idx="167">
                  <c:v>2.0334001000000002</c:v>
                </c:pt>
                <c:pt idx="168">
                  <c:v>2.0335999</c:v>
                </c:pt>
                <c:pt idx="169">
                  <c:v>2.0337999</c:v>
                </c:pt>
                <c:pt idx="170">
                  <c:v>2.0339999</c:v>
                </c:pt>
                <c:pt idx="171">
                  <c:v>2.0341999999999998</c:v>
                </c:pt>
                <c:pt idx="172">
                  <c:v>2.0344000000000002</c:v>
                </c:pt>
                <c:pt idx="173">
                  <c:v>2.0345998000000001</c:v>
                </c:pt>
                <c:pt idx="174">
                  <c:v>2.0348001</c:v>
                </c:pt>
                <c:pt idx="175">
                  <c:v>2.0350001</c:v>
                </c:pt>
                <c:pt idx="176">
                  <c:v>2.0351998999999998</c:v>
                </c:pt>
                <c:pt idx="177">
                  <c:v>2.0353998999999998</c:v>
                </c:pt>
                <c:pt idx="178">
                  <c:v>2.0355998999999998</c:v>
                </c:pt>
                <c:pt idx="179">
                  <c:v>2.0358000000000001</c:v>
                </c:pt>
                <c:pt idx="180">
                  <c:v>2.036</c:v>
                </c:pt>
                <c:pt idx="181">
                  <c:v>2.0361997999999999</c:v>
                </c:pt>
                <c:pt idx="182">
                  <c:v>2.0363997999999999</c:v>
                </c:pt>
                <c:pt idx="183">
                  <c:v>2.0366000999999998</c:v>
                </c:pt>
                <c:pt idx="184">
                  <c:v>2.0367999000000001</c:v>
                </c:pt>
                <c:pt idx="185">
                  <c:v>2.0369999000000001</c:v>
                </c:pt>
                <c:pt idx="186">
                  <c:v>2.0371999999999999</c:v>
                </c:pt>
                <c:pt idx="187">
                  <c:v>2.0373999999999999</c:v>
                </c:pt>
                <c:pt idx="188">
                  <c:v>2.0375999999999999</c:v>
                </c:pt>
                <c:pt idx="189">
                  <c:v>2.0377998000000002</c:v>
                </c:pt>
                <c:pt idx="190">
                  <c:v>2.0379999</c:v>
                </c:pt>
                <c:pt idx="191">
                  <c:v>2.0381999</c:v>
                </c:pt>
                <c:pt idx="192">
                  <c:v>2.0383998999999999</c:v>
                </c:pt>
                <c:pt idx="193">
                  <c:v>2.0386000000000002</c:v>
                </c:pt>
                <c:pt idx="194">
                  <c:v>2.0388000000000002</c:v>
                </c:pt>
                <c:pt idx="195">
                  <c:v>2.0390000000000001</c:v>
                </c:pt>
                <c:pt idx="196">
                  <c:v>2.0391998</c:v>
                </c:pt>
                <c:pt idx="197">
                  <c:v>2.0393998999999998</c:v>
                </c:pt>
                <c:pt idx="198">
                  <c:v>2.0395998999999998</c:v>
                </c:pt>
                <c:pt idx="199">
                  <c:v>2.0397999000000002</c:v>
                </c:pt>
                <c:pt idx="200">
                  <c:v>2.04</c:v>
                </c:pt>
                <c:pt idx="201">
                  <c:v>2.0402</c:v>
                </c:pt>
                <c:pt idx="202">
                  <c:v>2.0404</c:v>
                </c:pt>
                <c:pt idx="203">
                  <c:v>2.0406000999999998</c:v>
                </c:pt>
                <c:pt idx="204">
                  <c:v>2.0407999000000001</c:v>
                </c:pt>
                <c:pt idx="205">
                  <c:v>2.0409999000000001</c:v>
                </c:pt>
                <c:pt idx="206">
                  <c:v>2.0411999000000001</c:v>
                </c:pt>
                <c:pt idx="207">
                  <c:v>2.0413999999999999</c:v>
                </c:pt>
                <c:pt idx="208">
                  <c:v>2.0415999999999999</c:v>
                </c:pt>
                <c:pt idx="209">
                  <c:v>2.0417998000000002</c:v>
                </c:pt>
                <c:pt idx="210">
                  <c:v>2.0420001000000001</c:v>
                </c:pt>
                <c:pt idx="211">
                  <c:v>2.0422001000000001</c:v>
                </c:pt>
                <c:pt idx="212">
                  <c:v>2.0423998999999999</c:v>
                </c:pt>
                <c:pt idx="213">
                  <c:v>2.0425998999999999</c:v>
                </c:pt>
                <c:pt idx="214">
                  <c:v>2.0427998999999999</c:v>
                </c:pt>
                <c:pt idx="215">
                  <c:v>2.0430000000000001</c:v>
                </c:pt>
                <c:pt idx="216">
                  <c:v>2.0432000000000001</c:v>
                </c:pt>
                <c:pt idx="217">
                  <c:v>2.0433998</c:v>
                </c:pt>
                <c:pt idx="218">
                  <c:v>2.0435998</c:v>
                </c:pt>
                <c:pt idx="219">
                  <c:v>2.0438000999999999</c:v>
                </c:pt>
                <c:pt idx="220">
                  <c:v>2.0439999000000002</c:v>
                </c:pt>
                <c:pt idx="221">
                  <c:v>2.0441999000000002</c:v>
                </c:pt>
                <c:pt idx="222">
                  <c:v>2.0444</c:v>
                </c:pt>
                <c:pt idx="223">
                  <c:v>2.0446</c:v>
                </c:pt>
                <c:pt idx="224">
                  <c:v>2.0448</c:v>
                </c:pt>
                <c:pt idx="225">
                  <c:v>2.0449997999999998</c:v>
                </c:pt>
                <c:pt idx="226">
                  <c:v>2.0451999000000001</c:v>
                </c:pt>
                <c:pt idx="227">
                  <c:v>2.0453999</c:v>
                </c:pt>
                <c:pt idx="228">
                  <c:v>2.0455999</c:v>
                </c:pt>
                <c:pt idx="229">
                  <c:v>2.0457999999999998</c:v>
                </c:pt>
                <c:pt idx="230">
                  <c:v>2.0459999999999998</c:v>
                </c:pt>
                <c:pt idx="231">
                  <c:v>2.0461999999999998</c:v>
                </c:pt>
                <c:pt idx="232">
                  <c:v>2.0463998000000001</c:v>
                </c:pt>
                <c:pt idx="233">
                  <c:v>2.0465998999999999</c:v>
                </c:pt>
                <c:pt idx="234">
                  <c:v>2.0467998999999999</c:v>
                </c:pt>
                <c:pt idx="235">
                  <c:v>2.0469998999999999</c:v>
                </c:pt>
                <c:pt idx="236">
                  <c:v>2.0472000000000001</c:v>
                </c:pt>
                <c:pt idx="237">
                  <c:v>2.0473998</c:v>
                </c:pt>
                <c:pt idx="238">
                  <c:v>2.0476000000000001</c:v>
                </c:pt>
                <c:pt idx="239">
                  <c:v>2.0478000999999999</c:v>
                </c:pt>
                <c:pt idx="240">
                  <c:v>2.0479999000000002</c:v>
                </c:pt>
                <c:pt idx="241">
                  <c:v>2.0481999000000002</c:v>
                </c:pt>
                <c:pt idx="242">
                  <c:v>2.0483999000000002</c:v>
                </c:pt>
                <c:pt idx="243">
                  <c:v>2.0486</c:v>
                </c:pt>
                <c:pt idx="244">
                  <c:v>2.0488</c:v>
                </c:pt>
                <c:pt idx="245">
                  <c:v>2.0489997999999998</c:v>
                </c:pt>
                <c:pt idx="246">
                  <c:v>2.0492001000000002</c:v>
                </c:pt>
                <c:pt idx="247">
                  <c:v>2.0494001000000002</c:v>
                </c:pt>
                <c:pt idx="248">
                  <c:v>2.0495999</c:v>
                </c:pt>
                <c:pt idx="249">
                  <c:v>2.0497999</c:v>
                </c:pt>
                <c:pt idx="250">
                  <c:v>2.0499999999999998</c:v>
                </c:pt>
                <c:pt idx="251">
                  <c:v>2.0501999999999998</c:v>
                </c:pt>
                <c:pt idx="252">
                  <c:v>2.0503999999999998</c:v>
                </c:pt>
                <c:pt idx="253">
                  <c:v>2.0505998000000001</c:v>
                </c:pt>
                <c:pt idx="254">
                  <c:v>2.0507998000000001</c:v>
                </c:pt>
                <c:pt idx="255">
                  <c:v>2.0510001</c:v>
                </c:pt>
                <c:pt idx="256">
                  <c:v>2.0511998999999999</c:v>
                </c:pt>
                <c:pt idx="257">
                  <c:v>2.0513998999999998</c:v>
                </c:pt>
                <c:pt idx="258">
                  <c:v>2.0516000000000001</c:v>
                </c:pt>
                <c:pt idx="259">
                  <c:v>2.0518000000000001</c:v>
                </c:pt>
                <c:pt idx="260">
                  <c:v>2.052</c:v>
                </c:pt>
                <c:pt idx="261">
                  <c:v>2.0521997999999999</c:v>
                </c:pt>
                <c:pt idx="262">
                  <c:v>2.0523999000000002</c:v>
                </c:pt>
                <c:pt idx="263">
                  <c:v>2.0525999000000001</c:v>
                </c:pt>
                <c:pt idx="264">
                  <c:v>2.0527999000000001</c:v>
                </c:pt>
                <c:pt idx="265">
                  <c:v>2.0529999999999999</c:v>
                </c:pt>
                <c:pt idx="266">
                  <c:v>2.0531999999999999</c:v>
                </c:pt>
                <c:pt idx="267">
                  <c:v>2.0533999999999999</c:v>
                </c:pt>
                <c:pt idx="268">
                  <c:v>2.0535998000000002</c:v>
                </c:pt>
                <c:pt idx="269">
                  <c:v>2.0537999</c:v>
                </c:pt>
                <c:pt idx="270">
                  <c:v>2.0539999</c:v>
                </c:pt>
                <c:pt idx="271">
                  <c:v>2.0541999</c:v>
                </c:pt>
                <c:pt idx="272">
                  <c:v>2.0543999999999998</c:v>
                </c:pt>
                <c:pt idx="273">
                  <c:v>2.0545998000000001</c:v>
                </c:pt>
                <c:pt idx="274">
                  <c:v>2.0548000000000002</c:v>
                </c:pt>
                <c:pt idx="275">
                  <c:v>2.0550001</c:v>
                </c:pt>
                <c:pt idx="276">
                  <c:v>2.0551998999999999</c:v>
                </c:pt>
                <c:pt idx="277">
                  <c:v>2.0553998999999998</c:v>
                </c:pt>
                <c:pt idx="278">
                  <c:v>2.0555998999999998</c:v>
                </c:pt>
                <c:pt idx="279">
                  <c:v>2.0558000000000001</c:v>
                </c:pt>
                <c:pt idx="280">
                  <c:v>2.056</c:v>
                </c:pt>
                <c:pt idx="281">
                  <c:v>2.0561997999999999</c:v>
                </c:pt>
                <c:pt idx="282">
                  <c:v>2.0564000999999998</c:v>
                </c:pt>
                <c:pt idx="283">
                  <c:v>2.0566000999999998</c:v>
                </c:pt>
                <c:pt idx="284">
                  <c:v>2.0567999000000001</c:v>
                </c:pt>
                <c:pt idx="285">
                  <c:v>2.0569999000000001</c:v>
                </c:pt>
                <c:pt idx="286">
                  <c:v>2.0571999999999999</c:v>
                </c:pt>
                <c:pt idx="287">
                  <c:v>2.0573999999999999</c:v>
                </c:pt>
                <c:pt idx="288">
                  <c:v>2.0575999999999999</c:v>
                </c:pt>
                <c:pt idx="289">
                  <c:v>2.0577998000000002</c:v>
                </c:pt>
                <c:pt idx="290">
                  <c:v>2.0579998000000002</c:v>
                </c:pt>
                <c:pt idx="291">
                  <c:v>2.0582001000000001</c:v>
                </c:pt>
                <c:pt idx="292">
                  <c:v>2.0583998999999999</c:v>
                </c:pt>
                <c:pt idx="293">
                  <c:v>2.0585998999999999</c:v>
                </c:pt>
                <c:pt idx="294">
                  <c:v>2.0588000000000002</c:v>
                </c:pt>
                <c:pt idx="295">
                  <c:v>2.0590000000000002</c:v>
                </c:pt>
                <c:pt idx="296">
                  <c:v>2.0592000000000001</c:v>
                </c:pt>
                <c:pt idx="297">
                  <c:v>2.0593998</c:v>
                </c:pt>
                <c:pt idx="298">
                  <c:v>2.0595998999999998</c:v>
                </c:pt>
                <c:pt idx="299">
                  <c:v>2.0597998999999998</c:v>
                </c:pt>
                <c:pt idx="300">
                  <c:v>2.0599999000000002</c:v>
                </c:pt>
                <c:pt idx="301">
                  <c:v>2.0602</c:v>
                </c:pt>
                <c:pt idx="302">
                  <c:v>2.0604</c:v>
                </c:pt>
                <c:pt idx="303">
                  <c:v>2.0606</c:v>
                </c:pt>
                <c:pt idx="304">
                  <c:v>2.0607997999999998</c:v>
                </c:pt>
                <c:pt idx="305">
                  <c:v>2.0609999000000001</c:v>
                </c:pt>
                <c:pt idx="306">
                  <c:v>2.0611999000000001</c:v>
                </c:pt>
                <c:pt idx="307">
                  <c:v>2.0613999000000001</c:v>
                </c:pt>
                <c:pt idx="308">
                  <c:v>2.0615999999999999</c:v>
                </c:pt>
                <c:pt idx="309">
                  <c:v>2.0617998000000002</c:v>
                </c:pt>
                <c:pt idx="310">
                  <c:v>2.0619999999999998</c:v>
                </c:pt>
                <c:pt idx="311">
                  <c:v>2.0622001000000001</c:v>
                </c:pt>
                <c:pt idx="312">
                  <c:v>2.0623999</c:v>
                </c:pt>
                <c:pt idx="313">
                  <c:v>2.0625998999999999</c:v>
                </c:pt>
                <c:pt idx="314">
                  <c:v>2.0627998999999999</c:v>
                </c:pt>
                <c:pt idx="315">
                  <c:v>2.0630000000000002</c:v>
                </c:pt>
                <c:pt idx="316">
                  <c:v>2.0632000000000001</c:v>
                </c:pt>
                <c:pt idx="317">
                  <c:v>2.0633998</c:v>
                </c:pt>
                <c:pt idx="318">
                  <c:v>2.0635998</c:v>
                </c:pt>
                <c:pt idx="319">
                  <c:v>2.0638000999999999</c:v>
                </c:pt>
                <c:pt idx="320">
                  <c:v>2.0639999000000002</c:v>
                </c:pt>
                <c:pt idx="321">
                  <c:v>2.0641999000000002</c:v>
                </c:pt>
                <c:pt idx="322">
                  <c:v>2.0644</c:v>
                </c:pt>
                <c:pt idx="323">
                  <c:v>2.0646</c:v>
                </c:pt>
                <c:pt idx="324">
                  <c:v>2.0648</c:v>
                </c:pt>
                <c:pt idx="325">
                  <c:v>2.0649997999999998</c:v>
                </c:pt>
                <c:pt idx="326">
                  <c:v>2.0651999000000001</c:v>
                </c:pt>
                <c:pt idx="327">
                  <c:v>2.0654001000000002</c:v>
                </c:pt>
                <c:pt idx="328">
                  <c:v>2.0655999</c:v>
                </c:pt>
                <c:pt idx="329">
                  <c:v>2.0657999999999999</c:v>
                </c:pt>
                <c:pt idx="330">
                  <c:v>2.0659999999999998</c:v>
                </c:pt>
                <c:pt idx="331">
                  <c:v>2.0661999999999998</c:v>
                </c:pt>
                <c:pt idx="332">
                  <c:v>2.0664001000000001</c:v>
                </c:pt>
                <c:pt idx="333">
                  <c:v>2.0665998000000001</c:v>
                </c:pt>
                <c:pt idx="334">
                  <c:v>2.0667998999999999</c:v>
                </c:pt>
                <c:pt idx="335">
                  <c:v>2.0669998999999999</c:v>
                </c:pt>
                <c:pt idx="336">
                  <c:v>2.0671998999999999</c:v>
                </c:pt>
                <c:pt idx="337">
                  <c:v>2.0674000000000001</c:v>
                </c:pt>
                <c:pt idx="338">
                  <c:v>2.0676000000000001</c:v>
                </c:pt>
                <c:pt idx="339">
                  <c:v>2.0678000000000001</c:v>
                </c:pt>
                <c:pt idx="340">
                  <c:v>2.0679997999999999</c:v>
                </c:pt>
                <c:pt idx="341">
                  <c:v>2.0681999000000002</c:v>
                </c:pt>
                <c:pt idx="342">
                  <c:v>2.0683999000000002</c:v>
                </c:pt>
                <c:pt idx="343">
                  <c:v>2.0685999000000002</c:v>
                </c:pt>
                <c:pt idx="344">
                  <c:v>2.0688</c:v>
                </c:pt>
                <c:pt idx="345">
                  <c:v>2.0689997999999998</c:v>
                </c:pt>
                <c:pt idx="346">
                  <c:v>2.0691999999999999</c:v>
                </c:pt>
                <c:pt idx="347">
                  <c:v>2.0694001000000002</c:v>
                </c:pt>
                <c:pt idx="348">
                  <c:v>2.0695999</c:v>
                </c:pt>
                <c:pt idx="349">
                  <c:v>2.0697999</c:v>
                </c:pt>
                <c:pt idx="350">
                  <c:v>2.0699999</c:v>
                </c:pt>
                <c:pt idx="351">
                  <c:v>2.0701999999999998</c:v>
                </c:pt>
                <c:pt idx="352">
                  <c:v>2.0703999999999998</c:v>
                </c:pt>
                <c:pt idx="353">
                  <c:v>2.0705998000000001</c:v>
                </c:pt>
                <c:pt idx="354">
                  <c:v>2.0707998000000001</c:v>
                </c:pt>
                <c:pt idx="355">
                  <c:v>2.0710001</c:v>
                </c:pt>
                <c:pt idx="356">
                  <c:v>2.0711998999999999</c:v>
                </c:pt>
                <c:pt idx="357">
                  <c:v>2.0713998999999998</c:v>
                </c:pt>
                <c:pt idx="358">
                  <c:v>2.0716000000000001</c:v>
                </c:pt>
                <c:pt idx="359">
                  <c:v>2.0718000000000001</c:v>
                </c:pt>
                <c:pt idx="360">
                  <c:v>2.0720000000000001</c:v>
                </c:pt>
                <c:pt idx="361">
                  <c:v>2.0721997999999999</c:v>
                </c:pt>
                <c:pt idx="362">
                  <c:v>2.0723999000000002</c:v>
                </c:pt>
                <c:pt idx="363">
                  <c:v>2.0725999000000002</c:v>
                </c:pt>
                <c:pt idx="364">
                  <c:v>2.0727999000000001</c:v>
                </c:pt>
                <c:pt idx="365">
                  <c:v>2.073</c:v>
                </c:pt>
                <c:pt idx="366">
                  <c:v>2.0731999999999999</c:v>
                </c:pt>
                <c:pt idx="367">
                  <c:v>2.0733999999999999</c:v>
                </c:pt>
                <c:pt idx="368">
                  <c:v>2.0736001000000002</c:v>
                </c:pt>
                <c:pt idx="369">
                  <c:v>2.0737998000000002</c:v>
                </c:pt>
                <c:pt idx="370">
                  <c:v>2.0739999</c:v>
                </c:pt>
                <c:pt idx="371">
                  <c:v>2.0741999</c:v>
                </c:pt>
                <c:pt idx="372">
                  <c:v>2.0743999</c:v>
                </c:pt>
                <c:pt idx="373">
                  <c:v>2.0746000000000002</c:v>
                </c:pt>
                <c:pt idx="374">
                  <c:v>2.0748000000000002</c:v>
                </c:pt>
                <c:pt idx="375">
                  <c:v>2.0750000000000002</c:v>
                </c:pt>
                <c:pt idx="376">
                  <c:v>2.0751998</c:v>
                </c:pt>
                <c:pt idx="377">
                  <c:v>2.0753998999999999</c:v>
                </c:pt>
                <c:pt idx="378">
                  <c:v>2.0755998999999998</c:v>
                </c:pt>
                <c:pt idx="379">
                  <c:v>2.0757998999999998</c:v>
                </c:pt>
                <c:pt idx="380">
                  <c:v>2.0760000000000001</c:v>
                </c:pt>
                <c:pt idx="381">
                  <c:v>2.0761997999999999</c:v>
                </c:pt>
                <c:pt idx="382">
                  <c:v>2.0764</c:v>
                </c:pt>
                <c:pt idx="383">
                  <c:v>2.0766000999999998</c:v>
                </c:pt>
                <c:pt idx="384">
                  <c:v>2.0767999000000001</c:v>
                </c:pt>
                <c:pt idx="385">
                  <c:v>2.0769999000000001</c:v>
                </c:pt>
                <c:pt idx="386">
                  <c:v>2.0771999000000001</c:v>
                </c:pt>
                <c:pt idx="387">
                  <c:v>2.0773999999999999</c:v>
                </c:pt>
                <c:pt idx="388">
                  <c:v>2.0775999999999999</c:v>
                </c:pt>
                <c:pt idx="389">
                  <c:v>2.0777998000000002</c:v>
                </c:pt>
                <c:pt idx="390">
                  <c:v>2.0779998000000002</c:v>
                </c:pt>
                <c:pt idx="391">
                  <c:v>2.0782001000000001</c:v>
                </c:pt>
                <c:pt idx="392">
                  <c:v>2.0783999</c:v>
                </c:pt>
                <c:pt idx="393">
                  <c:v>2.0785998999999999</c:v>
                </c:pt>
                <c:pt idx="394">
                  <c:v>2.0788000000000002</c:v>
                </c:pt>
                <c:pt idx="395">
                  <c:v>2.0790000000000002</c:v>
                </c:pt>
                <c:pt idx="396">
                  <c:v>2.0792000000000002</c:v>
                </c:pt>
                <c:pt idx="397">
                  <c:v>2.0793998</c:v>
                </c:pt>
                <c:pt idx="398">
                  <c:v>2.0795998999999998</c:v>
                </c:pt>
                <c:pt idx="399">
                  <c:v>2.0797998999999998</c:v>
                </c:pt>
                <c:pt idx="400">
                  <c:v>2.0799998999999998</c:v>
                </c:pt>
                <c:pt idx="401">
                  <c:v>2.0802</c:v>
                </c:pt>
                <c:pt idx="402">
                  <c:v>2.0804</c:v>
                </c:pt>
                <c:pt idx="403">
                  <c:v>2.0806</c:v>
                </c:pt>
                <c:pt idx="404">
                  <c:v>2.0808000999999998</c:v>
                </c:pt>
                <c:pt idx="405">
                  <c:v>2.0809999000000001</c:v>
                </c:pt>
                <c:pt idx="406">
                  <c:v>2.0811999000000001</c:v>
                </c:pt>
                <c:pt idx="407">
                  <c:v>2.0813999000000001</c:v>
                </c:pt>
                <c:pt idx="408">
                  <c:v>2.0815999999999999</c:v>
                </c:pt>
                <c:pt idx="409">
                  <c:v>2.0817999999999999</c:v>
                </c:pt>
                <c:pt idx="410">
                  <c:v>2.0819999999999999</c:v>
                </c:pt>
                <c:pt idx="411">
                  <c:v>2.0822001000000001</c:v>
                </c:pt>
                <c:pt idx="412">
                  <c:v>2.0823998000000001</c:v>
                </c:pt>
                <c:pt idx="413">
                  <c:v>2.0825998999999999</c:v>
                </c:pt>
                <c:pt idx="414">
                  <c:v>2.0827998999999999</c:v>
                </c:pt>
                <c:pt idx="415">
                  <c:v>2.0829998999999999</c:v>
                </c:pt>
                <c:pt idx="416">
                  <c:v>2.0832000000000002</c:v>
                </c:pt>
                <c:pt idx="417">
                  <c:v>2.0833998</c:v>
                </c:pt>
                <c:pt idx="418">
                  <c:v>2.0836000000000001</c:v>
                </c:pt>
                <c:pt idx="419">
                  <c:v>2.0838000999999999</c:v>
                </c:pt>
                <c:pt idx="420">
                  <c:v>2.0839998999999998</c:v>
                </c:pt>
                <c:pt idx="421">
                  <c:v>2.0841999000000002</c:v>
                </c:pt>
                <c:pt idx="422">
                  <c:v>2.0843999000000002</c:v>
                </c:pt>
                <c:pt idx="423">
                  <c:v>2.0846</c:v>
                </c:pt>
                <c:pt idx="424">
                  <c:v>2.0848</c:v>
                </c:pt>
                <c:pt idx="425">
                  <c:v>2.0849997999999998</c:v>
                </c:pt>
                <c:pt idx="426">
                  <c:v>2.0851997999999998</c:v>
                </c:pt>
                <c:pt idx="427">
                  <c:v>2.0854001000000002</c:v>
                </c:pt>
                <c:pt idx="428">
                  <c:v>2.0855999000000001</c:v>
                </c:pt>
                <c:pt idx="429">
                  <c:v>2.0857999</c:v>
                </c:pt>
                <c:pt idx="430">
                  <c:v>2.0859999999999999</c:v>
                </c:pt>
                <c:pt idx="431">
                  <c:v>2.0861999999999998</c:v>
                </c:pt>
                <c:pt idx="432">
                  <c:v>2.0863999999999998</c:v>
                </c:pt>
                <c:pt idx="433">
                  <c:v>2.0865998000000001</c:v>
                </c:pt>
                <c:pt idx="434">
                  <c:v>2.0867998999999999</c:v>
                </c:pt>
                <c:pt idx="435">
                  <c:v>2.0869998999999999</c:v>
                </c:pt>
                <c:pt idx="436">
                  <c:v>2.0871998999999999</c:v>
                </c:pt>
                <c:pt idx="437">
                  <c:v>2.0874000000000001</c:v>
                </c:pt>
                <c:pt idx="438">
                  <c:v>2.0876000000000001</c:v>
                </c:pt>
                <c:pt idx="439">
                  <c:v>2.0878000000000001</c:v>
                </c:pt>
                <c:pt idx="440">
                  <c:v>2.0880000999999999</c:v>
                </c:pt>
                <c:pt idx="441">
                  <c:v>2.0881999000000002</c:v>
                </c:pt>
                <c:pt idx="442">
                  <c:v>2.0883999000000002</c:v>
                </c:pt>
                <c:pt idx="443">
                  <c:v>2.0885999000000002</c:v>
                </c:pt>
                <c:pt idx="444">
                  <c:v>2.0888</c:v>
                </c:pt>
                <c:pt idx="445">
                  <c:v>2.089</c:v>
                </c:pt>
                <c:pt idx="446">
                  <c:v>2.0891999999999999</c:v>
                </c:pt>
                <c:pt idx="447">
                  <c:v>2.0894001000000002</c:v>
                </c:pt>
                <c:pt idx="448">
                  <c:v>2.0895997999999998</c:v>
                </c:pt>
                <c:pt idx="449">
                  <c:v>2.0897999</c:v>
                </c:pt>
                <c:pt idx="450">
                  <c:v>2.0899999</c:v>
                </c:pt>
                <c:pt idx="451">
                  <c:v>2.0901999</c:v>
                </c:pt>
                <c:pt idx="452">
                  <c:v>2.0903999999999998</c:v>
                </c:pt>
                <c:pt idx="453">
                  <c:v>2.0905998000000001</c:v>
                </c:pt>
                <c:pt idx="454">
                  <c:v>2.0908000000000002</c:v>
                </c:pt>
                <c:pt idx="455">
                  <c:v>2.0910001</c:v>
                </c:pt>
                <c:pt idx="456">
                  <c:v>2.0911998999999999</c:v>
                </c:pt>
                <c:pt idx="457">
                  <c:v>2.0913998999999999</c:v>
                </c:pt>
                <c:pt idx="458">
                  <c:v>2.0915998999999998</c:v>
                </c:pt>
                <c:pt idx="459">
                  <c:v>2.0918000000000001</c:v>
                </c:pt>
                <c:pt idx="460">
                  <c:v>2.0920000000000001</c:v>
                </c:pt>
                <c:pt idx="461">
                  <c:v>2.0921997999999999</c:v>
                </c:pt>
                <c:pt idx="462">
                  <c:v>2.0923997999999999</c:v>
                </c:pt>
                <c:pt idx="463">
                  <c:v>2.0926000999999999</c:v>
                </c:pt>
                <c:pt idx="464">
                  <c:v>2.0927999000000002</c:v>
                </c:pt>
                <c:pt idx="465">
                  <c:v>2.0929999000000001</c:v>
                </c:pt>
                <c:pt idx="466">
                  <c:v>2.0931999999999999</c:v>
                </c:pt>
                <c:pt idx="467">
                  <c:v>2.0933999999999999</c:v>
                </c:pt>
                <c:pt idx="468">
                  <c:v>2.0935999999999999</c:v>
                </c:pt>
                <c:pt idx="469">
                  <c:v>2.0937998000000002</c:v>
                </c:pt>
                <c:pt idx="470">
                  <c:v>2.0939999</c:v>
                </c:pt>
                <c:pt idx="471">
                  <c:v>2.0941999</c:v>
                </c:pt>
                <c:pt idx="472">
                  <c:v>2.0943999</c:v>
                </c:pt>
                <c:pt idx="473">
                  <c:v>2.0945999999999998</c:v>
                </c:pt>
                <c:pt idx="474">
                  <c:v>2.0948000000000002</c:v>
                </c:pt>
                <c:pt idx="475">
                  <c:v>2.0950000000000002</c:v>
                </c:pt>
                <c:pt idx="476">
                  <c:v>2.0951998000000001</c:v>
                </c:pt>
                <c:pt idx="477">
                  <c:v>2.0953998999999999</c:v>
                </c:pt>
                <c:pt idx="478">
                  <c:v>2.0955998999999998</c:v>
                </c:pt>
                <c:pt idx="479">
                  <c:v>2.0957998999999998</c:v>
                </c:pt>
                <c:pt idx="480">
                  <c:v>2.0960000000000001</c:v>
                </c:pt>
                <c:pt idx="481">
                  <c:v>2.0962000000000001</c:v>
                </c:pt>
                <c:pt idx="482">
                  <c:v>2.0964</c:v>
                </c:pt>
                <c:pt idx="483">
                  <c:v>2.0966000999999999</c:v>
                </c:pt>
                <c:pt idx="484">
                  <c:v>2.0967999000000002</c:v>
                </c:pt>
                <c:pt idx="485">
                  <c:v>2.0969999000000001</c:v>
                </c:pt>
                <c:pt idx="486">
                  <c:v>2.0971999000000001</c:v>
                </c:pt>
                <c:pt idx="487">
                  <c:v>2.0973999999999999</c:v>
                </c:pt>
                <c:pt idx="488">
                  <c:v>2.0975999999999999</c:v>
                </c:pt>
                <c:pt idx="489">
                  <c:v>2.0977998000000002</c:v>
                </c:pt>
                <c:pt idx="490">
                  <c:v>2.0979999999999999</c:v>
                </c:pt>
                <c:pt idx="491">
                  <c:v>2.0982001000000001</c:v>
                </c:pt>
                <c:pt idx="492">
                  <c:v>2.0983999</c:v>
                </c:pt>
                <c:pt idx="493">
                  <c:v>2.0985999</c:v>
                </c:pt>
                <c:pt idx="494">
                  <c:v>2.0987998999999999</c:v>
                </c:pt>
                <c:pt idx="495">
                  <c:v>2.0990000000000002</c:v>
                </c:pt>
                <c:pt idx="496">
                  <c:v>2.0992000000000002</c:v>
                </c:pt>
                <c:pt idx="497">
                  <c:v>2.0993998</c:v>
                </c:pt>
                <c:pt idx="498">
                  <c:v>2.0995998</c:v>
                </c:pt>
                <c:pt idx="499">
                  <c:v>2.0998000999999999</c:v>
                </c:pt>
                <c:pt idx="500">
                  <c:v>2.0999998999999998</c:v>
                </c:pt>
                <c:pt idx="501">
                  <c:v>2.1001998999999998</c:v>
                </c:pt>
                <c:pt idx="502">
                  <c:v>2.1004</c:v>
                </c:pt>
                <c:pt idx="503">
                  <c:v>2.1006</c:v>
                </c:pt>
                <c:pt idx="504">
                  <c:v>2.1008</c:v>
                </c:pt>
                <c:pt idx="505">
                  <c:v>2.1009997999999999</c:v>
                </c:pt>
                <c:pt idx="506">
                  <c:v>2.1011999000000001</c:v>
                </c:pt>
                <c:pt idx="507">
                  <c:v>2.1013999000000001</c:v>
                </c:pt>
                <c:pt idx="508">
                  <c:v>2.1015999000000001</c:v>
                </c:pt>
                <c:pt idx="509">
                  <c:v>2.1017999999999999</c:v>
                </c:pt>
                <c:pt idx="510">
                  <c:v>2.1019999999999999</c:v>
                </c:pt>
                <c:pt idx="511">
                  <c:v>2.1021999999999998</c:v>
                </c:pt>
                <c:pt idx="512">
                  <c:v>2.1023998000000002</c:v>
                </c:pt>
                <c:pt idx="513">
                  <c:v>2.1025999</c:v>
                </c:pt>
                <c:pt idx="514">
                  <c:v>2.1027998999999999</c:v>
                </c:pt>
                <c:pt idx="515">
                  <c:v>2.1029998999999999</c:v>
                </c:pt>
                <c:pt idx="516">
                  <c:v>2.1032000000000002</c:v>
                </c:pt>
                <c:pt idx="517">
                  <c:v>2.1034000000000002</c:v>
                </c:pt>
                <c:pt idx="518">
                  <c:v>2.1036000000000001</c:v>
                </c:pt>
                <c:pt idx="519">
                  <c:v>2.1038001</c:v>
                </c:pt>
                <c:pt idx="520">
                  <c:v>2.1039998999999998</c:v>
                </c:pt>
                <c:pt idx="521">
                  <c:v>2.1041998999999998</c:v>
                </c:pt>
                <c:pt idx="522">
                  <c:v>2.1043999000000002</c:v>
                </c:pt>
                <c:pt idx="523">
                  <c:v>2.1046</c:v>
                </c:pt>
                <c:pt idx="524">
                  <c:v>2.1048</c:v>
                </c:pt>
                <c:pt idx="525">
                  <c:v>2.1049997999999999</c:v>
                </c:pt>
                <c:pt idx="526">
                  <c:v>2.1052000999999998</c:v>
                </c:pt>
                <c:pt idx="527">
                  <c:v>2.1054001000000002</c:v>
                </c:pt>
                <c:pt idx="528">
                  <c:v>2.1055999000000001</c:v>
                </c:pt>
                <c:pt idx="529">
                  <c:v>2.1057999000000001</c:v>
                </c:pt>
                <c:pt idx="530">
                  <c:v>2.1059999</c:v>
                </c:pt>
                <c:pt idx="531">
                  <c:v>2.1061999999999999</c:v>
                </c:pt>
                <c:pt idx="532">
                  <c:v>2.1063999999999998</c:v>
                </c:pt>
                <c:pt idx="533">
                  <c:v>2.1065998000000001</c:v>
                </c:pt>
                <c:pt idx="534">
                  <c:v>2.1067998000000001</c:v>
                </c:pt>
                <c:pt idx="535">
                  <c:v>2.1070001</c:v>
                </c:pt>
                <c:pt idx="536">
                  <c:v>2.1071998999999999</c:v>
                </c:pt>
                <c:pt idx="537">
                  <c:v>2.1073998999999999</c:v>
                </c:pt>
                <c:pt idx="538">
                  <c:v>2.1076000000000001</c:v>
                </c:pt>
                <c:pt idx="539">
                  <c:v>2.1078000000000001</c:v>
                </c:pt>
                <c:pt idx="540">
                  <c:v>2.1080000000000001</c:v>
                </c:pt>
                <c:pt idx="541">
                  <c:v>2.1081998</c:v>
                </c:pt>
                <c:pt idx="542">
                  <c:v>2.1083999000000002</c:v>
                </c:pt>
                <c:pt idx="543">
                  <c:v>2.1085999000000002</c:v>
                </c:pt>
                <c:pt idx="544">
                  <c:v>2.1087999000000002</c:v>
                </c:pt>
                <c:pt idx="545">
                  <c:v>2.109</c:v>
                </c:pt>
                <c:pt idx="546">
                  <c:v>2.1092</c:v>
                </c:pt>
                <c:pt idx="547">
                  <c:v>2.1093999999999999</c:v>
                </c:pt>
                <c:pt idx="548">
                  <c:v>2.1095997999999998</c:v>
                </c:pt>
                <c:pt idx="549">
                  <c:v>2.1097999000000001</c:v>
                </c:pt>
                <c:pt idx="550">
                  <c:v>2.1099999</c:v>
                </c:pt>
                <c:pt idx="551">
                  <c:v>2.1101999</c:v>
                </c:pt>
                <c:pt idx="552">
                  <c:v>2.1103999999999998</c:v>
                </c:pt>
                <c:pt idx="553">
                  <c:v>2.1105999999999998</c:v>
                </c:pt>
                <c:pt idx="554">
                  <c:v>2.1107999999999998</c:v>
                </c:pt>
                <c:pt idx="555">
                  <c:v>2.1110001</c:v>
                </c:pt>
                <c:pt idx="556">
                  <c:v>2.1111998999999999</c:v>
                </c:pt>
                <c:pt idx="557">
                  <c:v>2.1113998999999999</c:v>
                </c:pt>
                <c:pt idx="558">
                  <c:v>2.1115998999999999</c:v>
                </c:pt>
                <c:pt idx="559">
                  <c:v>2.1118000000000001</c:v>
                </c:pt>
                <c:pt idx="560">
                  <c:v>2.1120000000000001</c:v>
                </c:pt>
                <c:pt idx="561">
                  <c:v>2.1121998</c:v>
                </c:pt>
                <c:pt idx="562">
                  <c:v>2.1124000999999999</c:v>
                </c:pt>
                <c:pt idx="563">
                  <c:v>2.1126000999999999</c:v>
                </c:pt>
                <c:pt idx="564">
                  <c:v>2.1127999000000002</c:v>
                </c:pt>
                <c:pt idx="565">
                  <c:v>2.1129999000000002</c:v>
                </c:pt>
                <c:pt idx="566">
                  <c:v>2.1131999000000001</c:v>
                </c:pt>
                <c:pt idx="567">
                  <c:v>2.1133999999999999</c:v>
                </c:pt>
                <c:pt idx="568">
                  <c:v>2.1135999999999999</c:v>
                </c:pt>
                <c:pt idx="569">
                  <c:v>2.1137997999999998</c:v>
                </c:pt>
                <c:pt idx="570">
                  <c:v>2.1139998000000002</c:v>
                </c:pt>
                <c:pt idx="571">
                  <c:v>2.1142001000000001</c:v>
                </c:pt>
                <c:pt idx="572">
                  <c:v>2.1143999</c:v>
                </c:pt>
                <c:pt idx="573">
                  <c:v>2.1145999</c:v>
                </c:pt>
                <c:pt idx="574">
                  <c:v>2.1147999999999998</c:v>
                </c:pt>
                <c:pt idx="575">
                  <c:v>2.1150000000000002</c:v>
                </c:pt>
                <c:pt idx="576">
                  <c:v>2.1152000000000002</c:v>
                </c:pt>
                <c:pt idx="577">
                  <c:v>2.1153998000000001</c:v>
                </c:pt>
                <c:pt idx="578">
                  <c:v>2.1155998999999999</c:v>
                </c:pt>
                <c:pt idx="579">
                  <c:v>2.1157998999999998</c:v>
                </c:pt>
                <c:pt idx="580">
                  <c:v>2.1159998999999998</c:v>
                </c:pt>
                <c:pt idx="581">
                  <c:v>2.1162000000000001</c:v>
                </c:pt>
                <c:pt idx="582">
                  <c:v>2.1164000000000001</c:v>
                </c:pt>
                <c:pt idx="583">
                  <c:v>2.1166</c:v>
                </c:pt>
                <c:pt idx="584">
                  <c:v>2.1167997999999999</c:v>
                </c:pt>
                <c:pt idx="585">
                  <c:v>2.1169999000000002</c:v>
                </c:pt>
                <c:pt idx="586">
                  <c:v>2.1171999000000001</c:v>
                </c:pt>
                <c:pt idx="587">
                  <c:v>2.1173999000000001</c:v>
                </c:pt>
                <c:pt idx="588">
                  <c:v>2.1175999999999999</c:v>
                </c:pt>
                <c:pt idx="589">
                  <c:v>2.1177997999999998</c:v>
                </c:pt>
                <c:pt idx="590">
                  <c:v>2.1179999999999999</c:v>
                </c:pt>
                <c:pt idx="591">
                  <c:v>2.1182001000000001</c:v>
                </c:pt>
                <c:pt idx="592">
                  <c:v>2.1183999</c:v>
                </c:pt>
                <c:pt idx="593">
                  <c:v>2.1185999</c:v>
                </c:pt>
                <c:pt idx="594">
                  <c:v>2.1187999</c:v>
                </c:pt>
                <c:pt idx="595">
                  <c:v>2.1190000000000002</c:v>
                </c:pt>
                <c:pt idx="596">
                  <c:v>2.1192000000000002</c:v>
                </c:pt>
                <c:pt idx="597">
                  <c:v>2.1193998000000001</c:v>
                </c:pt>
                <c:pt idx="598">
                  <c:v>2.1196001</c:v>
                </c:pt>
                <c:pt idx="599">
                  <c:v>2.1198001</c:v>
                </c:pt>
                <c:pt idx="600">
                  <c:v>2.1199998999999998</c:v>
                </c:pt>
                <c:pt idx="601">
                  <c:v>2.1201998999999998</c:v>
                </c:pt>
                <c:pt idx="602">
                  <c:v>2.1204000000000001</c:v>
                </c:pt>
                <c:pt idx="603">
                  <c:v>2.1206</c:v>
                </c:pt>
                <c:pt idx="604">
                  <c:v>2.1208</c:v>
                </c:pt>
                <c:pt idx="605">
                  <c:v>2.1209997999999999</c:v>
                </c:pt>
                <c:pt idx="606">
                  <c:v>2.1211997999999999</c:v>
                </c:pt>
                <c:pt idx="607">
                  <c:v>2.1214000999999998</c:v>
                </c:pt>
                <c:pt idx="608">
                  <c:v>2.1215999000000001</c:v>
                </c:pt>
                <c:pt idx="609">
                  <c:v>2.1217999000000001</c:v>
                </c:pt>
                <c:pt idx="610">
                  <c:v>2.1219999999999999</c:v>
                </c:pt>
                <c:pt idx="611">
                  <c:v>2.1221999999999999</c:v>
                </c:pt>
                <c:pt idx="612">
                  <c:v>2.1223999999999998</c:v>
                </c:pt>
                <c:pt idx="613">
                  <c:v>2.1225998000000001</c:v>
                </c:pt>
                <c:pt idx="614">
                  <c:v>2.1227999</c:v>
                </c:pt>
                <c:pt idx="615">
                  <c:v>2.1229998999999999</c:v>
                </c:pt>
                <c:pt idx="616">
                  <c:v>2.1231998999999999</c:v>
                </c:pt>
                <c:pt idx="617">
                  <c:v>2.1234000000000002</c:v>
                </c:pt>
                <c:pt idx="618">
                  <c:v>2.1236000000000002</c:v>
                </c:pt>
                <c:pt idx="619">
                  <c:v>2.1238000000000001</c:v>
                </c:pt>
                <c:pt idx="620">
                  <c:v>2.1239998</c:v>
                </c:pt>
                <c:pt idx="621">
                  <c:v>2.1241998999999998</c:v>
                </c:pt>
                <c:pt idx="622">
                  <c:v>2.1243998999999998</c:v>
                </c:pt>
                <c:pt idx="623">
                  <c:v>2.1245999000000002</c:v>
                </c:pt>
                <c:pt idx="624">
                  <c:v>2.1248</c:v>
                </c:pt>
                <c:pt idx="625">
                  <c:v>2.1249997999999999</c:v>
                </c:pt>
                <c:pt idx="626">
                  <c:v>2.1252</c:v>
                </c:pt>
                <c:pt idx="627">
                  <c:v>2.1254000999999998</c:v>
                </c:pt>
                <c:pt idx="628">
                  <c:v>2.1255999000000001</c:v>
                </c:pt>
                <c:pt idx="629">
                  <c:v>2.1257999000000001</c:v>
                </c:pt>
                <c:pt idx="630">
                  <c:v>2.1259999000000001</c:v>
                </c:pt>
                <c:pt idx="631">
                  <c:v>2.1261999999999999</c:v>
                </c:pt>
                <c:pt idx="632">
                  <c:v>2.1263999999999998</c:v>
                </c:pt>
                <c:pt idx="633">
                  <c:v>2.1265998000000002</c:v>
                </c:pt>
                <c:pt idx="634">
                  <c:v>2.1267998000000001</c:v>
                </c:pt>
                <c:pt idx="635">
                  <c:v>2.1270001000000001</c:v>
                </c:pt>
                <c:pt idx="636">
                  <c:v>2.1271998999999999</c:v>
                </c:pt>
                <c:pt idx="637">
                  <c:v>2.1273998999999999</c:v>
                </c:pt>
                <c:pt idx="638">
                  <c:v>2.1276000000000002</c:v>
                </c:pt>
                <c:pt idx="639">
                  <c:v>2.1278000000000001</c:v>
                </c:pt>
                <c:pt idx="640">
                  <c:v>2.1280000000000001</c:v>
                </c:pt>
                <c:pt idx="641">
                  <c:v>2.1281998</c:v>
                </c:pt>
                <c:pt idx="642">
                  <c:v>2.1283998</c:v>
                </c:pt>
                <c:pt idx="643">
                  <c:v>2.1286000999999999</c:v>
                </c:pt>
                <c:pt idx="644">
                  <c:v>2.1287999000000002</c:v>
                </c:pt>
                <c:pt idx="645">
                  <c:v>2.1289999000000002</c:v>
                </c:pt>
                <c:pt idx="646">
                  <c:v>2.1292</c:v>
                </c:pt>
                <c:pt idx="647">
                  <c:v>2.1294</c:v>
                </c:pt>
                <c:pt idx="648">
                  <c:v>2.1295999999999999</c:v>
                </c:pt>
                <c:pt idx="649">
                  <c:v>2.1297997999999998</c:v>
                </c:pt>
                <c:pt idx="650">
                  <c:v>2.1299999000000001</c:v>
                </c:pt>
                <c:pt idx="651">
                  <c:v>2.1301999</c:v>
                </c:pt>
                <c:pt idx="652">
                  <c:v>2.1303999</c:v>
                </c:pt>
                <c:pt idx="653">
                  <c:v>2.1305999999999998</c:v>
                </c:pt>
                <c:pt idx="654">
                  <c:v>2.1307999999999998</c:v>
                </c:pt>
                <c:pt idx="655">
                  <c:v>2.1309999999999998</c:v>
                </c:pt>
                <c:pt idx="656">
                  <c:v>2.1311998000000001</c:v>
                </c:pt>
                <c:pt idx="657">
                  <c:v>2.1313998999999999</c:v>
                </c:pt>
                <c:pt idx="658">
                  <c:v>2.1315998999999999</c:v>
                </c:pt>
                <c:pt idx="659">
                  <c:v>2.1317998999999999</c:v>
                </c:pt>
                <c:pt idx="660">
                  <c:v>2.1320000000000001</c:v>
                </c:pt>
                <c:pt idx="661">
                  <c:v>2.1321998</c:v>
                </c:pt>
                <c:pt idx="662">
                  <c:v>2.1324000000000001</c:v>
                </c:pt>
                <c:pt idx="663">
                  <c:v>2.1326000999999999</c:v>
                </c:pt>
                <c:pt idx="664">
                  <c:v>2.1327999000000002</c:v>
                </c:pt>
                <c:pt idx="665">
                  <c:v>2.1329999000000002</c:v>
                </c:pt>
                <c:pt idx="666">
                  <c:v>2.1331999000000001</c:v>
                </c:pt>
                <c:pt idx="667">
                  <c:v>2.1334</c:v>
                </c:pt>
                <c:pt idx="668">
                  <c:v>2.1335999999999999</c:v>
                </c:pt>
                <c:pt idx="669">
                  <c:v>2.1337997999999998</c:v>
                </c:pt>
                <c:pt idx="670">
                  <c:v>2.1339997999999998</c:v>
                </c:pt>
                <c:pt idx="671">
                  <c:v>2.1342001000000002</c:v>
                </c:pt>
                <c:pt idx="672">
                  <c:v>2.1343999</c:v>
                </c:pt>
                <c:pt idx="673">
                  <c:v>2.1345999</c:v>
                </c:pt>
                <c:pt idx="674">
                  <c:v>2.1347999999999998</c:v>
                </c:pt>
                <c:pt idx="675">
                  <c:v>2.1349999999999998</c:v>
                </c:pt>
                <c:pt idx="676">
                  <c:v>2.1352000000000002</c:v>
                </c:pt>
                <c:pt idx="677">
                  <c:v>2.1353998000000001</c:v>
                </c:pt>
                <c:pt idx="678">
                  <c:v>2.1355998999999999</c:v>
                </c:pt>
                <c:pt idx="679">
                  <c:v>2.1357998999999999</c:v>
                </c:pt>
                <c:pt idx="680">
                  <c:v>2.1359998999999998</c:v>
                </c:pt>
                <c:pt idx="681">
                  <c:v>2.1362000000000001</c:v>
                </c:pt>
                <c:pt idx="682">
                  <c:v>2.1364000000000001</c:v>
                </c:pt>
                <c:pt idx="683">
                  <c:v>2.1366000000000001</c:v>
                </c:pt>
                <c:pt idx="684">
                  <c:v>2.1368000999999999</c:v>
                </c:pt>
                <c:pt idx="685">
                  <c:v>2.1369997999999999</c:v>
                </c:pt>
                <c:pt idx="686">
                  <c:v>2.1371999000000002</c:v>
                </c:pt>
                <c:pt idx="687">
                  <c:v>2.1373999000000001</c:v>
                </c:pt>
                <c:pt idx="688">
                  <c:v>2.1375999000000001</c:v>
                </c:pt>
                <c:pt idx="689">
                  <c:v>2.1377999999999999</c:v>
                </c:pt>
                <c:pt idx="690">
                  <c:v>2.1379999999999999</c:v>
                </c:pt>
                <c:pt idx="691">
                  <c:v>2.1381999999999999</c:v>
                </c:pt>
                <c:pt idx="692">
                  <c:v>2.1383998000000002</c:v>
                </c:pt>
                <c:pt idx="693">
                  <c:v>2.1385999</c:v>
                </c:pt>
                <c:pt idx="694">
                  <c:v>2.1387999</c:v>
                </c:pt>
                <c:pt idx="695">
                  <c:v>2.1389999</c:v>
                </c:pt>
                <c:pt idx="696">
                  <c:v>2.1392000000000002</c:v>
                </c:pt>
                <c:pt idx="697">
                  <c:v>2.1393998000000001</c:v>
                </c:pt>
                <c:pt idx="698">
                  <c:v>2.1396000000000002</c:v>
                </c:pt>
                <c:pt idx="699">
                  <c:v>2.1398001</c:v>
                </c:pt>
                <c:pt idx="700">
                  <c:v>2.1399998999999998</c:v>
                </c:pt>
                <c:pt idx="701">
                  <c:v>2.1401998999999998</c:v>
                </c:pt>
                <c:pt idx="702">
                  <c:v>2.1403998999999998</c:v>
                </c:pt>
                <c:pt idx="703">
                  <c:v>2.1406000000000001</c:v>
                </c:pt>
                <c:pt idx="704">
                  <c:v>2.1408</c:v>
                </c:pt>
                <c:pt idx="705">
                  <c:v>2.1409997999999999</c:v>
                </c:pt>
                <c:pt idx="706">
                  <c:v>2.1411997999999999</c:v>
                </c:pt>
                <c:pt idx="707">
                  <c:v>2.1414000999999998</c:v>
                </c:pt>
                <c:pt idx="708">
                  <c:v>2.1415999000000001</c:v>
                </c:pt>
                <c:pt idx="709">
                  <c:v>2.1417999000000001</c:v>
                </c:pt>
                <c:pt idx="710">
                  <c:v>2.1419999999999999</c:v>
                </c:pt>
                <c:pt idx="711">
                  <c:v>2.1421999999999999</c:v>
                </c:pt>
                <c:pt idx="712">
                  <c:v>2.1423999999999999</c:v>
                </c:pt>
                <c:pt idx="713">
                  <c:v>2.1425998000000002</c:v>
                </c:pt>
                <c:pt idx="714">
                  <c:v>2.1427999</c:v>
                </c:pt>
                <c:pt idx="715">
                  <c:v>2.1429999</c:v>
                </c:pt>
                <c:pt idx="716">
                  <c:v>2.1431998999999999</c:v>
                </c:pt>
                <c:pt idx="717">
                  <c:v>2.1434000000000002</c:v>
                </c:pt>
                <c:pt idx="718">
                  <c:v>2.1436000000000002</c:v>
                </c:pt>
                <c:pt idx="719">
                  <c:v>2.1438000000000001</c:v>
                </c:pt>
                <c:pt idx="720">
                  <c:v>2.1440001</c:v>
                </c:pt>
                <c:pt idx="721">
                  <c:v>2.1441998</c:v>
                </c:pt>
                <c:pt idx="722">
                  <c:v>2.1443998999999998</c:v>
                </c:pt>
                <c:pt idx="723">
                  <c:v>2.1445998999999998</c:v>
                </c:pt>
                <c:pt idx="724">
                  <c:v>2.1447999000000002</c:v>
                </c:pt>
                <c:pt idx="725">
                  <c:v>2.145</c:v>
                </c:pt>
                <c:pt idx="726">
                  <c:v>2.1452</c:v>
                </c:pt>
                <c:pt idx="727">
                  <c:v>2.1454</c:v>
                </c:pt>
                <c:pt idx="728">
                  <c:v>2.1455997999999998</c:v>
                </c:pt>
                <c:pt idx="729">
                  <c:v>2.1457999000000001</c:v>
                </c:pt>
                <c:pt idx="730">
                  <c:v>2.1459999000000001</c:v>
                </c:pt>
                <c:pt idx="731">
                  <c:v>2.1461999</c:v>
                </c:pt>
                <c:pt idx="732">
                  <c:v>2.1463999999999999</c:v>
                </c:pt>
                <c:pt idx="733">
                  <c:v>2.1465998000000002</c:v>
                </c:pt>
                <c:pt idx="734">
                  <c:v>2.1467999999999998</c:v>
                </c:pt>
                <c:pt idx="735">
                  <c:v>2.1470001000000001</c:v>
                </c:pt>
                <c:pt idx="736">
                  <c:v>2.1471998999999999</c:v>
                </c:pt>
                <c:pt idx="737">
                  <c:v>2.1473998999999999</c:v>
                </c:pt>
                <c:pt idx="738">
                  <c:v>2.1475996999999998</c:v>
                </c:pt>
                <c:pt idx="739">
                  <c:v>2.1478000000000002</c:v>
                </c:pt>
                <c:pt idx="740">
                  <c:v>2.1480000000000001</c:v>
                </c:pt>
                <c:pt idx="741">
                  <c:v>2.1481998</c:v>
                </c:pt>
                <c:pt idx="742">
                  <c:v>2.1484000999999999</c:v>
                </c:pt>
                <c:pt idx="743">
                  <c:v>2.1486000999999999</c:v>
                </c:pt>
                <c:pt idx="744">
                  <c:v>2.1487999000000002</c:v>
                </c:pt>
                <c:pt idx="745">
                  <c:v>2.1489999000000002</c:v>
                </c:pt>
                <c:pt idx="746">
                  <c:v>2.1491997</c:v>
                </c:pt>
                <c:pt idx="747">
                  <c:v>2.1494</c:v>
                </c:pt>
                <c:pt idx="748">
                  <c:v>2.1496</c:v>
                </c:pt>
                <c:pt idx="749">
                  <c:v>2.1497997999999998</c:v>
                </c:pt>
                <c:pt idx="750">
                  <c:v>2.1500001000000002</c:v>
                </c:pt>
                <c:pt idx="751">
                  <c:v>2.1501999000000001</c:v>
                </c:pt>
                <c:pt idx="752">
                  <c:v>2.1503999</c:v>
                </c:pt>
                <c:pt idx="753">
                  <c:v>2.1505999999999998</c:v>
                </c:pt>
                <c:pt idx="754">
                  <c:v>2.1507998000000002</c:v>
                </c:pt>
                <c:pt idx="755">
                  <c:v>2.1509999999999998</c:v>
                </c:pt>
                <c:pt idx="756">
                  <c:v>2.1512001000000001</c:v>
                </c:pt>
                <c:pt idx="757">
                  <c:v>2.1513998999999999</c:v>
                </c:pt>
                <c:pt idx="758">
                  <c:v>2.1516001</c:v>
                </c:pt>
                <c:pt idx="759">
                  <c:v>2.1517998999999999</c:v>
                </c:pt>
                <c:pt idx="760">
                  <c:v>2.1520000000000001</c:v>
                </c:pt>
                <c:pt idx="761">
                  <c:v>2.1522000000000001</c:v>
                </c:pt>
                <c:pt idx="762">
                  <c:v>2.1523998</c:v>
                </c:pt>
                <c:pt idx="763">
                  <c:v>2.1526000000000001</c:v>
                </c:pt>
                <c:pt idx="764">
                  <c:v>2.1527997999999999</c:v>
                </c:pt>
                <c:pt idx="765">
                  <c:v>2.1529999000000002</c:v>
                </c:pt>
                <c:pt idx="766">
                  <c:v>2.1532000999999998</c:v>
                </c:pt>
                <c:pt idx="767">
                  <c:v>2.1533999000000001</c:v>
                </c:pt>
                <c:pt idx="768">
                  <c:v>2.1536</c:v>
                </c:pt>
                <c:pt idx="769">
                  <c:v>2.1537997999999998</c:v>
                </c:pt>
                <c:pt idx="770">
                  <c:v>2.1539997999999998</c:v>
                </c:pt>
                <c:pt idx="771">
                  <c:v>2.1542001000000002</c:v>
                </c:pt>
                <c:pt idx="772">
                  <c:v>2.1543999</c:v>
                </c:pt>
                <c:pt idx="773">
                  <c:v>2.1545999</c:v>
                </c:pt>
                <c:pt idx="774">
                  <c:v>2.1548001999999999</c:v>
                </c:pt>
                <c:pt idx="775">
                  <c:v>2.1549999999999998</c:v>
                </c:pt>
                <c:pt idx="776">
                  <c:v>2.1551999999999998</c:v>
                </c:pt>
                <c:pt idx="777">
                  <c:v>2.1553998000000001</c:v>
                </c:pt>
                <c:pt idx="778">
                  <c:v>2.1555998000000001</c:v>
                </c:pt>
                <c:pt idx="779">
                  <c:v>2.1558001</c:v>
                </c:pt>
                <c:pt idx="780">
                  <c:v>2.1559998999999999</c:v>
                </c:pt>
                <c:pt idx="781">
                  <c:v>2.1561998999999998</c:v>
                </c:pt>
                <c:pt idx="782">
                  <c:v>2.1564000000000001</c:v>
                </c:pt>
                <c:pt idx="783">
                  <c:v>2.1566000000000001</c:v>
                </c:pt>
                <c:pt idx="784">
                  <c:v>2.1568000000000001</c:v>
                </c:pt>
                <c:pt idx="785">
                  <c:v>2.1569997999999999</c:v>
                </c:pt>
                <c:pt idx="786">
                  <c:v>2.1571999000000002</c:v>
                </c:pt>
                <c:pt idx="787">
                  <c:v>2.1573999000000001</c:v>
                </c:pt>
                <c:pt idx="788">
                  <c:v>2.1575999000000001</c:v>
                </c:pt>
                <c:pt idx="789">
                  <c:v>2.1577999999999999</c:v>
                </c:pt>
                <c:pt idx="790">
                  <c:v>2.1579999999999999</c:v>
                </c:pt>
                <c:pt idx="791">
                  <c:v>2.1581999999999999</c:v>
                </c:pt>
                <c:pt idx="792">
                  <c:v>2.1583998000000002</c:v>
                </c:pt>
                <c:pt idx="793">
                  <c:v>2.1585999</c:v>
                </c:pt>
                <c:pt idx="794">
                  <c:v>2.1587999</c:v>
                </c:pt>
                <c:pt idx="795">
                  <c:v>2.1589999</c:v>
                </c:pt>
                <c:pt idx="796">
                  <c:v>2.1591999999999998</c:v>
                </c:pt>
                <c:pt idx="797">
                  <c:v>2.1594000000000002</c:v>
                </c:pt>
                <c:pt idx="798">
                  <c:v>2.1596000000000002</c:v>
                </c:pt>
                <c:pt idx="799">
                  <c:v>2.1598001</c:v>
                </c:pt>
                <c:pt idx="800">
                  <c:v>2.1599998</c:v>
                </c:pt>
                <c:pt idx="801">
                  <c:v>2.1601998999999998</c:v>
                </c:pt>
                <c:pt idx="802">
                  <c:v>2.1603998999999998</c:v>
                </c:pt>
                <c:pt idx="803">
                  <c:v>2.1605998999999998</c:v>
                </c:pt>
                <c:pt idx="804">
                  <c:v>2.1608000000000001</c:v>
                </c:pt>
                <c:pt idx="805">
                  <c:v>2.1609997999999999</c:v>
                </c:pt>
                <c:pt idx="806">
                  <c:v>2.1612</c:v>
                </c:pt>
                <c:pt idx="807">
                  <c:v>2.1614000999999998</c:v>
                </c:pt>
                <c:pt idx="808">
                  <c:v>2.1615999000000001</c:v>
                </c:pt>
                <c:pt idx="809">
                  <c:v>2.1617999000000001</c:v>
                </c:pt>
                <c:pt idx="810">
                  <c:v>2.1619997</c:v>
                </c:pt>
                <c:pt idx="811">
                  <c:v>2.1621999999999999</c:v>
                </c:pt>
                <c:pt idx="812">
                  <c:v>2.1623999999999999</c:v>
                </c:pt>
                <c:pt idx="813">
                  <c:v>2.1625998000000002</c:v>
                </c:pt>
                <c:pt idx="814">
                  <c:v>2.1628001000000001</c:v>
                </c:pt>
                <c:pt idx="815">
                  <c:v>2.1630001000000001</c:v>
                </c:pt>
                <c:pt idx="816">
                  <c:v>2.1631999</c:v>
                </c:pt>
                <c:pt idx="817">
                  <c:v>2.1633998999999999</c:v>
                </c:pt>
                <c:pt idx="818">
                  <c:v>2.1635996999999998</c:v>
                </c:pt>
                <c:pt idx="819">
                  <c:v>2.1638000000000002</c:v>
                </c:pt>
                <c:pt idx="820">
                  <c:v>2.1640000000000001</c:v>
                </c:pt>
                <c:pt idx="821">
                  <c:v>2.1641998</c:v>
                </c:pt>
                <c:pt idx="822">
                  <c:v>2.1644000999999999</c:v>
                </c:pt>
                <c:pt idx="823">
                  <c:v>2.1645998999999998</c:v>
                </c:pt>
                <c:pt idx="824">
                  <c:v>2.1647999000000002</c:v>
                </c:pt>
                <c:pt idx="825">
                  <c:v>2.165</c:v>
                </c:pt>
                <c:pt idx="826">
                  <c:v>2.1651997999999999</c:v>
                </c:pt>
                <c:pt idx="827">
                  <c:v>2.1654</c:v>
                </c:pt>
                <c:pt idx="828">
                  <c:v>2.1655997999999999</c:v>
                </c:pt>
                <c:pt idx="829">
                  <c:v>2.1657999000000001</c:v>
                </c:pt>
                <c:pt idx="830">
                  <c:v>2.1660001000000002</c:v>
                </c:pt>
                <c:pt idx="831">
                  <c:v>2.1661999000000001</c:v>
                </c:pt>
                <c:pt idx="832">
                  <c:v>2.1663999999999999</c:v>
                </c:pt>
                <c:pt idx="833">
                  <c:v>2.1665999999999999</c:v>
                </c:pt>
                <c:pt idx="834">
                  <c:v>2.1667998000000002</c:v>
                </c:pt>
                <c:pt idx="835">
                  <c:v>2.1670001000000001</c:v>
                </c:pt>
                <c:pt idx="836">
                  <c:v>2.1671999</c:v>
                </c:pt>
                <c:pt idx="837">
                  <c:v>2.1673998999999999</c:v>
                </c:pt>
                <c:pt idx="838">
                  <c:v>2.1676001999999999</c:v>
                </c:pt>
                <c:pt idx="839">
                  <c:v>2.1677998999999999</c:v>
                </c:pt>
                <c:pt idx="840">
                  <c:v>2.1680000000000001</c:v>
                </c:pt>
                <c:pt idx="841">
                  <c:v>2.1681998</c:v>
                </c:pt>
                <c:pt idx="842">
                  <c:v>2.1683998</c:v>
                </c:pt>
                <c:pt idx="843">
                  <c:v>2.1686000999999999</c:v>
                </c:pt>
                <c:pt idx="844">
                  <c:v>2.1687998999999998</c:v>
                </c:pt>
                <c:pt idx="845">
                  <c:v>2.1689999000000002</c:v>
                </c:pt>
                <c:pt idx="846">
                  <c:v>2.1692002000000001</c:v>
                </c:pt>
                <c:pt idx="847">
                  <c:v>2.1694</c:v>
                </c:pt>
                <c:pt idx="848">
                  <c:v>2.1696</c:v>
                </c:pt>
                <c:pt idx="849">
                  <c:v>2.1697997999999998</c:v>
                </c:pt>
                <c:pt idx="850">
                  <c:v>2.1699997999999998</c:v>
                </c:pt>
                <c:pt idx="851">
                  <c:v>2.1702001000000002</c:v>
                </c:pt>
                <c:pt idx="852">
                  <c:v>2.1703999</c:v>
                </c:pt>
                <c:pt idx="853">
                  <c:v>2.1705999</c:v>
                </c:pt>
                <c:pt idx="854">
                  <c:v>2.1707999999999998</c:v>
                </c:pt>
                <c:pt idx="855">
                  <c:v>2.1709999999999998</c:v>
                </c:pt>
                <c:pt idx="856">
                  <c:v>2.1711999999999998</c:v>
                </c:pt>
                <c:pt idx="857">
                  <c:v>2.1713998000000001</c:v>
                </c:pt>
                <c:pt idx="858">
                  <c:v>2.1715998999999999</c:v>
                </c:pt>
                <c:pt idx="859">
                  <c:v>2.1717998999999999</c:v>
                </c:pt>
                <c:pt idx="860">
                  <c:v>2.1719998999999999</c:v>
                </c:pt>
                <c:pt idx="861">
                  <c:v>2.1722000000000001</c:v>
                </c:pt>
                <c:pt idx="862">
                  <c:v>2.1724000000000001</c:v>
                </c:pt>
                <c:pt idx="863">
                  <c:v>2.1726000000000001</c:v>
                </c:pt>
                <c:pt idx="864">
                  <c:v>2.1727997999999999</c:v>
                </c:pt>
                <c:pt idx="865">
                  <c:v>2.1729999000000002</c:v>
                </c:pt>
                <c:pt idx="866">
                  <c:v>2.1731999000000002</c:v>
                </c:pt>
                <c:pt idx="867">
                  <c:v>2.1733999000000002</c:v>
                </c:pt>
                <c:pt idx="868">
                  <c:v>2.1736</c:v>
                </c:pt>
                <c:pt idx="869">
                  <c:v>2.1738</c:v>
                </c:pt>
                <c:pt idx="870">
                  <c:v>2.1739999999999999</c:v>
                </c:pt>
                <c:pt idx="871">
                  <c:v>2.1742001000000002</c:v>
                </c:pt>
                <c:pt idx="872">
                  <c:v>2.1743999000000001</c:v>
                </c:pt>
                <c:pt idx="873">
                  <c:v>2.1745999</c:v>
                </c:pt>
                <c:pt idx="874">
                  <c:v>2.1747999</c:v>
                </c:pt>
                <c:pt idx="875">
                  <c:v>2.1749999999999998</c:v>
                </c:pt>
                <c:pt idx="876">
                  <c:v>2.1751999999999998</c:v>
                </c:pt>
                <c:pt idx="877">
                  <c:v>2.1753998000000001</c:v>
                </c:pt>
                <c:pt idx="878">
                  <c:v>2.1756001</c:v>
                </c:pt>
                <c:pt idx="879">
                  <c:v>2.1758001</c:v>
                </c:pt>
                <c:pt idx="880">
                  <c:v>2.1759998999999999</c:v>
                </c:pt>
                <c:pt idx="881">
                  <c:v>2.1761998999999999</c:v>
                </c:pt>
                <c:pt idx="882">
                  <c:v>2.1763997000000002</c:v>
                </c:pt>
                <c:pt idx="883">
                  <c:v>2.1766000000000001</c:v>
                </c:pt>
                <c:pt idx="884">
                  <c:v>2.1768000000000001</c:v>
                </c:pt>
                <c:pt idx="885">
                  <c:v>2.1769997999999999</c:v>
                </c:pt>
                <c:pt idx="886">
                  <c:v>2.1772000999999999</c:v>
                </c:pt>
                <c:pt idx="887">
                  <c:v>2.1774000999999998</c:v>
                </c:pt>
                <c:pt idx="888">
                  <c:v>2.1775999000000001</c:v>
                </c:pt>
                <c:pt idx="889">
                  <c:v>2.1777999000000001</c:v>
                </c:pt>
                <c:pt idx="890">
                  <c:v>2.1779997</c:v>
                </c:pt>
                <c:pt idx="891">
                  <c:v>2.1781999999999999</c:v>
                </c:pt>
                <c:pt idx="892">
                  <c:v>2.1783999999999999</c:v>
                </c:pt>
                <c:pt idx="893">
                  <c:v>2.1785998000000002</c:v>
                </c:pt>
                <c:pt idx="894">
                  <c:v>2.1788001000000001</c:v>
                </c:pt>
                <c:pt idx="895">
                  <c:v>2.1789999</c:v>
                </c:pt>
                <c:pt idx="896">
                  <c:v>2.1791999</c:v>
                </c:pt>
                <c:pt idx="897">
                  <c:v>2.1793999999999998</c:v>
                </c:pt>
                <c:pt idx="898">
                  <c:v>2.1795998000000001</c:v>
                </c:pt>
                <c:pt idx="899">
                  <c:v>2.1798000000000002</c:v>
                </c:pt>
                <c:pt idx="900">
                  <c:v>2.1799998</c:v>
                </c:pt>
                <c:pt idx="901">
                  <c:v>2.1801998999999999</c:v>
                </c:pt>
                <c:pt idx="902">
                  <c:v>2.1804001</c:v>
                </c:pt>
                <c:pt idx="903">
                  <c:v>2.1805998999999998</c:v>
                </c:pt>
                <c:pt idx="904">
                  <c:v>2.1808000000000001</c:v>
                </c:pt>
                <c:pt idx="905">
                  <c:v>2.1809997999999999</c:v>
                </c:pt>
                <c:pt idx="906">
                  <c:v>2.1811997999999999</c:v>
                </c:pt>
                <c:pt idx="907">
                  <c:v>2.1814000999999998</c:v>
                </c:pt>
                <c:pt idx="908">
                  <c:v>2.1815999000000001</c:v>
                </c:pt>
                <c:pt idx="909">
                  <c:v>2.1817999000000001</c:v>
                </c:pt>
                <c:pt idx="910">
                  <c:v>2.1820002000000001</c:v>
                </c:pt>
                <c:pt idx="911">
                  <c:v>2.1821999999999999</c:v>
                </c:pt>
                <c:pt idx="912">
                  <c:v>2.1823999999999999</c:v>
                </c:pt>
                <c:pt idx="913">
                  <c:v>2.1825998000000002</c:v>
                </c:pt>
                <c:pt idx="914">
                  <c:v>2.1827998000000002</c:v>
                </c:pt>
                <c:pt idx="915">
                  <c:v>2.1830001000000001</c:v>
                </c:pt>
                <c:pt idx="916">
                  <c:v>2.1831999</c:v>
                </c:pt>
                <c:pt idx="917">
                  <c:v>2.1833998999999999</c:v>
                </c:pt>
                <c:pt idx="918">
                  <c:v>2.1835998999999999</c:v>
                </c:pt>
                <c:pt idx="919">
                  <c:v>2.1838000000000002</c:v>
                </c:pt>
                <c:pt idx="920">
                  <c:v>2.1840000000000002</c:v>
                </c:pt>
                <c:pt idx="921">
                  <c:v>2.1841998</c:v>
                </c:pt>
                <c:pt idx="922">
                  <c:v>2.1843998</c:v>
                </c:pt>
                <c:pt idx="923">
                  <c:v>2.1846000999999999</c:v>
                </c:pt>
                <c:pt idx="924">
                  <c:v>2.1847998999999998</c:v>
                </c:pt>
                <c:pt idx="925">
                  <c:v>2.1849999000000002</c:v>
                </c:pt>
                <c:pt idx="926">
                  <c:v>2.1852</c:v>
                </c:pt>
                <c:pt idx="927">
                  <c:v>2.1854</c:v>
                </c:pt>
                <c:pt idx="928">
                  <c:v>2.1856</c:v>
                </c:pt>
                <c:pt idx="929">
                  <c:v>2.1857997999999998</c:v>
                </c:pt>
                <c:pt idx="930">
                  <c:v>2.1859999000000001</c:v>
                </c:pt>
                <c:pt idx="931">
                  <c:v>2.1861999000000001</c:v>
                </c:pt>
                <c:pt idx="932">
                  <c:v>2.1863999000000001</c:v>
                </c:pt>
                <c:pt idx="933">
                  <c:v>2.1865999999999999</c:v>
                </c:pt>
                <c:pt idx="934">
                  <c:v>2.1867999999999999</c:v>
                </c:pt>
                <c:pt idx="935">
                  <c:v>2.1869999999999998</c:v>
                </c:pt>
                <c:pt idx="936">
                  <c:v>2.1871998000000001</c:v>
                </c:pt>
                <c:pt idx="937">
                  <c:v>2.1873999</c:v>
                </c:pt>
                <c:pt idx="938">
                  <c:v>2.1875998999999999</c:v>
                </c:pt>
                <c:pt idx="939">
                  <c:v>2.1877998999999999</c:v>
                </c:pt>
                <c:pt idx="940">
                  <c:v>2.1880000000000002</c:v>
                </c:pt>
                <c:pt idx="941">
                  <c:v>2.1881998</c:v>
                </c:pt>
                <c:pt idx="942">
                  <c:v>2.1884000000000001</c:v>
                </c:pt>
                <c:pt idx="943">
                  <c:v>2.1886000999999999</c:v>
                </c:pt>
                <c:pt idx="944">
                  <c:v>2.1887998999999998</c:v>
                </c:pt>
                <c:pt idx="945">
                  <c:v>2.1889999000000002</c:v>
                </c:pt>
                <c:pt idx="946">
                  <c:v>2.1891999000000002</c:v>
                </c:pt>
                <c:pt idx="947">
                  <c:v>2.1894</c:v>
                </c:pt>
                <c:pt idx="948">
                  <c:v>2.1896</c:v>
                </c:pt>
                <c:pt idx="949">
                  <c:v>2.1897997999999999</c:v>
                </c:pt>
                <c:pt idx="950">
                  <c:v>2.1900000999999998</c:v>
                </c:pt>
                <c:pt idx="951">
                  <c:v>2.1902001000000002</c:v>
                </c:pt>
                <c:pt idx="952">
                  <c:v>2.1903999000000001</c:v>
                </c:pt>
                <c:pt idx="953">
                  <c:v>2.1905999</c:v>
                </c:pt>
                <c:pt idx="954">
                  <c:v>2.1907996999999999</c:v>
                </c:pt>
                <c:pt idx="955">
                  <c:v>2.1909999999999998</c:v>
                </c:pt>
                <c:pt idx="956">
                  <c:v>2.1911999999999998</c:v>
                </c:pt>
                <c:pt idx="957">
                  <c:v>2.1913998000000001</c:v>
                </c:pt>
                <c:pt idx="958">
                  <c:v>2.1916001000000001</c:v>
                </c:pt>
                <c:pt idx="959">
                  <c:v>2.1918001</c:v>
                </c:pt>
                <c:pt idx="960">
                  <c:v>2.1919998999999999</c:v>
                </c:pt>
                <c:pt idx="961">
                  <c:v>2.1921998999999999</c:v>
                </c:pt>
                <c:pt idx="962">
                  <c:v>2.1923997000000002</c:v>
                </c:pt>
                <c:pt idx="963">
                  <c:v>2.1926000000000001</c:v>
                </c:pt>
                <c:pt idx="964">
                  <c:v>2.1928000000000001</c:v>
                </c:pt>
                <c:pt idx="965">
                  <c:v>2.1929997999999999</c:v>
                </c:pt>
                <c:pt idx="966">
                  <c:v>2.1932000999999999</c:v>
                </c:pt>
                <c:pt idx="967">
                  <c:v>2.1933999000000002</c:v>
                </c:pt>
                <c:pt idx="968">
                  <c:v>2.1935999000000002</c:v>
                </c:pt>
                <c:pt idx="969">
                  <c:v>2.1938</c:v>
                </c:pt>
                <c:pt idx="970">
                  <c:v>2.1939997999999998</c:v>
                </c:pt>
                <c:pt idx="971">
                  <c:v>2.1941999999999999</c:v>
                </c:pt>
                <c:pt idx="972">
                  <c:v>2.1943997999999998</c:v>
                </c:pt>
                <c:pt idx="973">
                  <c:v>2.1945999</c:v>
                </c:pt>
                <c:pt idx="974">
                  <c:v>2.1948001000000001</c:v>
                </c:pt>
                <c:pt idx="975">
                  <c:v>2.1949999</c:v>
                </c:pt>
                <c:pt idx="976">
                  <c:v>2.1951999999999998</c:v>
                </c:pt>
                <c:pt idx="977">
                  <c:v>2.1953998000000001</c:v>
                </c:pt>
                <c:pt idx="978">
                  <c:v>2.1955998000000001</c:v>
                </c:pt>
                <c:pt idx="979">
                  <c:v>2.1958001</c:v>
                </c:pt>
                <c:pt idx="980">
                  <c:v>2.1959998999999999</c:v>
                </c:pt>
                <c:pt idx="981">
                  <c:v>2.1961998999999999</c:v>
                </c:pt>
                <c:pt idx="982">
                  <c:v>2.1964001999999998</c:v>
                </c:pt>
                <c:pt idx="983">
                  <c:v>2.1966000000000001</c:v>
                </c:pt>
                <c:pt idx="984">
                  <c:v>2.1968000000000001</c:v>
                </c:pt>
                <c:pt idx="985">
                  <c:v>2.1969997999999999</c:v>
                </c:pt>
                <c:pt idx="986">
                  <c:v>2.1971997999999999</c:v>
                </c:pt>
                <c:pt idx="987">
                  <c:v>2.1974000999999999</c:v>
                </c:pt>
                <c:pt idx="988">
                  <c:v>2.1975999000000002</c:v>
                </c:pt>
                <c:pt idx="989">
                  <c:v>2.1977999000000001</c:v>
                </c:pt>
                <c:pt idx="990">
                  <c:v>2.198</c:v>
                </c:pt>
                <c:pt idx="991">
                  <c:v>2.1981999999999999</c:v>
                </c:pt>
                <c:pt idx="992">
                  <c:v>2.1983999999999999</c:v>
                </c:pt>
                <c:pt idx="993">
                  <c:v>2.1985998000000002</c:v>
                </c:pt>
                <c:pt idx="994">
                  <c:v>2.1987998000000002</c:v>
                </c:pt>
                <c:pt idx="995">
                  <c:v>2.1990001000000001</c:v>
                </c:pt>
                <c:pt idx="996">
                  <c:v>2.1991999</c:v>
                </c:pt>
                <c:pt idx="997">
                  <c:v>2.1993999</c:v>
                </c:pt>
                <c:pt idx="998">
                  <c:v>2.1996000000000002</c:v>
                </c:pt>
                <c:pt idx="999">
                  <c:v>2.1998000000000002</c:v>
                </c:pt>
                <c:pt idx="1000">
                  <c:v>2.2000000000000002</c:v>
                </c:pt>
                <c:pt idx="1001">
                  <c:v>2.2001998</c:v>
                </c:pt>
                <c:pt idx="1002">
                  <c:v>2.2003998999999999</c:v>
                </c:pt>
                <c:pt idx="1003">
                  <c:v>2.2005998999999998</c:v>
                </c:pt>
                <c:pt idx="1004">
                  <c:v>2.2007998999999998</c:v>
                </c:pt>
                <c:pt idx="1005">
                  <c:v>2.2010000000000001</c:v>
                </c:pt>
                <c:pt idx="1006">
                  <c:v>2.2012</c:v>
                </c:pt>
                <c:pt idx="1007">
                  <c:v>2.2014</c:v>
                </c:pt>
                <c:pt idx="1008">
                  <c:v>2.2015997999999999</c:v>
                </c:pt>
                <c:pt idx="1009">
                  <c:v>2.2017999000000001</c:v>
                </c:pt>
                <c:pt idx="1010">
                  <c:v>2.2019999000000001</c:v>
                </c:pt>
                <c:pt idx="1011">
                  <c:v>2.2021999000000001</c:v>
                </c:pt>
                <c:pt idx="1012">
                  <c:v>2.2023999999999999</c:v>
                </c:pt>
                <c:pt idx="1013">
                  <c:v>2.2025998000000002</c:v>
                </c:pt>
                <c:pt idx="1014">
                  <c:v>2.2027999999999999</c:v>
                </c:pt>
                <c:pt idx="1015">
                  <c:v>2.2030001000000001</c:v>
                </c:pt>
                <c:pt idx="1016">
                  <c:v>2.2031999</c:v>
                </c:pt>
                <c:pt idx="1017">
                  <c:v>2.2033999</c:v>
                </c:pt>
                <c:pt idx="1018">
                  <c:v>2.2035996999999998</c:v>
                </c:pt>
                <c:pt idx="1019">
                  <c:v>2.2038000000000002</c:v>
                </c:pt>
                <c:pt idx="1020">
                  <c:v>2.2040000000000002</c:v>
                </c:pt>
                <c:pt idx="1021">
                  <c:v>2.2041998</c:v>
                </c:pt>
                <c:pt idx="1022">
                  <c:v>2.2044001</c:v>
                </c:pt>
                <c:pt idx="1023">
                  <c:v>2.2046001</c:v>
                </c:pt>
                <c:pt idx="1024">
                  <c:v>2.2047998999999998</c:v>
                </c:pt>
                <c:pt idx="1025">
                  <c:v>2.2049998999999998</c:v>
                </c:pt>
                <c:pt idx="1026">
                  <c:v>2.2051997000000001</c:v>
                </c:pt>
                <c:pt idx="1027">
                  <c:v>2.2054</c:v>
                </c:pt>
                <c:pt idx="1028">
                  <c:v>2.2056</c:v>
                </c:pt>
                <c:pt idx="1029">
                  <c:v>2.2057997999999999</c:v>
                </c:pt>
                <c:pt idx="1030">
                  <c:v>2.2060000999999998</c:v>
                </c:pt>
                <c:pt idx="1031">
                  <c:v>2.2061999000000001</c:v>
                </c:pt>
                <c:pt idx="1032">
                  <c:v>2.2063999000000001</c:v>
                </c:pt>
                <c:pt idx="1033">
                  <c:v>2.2065999999999999</c:v>
                </c:pt>
                <c:pt idx="1034">
                  <c:v>2.2067996999999999</c:v>
                </c:pt>
                <c:pt idx="1035">
                  <c:v>2.2069999999999999</c:v>
                </c:pt>
                <c:pt idx="1036">
                  <c:v>2.2072001000000001</c:v>
                </c:pt>
                <c:pt idx="1037">
                  <c:v>2.2073998000000001</c:v>
                </c:pt>
                <c:pt idx="1038">
                  <c:v>2.2076001000000001</c:v>
                </c:pt>
                <c:pt idx="1039">
                  <c:v>2.2077998999999999</c:v>
                </c:pt>
                <c:pt idx="1040">
                  <c:v>2.2079998999999999</c:v>
                </c:pt>
                <c:pt idx="1041">
                  <c:v>2.2082000000000002</c:v>
                </c:pt>
                <c:pt idx="1042">
                  <c:v>2.2083998</c:v>
                </c:pt>
                <c:pt idx="1043">
                  <c:v>2.2086000000000001</c:v>
                </c:pt>
                <c:pt idx="1044">
                  <c:v>2.2087998</c:v>
                </c:pt>
                <c:pt idx="1045">
                  <c:v>2.2089998999999998</c:v>
                </c:pt>
                <c:pt idx="1046">
                  <c:v>2.2092000999999999</c:v>
                </c:pt>
                <c:pt idx="1047">
                  <c:v>2.2093999000000002</c:v>
                </c:pt>
                <c:pt idx="1048">
                  <c:v>2.2096</c:v>
                </c:pt>
                <c:pt idx="1049">
                  <c:v>2.2097997999999999</c:v>
                </c:pt>
                <c:pt idx="1050">
                  <c:v>2.2099997999999998</c:v>
                </c:pt>
                <c:pt idx="1051">
                  <c:v>2.2102000999999998</c:v>
                </c:pt>
                <c:pt idx="1052">
                  <c:v>2.2103999000000001</c:v>
                </c:pt>
                <c:pt idx="1053">
                  <c:v>2.2105999000000001</c:v>
                </c:pt>
                <c:pt idx="1054">
                  <c:v>2.2108002</c:v>
                </c:pt>
                <c:pt idx="1055">
                  <c:v>2.2109999999999999</c:v>
                </c:pt>
                <c:pt idx="1056">
                  <c:v>2.2111999999999998</c:v>
                </c:pt>
                <c:pt idx="1057">
                  <c:v>2.2113998000000001</c:v>
                </c:pt>
                <c:pt idx="1058">
                  <c:v>2.2115998000000001</c:v>
                </c:pt>
                <c:pt idx="1059">
                  <c:v>2.2118001</c:v>
                </c:pt>
                <c:pt idx="1060">
                  <c:v>2.2119998999999999</c:v>
                </c:pt>
                <c:pt idx="1061">
                  <c:v>2.2121998999999999</c:v>
                </c:pt>
                <c:pt idx="1062">
                  <c:v>2.2124000000000001</c:v>
                </c:pt>
                <c:pt idx="1063">
                  <c:v>2.2126000000000001</c:v>
                </c:pt>
                <c:pt idx="1064">
                  <c:v>2.2128000000000001</c:v>
                </c:pt>
                <c:pt idx="1065">
                  <c:v>2.2129998</c:v>
                </c:pt>
                <c:pt idx="1066">
                  <c:v>2.2131999000000002</c:v>
                </c:pt>
                <c:pt idx="1067">
                  <c:v>2.2133999000000002</c:v>
                </c:pt>
                <c:pt idx="1068">
                  <c:v>2.2135999000000002</c:v>
                </c:pt>
                <c:pt idx="1069">
                  <c:v>2.2138</c:v>
                </c:pt>
                <c:pt idx="1070">
                  <c:v>2.214</c:v>
                </c:pt>
                <c:pt idx="1071">
                  <c:v>2.2141999999999999</c:v>
                </c:pt>
                <c:pt idx="1072">
                  <c:v>2.2144001000000002</c:v>
                </c:pt>
                <c:pt idx="1073">
                  <c:v>2.2145997999999998</c:v>
                </c:pt>
                <c:pt idx="1074">
                  <c:v>2.2147999</c:v>
                </c:pt>
                <c:pt idx="1075">
                  <c:v>2.2149999</c:v>
                </c:pt>
                <c:pt idx="1076">
                  <c:v>2.2151999</c:v>
                </c:pt>
                <c:pt idx="1077">
                  <c:v>2.2153999999999998</c:v>
                </c:pt>
                <c:pt idx="1078">
                  <c:v>2.2155999999999998</c:v>
                </c:pt>
                <c:pt idx="1079">
                  <c:v>2.2158000000000002</c:v>
                </c:pt>
                <c:pt idx="1080">
                  <c:v>2.2159998000000001</c:v>
                </c:pt>
                <c:pt idx="1081">
                  <c:v>2.2161998999999999</c:v>
                </c:pt>
                <c:pt idx="1082">
                  <c:v>2.2163998999999999</c:v>
                </c:pt>
                <c:pt idx="1083">
                  <c:v>2.2165998999999998</c:v>
                </c:pt>
                <c:pt idx="1084">
                  <c:v>2.2168000000000001</c:v>
                </c:pt>
                <c:pt idx="1085">
                  <c:v>2.2169998</c:v>
                </c:pt>
                <c:pt idx="1086">
                  <c:v>2.2172000000000001</c:v>
                </c:pt>
                <c:pt idx="1087">
                  <c:v>2.2174000999999999</c:v>
                </c:pt>
                <c:pt idx="1088">
                  <c:v>2.2175999000000002</c:v>
                </c:pt>
                <c:pt idx="1089">
                  <c:v>2.2177999000000002</c:v>
                </c:pt>
                <c:pt idx="1090">
                  <c:v>2.2179997</c:v>
                </c:pt>
                <c:pt idx="1091">
                  <c:v>2.2181999999999999</c:v>
                </c:pt>
                <c:pt idx="1092">
                  <c:v>2.2183999999999999</c:v>
                </c:pt>
                <c:pt idx="1093">
                  <c:v>2.2185997999999998</c:v>
                </c:pt>
                <c:pt idx="1094">
                  <c:v>2.2188001000000002</c:v>
                </c:pt>
                <c:pt idx="1095">
                  <c:v>2.2190001000000001</c:v>
                </c:pt>
                <c:pt idx="1096">
                  <c:v>2.2191999</c:v>
                </c:pt>
                <c:pt idx="1097">
                  <c:v>2.2193999</c:v>
                </c:pt>
                <c:pt idx="1098">
                  <c:v>2.2195996999999998</c:v>
                </c:pt>
                <c:pt idx="1099">
                  <c:v>2.2198000000000002</c:v>
                </c:pt>
                <c:pt idx="1100">
                  <c:v>2.2200000000000002</c:v>
                </c:pt>
                <c:pt idx="1101">
                  <c:v>2.2201998000000001</c:v>
                </c:pt>
                <c:pt idx="1102">
                  <c:v>2.2204001</c:v>
                </c:pt>
                <c:pt idx="1103">
                  <c:v>2.2205998999999998</c:v>
                </c:pt>
                <c:pt idx="1104">
                  <c:v>2.2207998999999998</c:v>
                </c:pt>
                <c:pt idx="1105">
                  <c:v>2.2210000000000001</c:v>
                </c:pt>
                <c:pt idx="1106">
                  <c:v>2.2211997999999999</c:v>
                </c:pt>
                <c:pt idx="1107">
                  <c:v>2.2214</c:v>
                </c:pt>
                <c:pt idx="1108">
                  <c:v>2.2216000999999999</c:v>
                </c:pt>
                <c:pt idx="1109">
                  <c:v>2.2217999000000002</c:v>
                </c:pt>
                <c:pt idx="1110">
                  <c:v>2.2220000999999998</c:v>
                </c:pt>
                <c:pt idx="1111">
                  <c:v>2.2221999000000001</c:v>
                </c:pt>
                <c:pt idx="1112">
                  <c:v>2.2223999999999999</c:v>
                </c:pt>
                <c:pt idx="1113">
                  <c:v>2.2225999999999999</c:v>
                </c:pt>
                <c:pt idx="1114">
                  <c:v>2.2227998000000002</c:v>
                </c:pt>
                <c:pt idx="1115">
                  <c:v>2.2229999999999999</c:v>
                </c:pt>
                <c:pt idx="1116">
                  <c:v>2.2231998000000002</c:v>
                </c:pt>
                <c:pt idx="1117">
                  <c:v>2.2233999</c:v>
                </c:pt>
                <c:pt idx="1118">
                  <c:v>2.2236001000000001</c:v>
                </c:pt>
                <c:pt idx="1119">
                  <c:v>2.2237998999999999</c:v>
                </c:pt>
                <c:pt idx="1120">
                  <c:v>2.2240000000000002</c:v>
                </c:pt>
                <c:pt idx="1121">
                  <c:v>2.2241998000000001</c:v>
                </c:pt>
                <c:pt idx="1122">
                  <c:v>2.2243998</c:v>
                </c:pt>
                <c:pt idx="1123">
                  <c:v>2.2246001</c:v>
                </c:pt>
                <c:pt idx="1124">
                  <c:v>2.2247998999999998</c:v>
                </c:pt>
                <c:pt idx="1125">
                  <c:v>2.2249998999999998</c:v>
                </c:pt>
                <c:pt idx="1126">
                  <c:v>2.2252002000000002</c:v>
                </c:pt>
                <c:pt idx="1127">
                  <c:v>2.2254</c:v>
                </c:pt>
                <c:pt idx="1128">
                  <c:v>2.2256</c:v>
                </c:pt>
                <c:pt idx="1129">
                  <c:v>2.2257997999999999</c:v>
                </c:pt>
                <c:pt idx="1130">
                  <c:v>2.2259997999999999</c:v>
                </c:pt>
                <c:pt idx="1131">
                  <c:v>2.2262000999999998</c:v>
                </c:pt>
                <c:pt idx="1132">
                  <c:v>2.2263999000000001</c:v>
                </c:pt>
                <c:pt idx="1133">
                  <c:v>2.2265999000000001</c:v>
                </c:pt>
                <c:pt idx="1134">
                  <c:v>2.2267999999999999</c:v>
                </c:pt>
                <c:pt idx="1135">
                  <c:v>2.2269999999999999</c:v>
                </c:pt>
                <c:pt idx="1136">
                  <c:v>2.2271999999999998</c:v>
                </c:pt>
                <c:pt idx="1137">
                  <c:v>2.2273998000000002</c:v>
                </c:pt>
                <c:pt idx="1138">
                  <c:v>2.2275999</c:v>
                </c:pt>
                <c:pt idx="1139">
                  <c:v>2.2277998999999999</c:v>
                </c:pt>
                <c:pt idx="1140">
                  <c:v>2.2279998999999999</c:v>
                </c:pt>
                <c:pt idx="1141">
                  <c:v>2.2282000000000002</c:v>
                </c:pt>
                <c:pt idx="1142">
                  <c:v>2.2284000000000002</c:v>
                </c:pt>
                <c:pt idx="1143">
                  <c:v>2.2286000000000001</c:v>
                </c:pt>
                <c:pt idx="1144">
                  <c:v>2.2287998</c:v>
                </c:pt>
                <c:pt idx="1145">
                  <c:v>2.2289998999999998</c:v>
                </c:pt>
                <c:pt idx="1146">
                  <c:v>2.2291998999999998</c:v>
                </c:pt>
                <c:pt idx="1147">
                  <c:v>2.2293999000000002</c:v>
                </c:pt>
                <c:pt idx="1148">
                  <c:v>2.2296</c:v>
                </c:pt>
                <c:pt idx="1149">
                  <c:v>2.2298</c:v>
                </c:pt>
                <c:pt idx="1150">
                  <c:v>2.23</c:v>
                </c:pt>
                <c:pt idx="1151">
                  <c:v>2.2302000999999998</c:v>
                </c:pt>
                <c:pt idx="1152">
                  <c:v>2.2303997999999998</c:v>
                </c:pt>
                <c:pt idx="1153">
                  <c:v>2.2305999000000001</c:v>
                </c:pt>
                <c:pt idx="1154">
                  <c:v>2.2307999000000001</c:v>
                </c:pt>
                <c:pt idx="1155">
                  <c:v>2.2309999</c:v>
                </c:pt>
                <c:pt idx="1156">
                  <c:v>2.2311999999999999</c:v>
                </c:pt>
                <c:pt idx="1157">
                  <c:v>2.2313998000000002</c:v>
                </c:pt>
                <c:pt idx="1158">
                  <c:v>2.2315999999999998</c:v>
                </c:pt>
                <c:pt idx="1159">
                  <c:v>2.2318001000000001</c:v>
                </c:pt>
                <c:pt idx="1160">
                  <c:v>2.2319998999999999</c:v>
                </c:pt>
                <c:pt idx="1161">
                  <c:v>2.2321998999999999</c:v>
                </c:pt>
                <c:pt idx="1162">
                  <c:v>2.2323997000000002</c:v>
                </c:pt>
                <c:pt idx="1163">
                  <c:v>2.2326000000000001</c:v>
                </c:pt>
                <c:pt idx="1164">
                  <c:v>2.2328000000000001</c:v>
                </c:pt>
                <c:pt idx="1165">
                  <c:v>2.2329998</c:v>
                </c:pt>
                <c:pt idx="1166">
                  <c:v>2.2332000999999999</c:v>
                </c:pt>
                <c:pt idx="1167">
                  <c:v>2.2334000999999999</c:v>
                </c:pt>
                <c:pt idx="1168">
                  <c:v>2.2335999000000002</c:v>
                </c:pt>
                <c:pt idx="1169">
                  <c:v>2.2337999000000002</c:v>
                </c:pt>
                <c:pt idx="1170">
                  <c:v>2.2339997</c:v>
                </c:pt>
                <c:pt idx="1171">
                  <c:v>2.2342</c:v>
                </c:pt>
                <c:pt idx="1172">
                  <c:v>2.2343999999999999</c:v>
                </c:pt>
                <c:pt idx="1173">
                  <c:v>2.2345997999999998</c:v>
                </c:pt>
                <c:pt idx="1174">
                  <c:v>2.2348001000000002</c:v>
                </c:pt>
                <c:pt idx="1175">
                  <c:v>2.2349999</c:v>
                </c:pt>
                <c:pt idx="1176">
                  <c:v>2.2351999</c:v>
                </c:pt>
                <c:pt idx="1177">
                  <c:v>2.2353999999999998</c:v>
                </c:pt>
                <c:pt idx="1178">
                  <c:v>2.2355998000000001</c:v>
                </c:pt>
                <c:pt idx="1179">
                  <c:v>2.2357999999999998</c:v>
                </c:pt>
                <c:pt idx="1180">
                  <c:v>2.2359998000000001</c:v>
                </c:pt>
                <c:pt idx="1181">
                  <c:v>2.2361998999999999</c:v>
                </c:pt>
                <c:pt idx="1182">
                  <c:v>2.2364001</c:v>
                </c:pt>
                <c:pt idx="1183">
                  <c:v>2.2365998999999999</c:v>
                </c:pt>
                <c:pt idx="1184">
                  <c:v>2.2368000000000001</c:v>
                </c:pt>
                <c:pt idx="1185">
                  <c:v>2.2370000000000001</c:v>
                </c:pt>
                <c:pt idx="1186">
                  <c:v>2.2371998</c:v>
                </c:pt>
                <c:pt idx="1187">
                  <c:v>2.2374000999999999</c:v>
                </c:pt>
                <c:pt idx="1188">
                  <c:v>2.2375997999999999</c:v>
                </c:pt>
                <c:pt idx="1189">
                  <c:v>2.2377999000000002</c:v>
                </c:pt>
                <c:pt idx="1190">
                  <c:v>2.2380002000000001</c:v>
                </c:pt>
                <c:pt idx="1191">
                  <c:v>2.2381999000000001</c:v>
                </c:pt>
                <c:pt idx="1192">
                  <c:v>2.2383999999999999</c:v>
                </c:pt>
                <c:pt idx="1193">
                  <c:v>2.2385997999999998</c:v>
                </c:pt>
                <c:pt idx="1194">
                  <c:v>2.2387997999999998</c:v>
                </c:pt>
                <c:pt idx="1195">
                  <c:v>2.2390001000000002</c:v>
                </c:pt>
                <c:pt idx="1196">
                  <c:v>2.2391999</c:v>
                </c:pt>
                <c:pt idx="1197">
                  <c:v>2.2393999</c:v>
                </c:pt>
                <c:pt idx="1198">
                  <c:v>2.2396001999999999</c:v>
                </c:pt>
                <c:pt idx="1199">
                  <c:v>2.2397999999999998</c:v>
                </c:pt>
                <c:pt idx="1200">
                  <c:v>2.2400000000000002</c:v>
                </c:pt>
                <c:pt idx="1201">
                  <c:v>2.2401998000000001</c:v>
                </c:pt>
                <c:pt idx="1202">
                  <c:v>2.2403998000000001</c:v>
                </c:pt>
                <c:pt idx="1203">
                  <c:v>2.2406001</c:v>
                </c:pt>
                <c:pt idx="1204">
                  <c:v>2.2407998999999998</c:v>
                </c:pt>
                <c:pt idx="1205">
                  <c:v>2.2409998999999998</c:v>
                </c:pt>
                <c:pt idx="1206">
                  <c:v>2.2412000000000001</c:v>
                </c:pt>
                <c:pt idx="1207">
                  <c:v>2.2414000000000001</c:v>
                </c:pt>
                <c:pt idx="1208">
                  <c:v>2.2416</c:v>
                </c:pt>
                <c:pt idx="1209">
                  <c:v>2.2417997999999999</c:v>
                </c:pt>
                <c:pt idx="1210">
                  <c:v>2.2419999000000002</c:v>
                </c:pt>
                <c:pt idx="1211">
                  <c:v>2.2421999000000001</c:v>
                </c:pt>
                <c:pt idx="1212">
                  <c:v>2.2423999000000001</c:v>
                </c:pt>
                <c:pt idx="1213">
                  <c:v>2.2425999999999999</c:v>
                </c:pt>
                <c:pt idx="1214">
                  <c:v>2.2427999999999999</c:v>
                </c:pt>
                <c:pt idx="1215">
                  <c:v>2.2429999999999999</c:v>
                </c:pt>
                <c:pt idx="1216">
                  <c:v>2.2431998000000002</c:v>
                </c:pt>
                <c:pt idx="1217">
                  <c:v>2.2433999</c:v>
                </c:pt>
                <c:pt idx="1218">
                  <c:v>2.2435999</c:v>
                </c:pt>
                <c:pt idx="1219">
                  <c:v>2.2437999</c:v>
                </c:pt>
                <c:pt idx="1220">
                  <c:v>2.2440000000000002</c:v>
                </c:pt>
                <c:pt idx="1221">
                  <c:v>2.2442000000000002</c:v>
                </c:pt>
                <c:pt idx="1222">
                  <c:v>2.2444000000000002</c:v>
                </c:pt>
                <c:pt idx="1223">
                  <c:v>2.2446001</c:v>
                </c:pt>
                <c:pt idx="1224">
                  <c:v>2.2447998999999998</c:v>
                </c:pt>
                <c:pt idx="1225">
                  <c:v>2.2449998999999998</c:v>
                </c:pt>
                <c:pt idx="1226">
                  <c:v>2.2451998999999998</c:v>
                </c:pt>
                <c:pt idx="1227">
                  <c:v>2.2454000000000001</c:v>
                </c:pt>
                <c:pt idx="1228">
                  <c:v>2.2456</c:v>
                </c:pt>
                <c:pt idx="1229">
                  <c:v>2.2457997999999999</c:v>
                </c:pt>
                <c:pt idx="1230">
                  <c:v>2.2460000999999998</c:v>
                </c:pt>
                <c:pt idx="1231">
                  <c:v>2.2462000999999998</c:v>
                </c:pt>
                <c:pt idx="1232">
                  <c:v>2.2463999000000001</c:v>
                </c:pt>
                <c:pt idx="1233">
                  <c:v>2.2465999000000001</c:v>
                </c:pt>
                <c:pt idx="1234">
                  <c:v>2.2467997</c:v>
                </c:pt>
                <c:pt idx="1235">
                  <c:v>2.2469999999999999</c:v>
                </c:pt>
                <c:pt idx="1236">
                  <c:v>2.2471999999999999</c:v>
                </c:pt>
                <c:pt idx="1237">
                  <c:v>2.2473998000000002</c:v>
                </c:pt>
                <c:pt idx="1238">
                  <c:v>2.2476001000000001</c:v>
                </c:pt>
                <c:pt idx="1239">
                  <c:v>2.2478001000000001</c:v>
                </c:pt>
                <c:pt idx="1240">
                  <c:v>2.2479998999999999</c:v>
                </c:pt>
                <c:pt idx="1241">
                  <c:v>2.2481998999999999</c:v>
                </c:pt>
                <c:pt idx="1242">
                  <c:v>2.2483996999999998</c:v>
                </c:pt>
                <c:pt idx="1243">
                  <c:v>2.2486000000000002</c:v>
                </c:pt>
                <c:pt idx="1244">
                  <c:v>2.2488000000000001</c:v>
                </c:pt>
                <c:pt idx="1245">
                  <c:v>2.2489998</c:v>
                </c:pt>
                <c:pt idx="1246">
                  <c:v>2.2492000999999999</c:v>
                </c:pt>
                <c:pt idx="1247">
                  <c:v>2.2493998999999998</c:v>
                </c:pt>
                <c:pt idx="1248">
                  <c:v>2.2495999000000002</c:v>
                </c:pt>
                <c:pt idx="1249">
                  <c:v>2.2498</c:v>
                </c:pt>
                <c:pt idx="1250">
                  <c:v>2.2499997999999999</c:v>
                </c:pt>
                <c:pt idx="1251">
                  <c:v>2.2502</c:v>
                </c:pt>
                <c:pt idx="1252">
                  <c:v>2.2503997999999998</c:v>
                </c:pt>
                <c:pt idx="1253">
                  <c:v>2.2505999000000001</c:v>
                </c:pt>
                <c:pt idx="1254">
                  <c:v>2.2508001000000002</c:v>
                </c:pt>
                <c:pt idx="1255">
                  <c:v>2.2509999000000001</c:v>
                </c:pt>
                <c:pt idx="1256">
                  <c:v>2.2511999999999999</c:v>
                </c:pt>
                <c:pt idx="1257">
                  <c:v>2.2513998000000002</c:v>
                </c:pt>
                <c:pt idx="1258">
                  <c:v>2.2515998000000002</c:v>
                </c:pt>
                <c:pt idx="1259">
                  <c:v>2.2518001000000001</c:v>
                </c:pt>
                <c:pt idx="1260">
                  <c:v>2.2519998999999999</c:v>
                </c:pt>
                <c:pt idx="1261">
                  <c:v>2.2521998999999999</c:v>
                </c:pt>
                <c:pt idx="1262">
                  <c:v>2.2524001999999999</c:v>
                </c:pt>
                <c:pt idx="1263">
                  <c:v>2.2526000000000002</c:v>
                </c:pt>
                <c:pt idx="1264">
                  <c:v>2.2528000000000001</c:v>
                </c:pt>
                <c:pt idx="1265">
                  <c:v>2.2529998</c:v>
                </c:pt>
                <c:pt idx="1266">
                  <c:v>2.2531998</c:v>
                </c:pt>
                <c:pt idx="1267">
                  <c:v>2.2534000999999999</c:v>
                </c:pt>
                <c:pt idx="1268">
                  <c:v>2.2535999000000002</c:v>
                </c:pt>
                <c:pt idx="1269">
                  <c:v>2.2537999000000002</c:v>
                </c:pt>
                <c:pt idx="1270">
                  <c:v>2.2539999000000002</c:v>
                </c:pt>
                <c:pt idx="1271">
                  <c:v>2.2542</c:v>
                </c:pt>
                <c:pt idx="1272">
                  <c:v>2.2544</c:v>
                </c:pt>
                <c:pt idx="1273">
                  <c:v>2.2545997999999998</c:v>
                </c:pt>
                <c:pt idx="1274">
                  <c:v>2.2547997999999998</c:v>
                </c:pt>
                <c:pt idx="1275">
                  <c:v>2.2550001000000002</c:v>
                </c:pt>
                <c:pt idx="1276">
                  <c:v>2.2551999</c:v>
                </c:pt>
                <c:pt idx="1277">
                  <c:v>2.2553999</c:v>
                </c:pt>
                <c:pt idx="1278">
                  <c:v>2.2555999999999998</c:v>
                </c:pt>
                <c:pt idx="1279">
                  <c:v>2.2557999999999998</c:v>
                </c:pt>
                <c:pt idx="1280">
                  <c:v>2.2559999999999998</c:v>
                </c:pt>
                <c:pt idx="1281">
                  <c:v>2.2561998000000001</c:v>
                </c:pt>
                <c:pt idx="1282">
                  <c:v>2.2563998999999999</c:v>
                </c:pt>
                <c:pt idx="1283">
                  <c:v>2.2565998999999999</c:v>
                </c:pt>
                <c:pt idx="1284">
                  <c:v>2.2567998999999999</c:v>
                </c:pt>
                <c:pt idx="1285">
                  <c:v>2.2570000000000001</c:v>
                </c:pt>
                <c:pt idx="1286">
                  <c:v>2.2572000000000001</c:v>
                </c:pt>
                <c:pt idx="1287">
                  <c:v>2.2574000000000001</c:v>
                </c:pt>
                <c:pt idx="1288">
                  <c:v>2.2575997999999999</c:v>
                </c:pt>
                <c:pt idx="1289">
                  <c:v>2.2577999000000002</c:v>
                </c:pt>
                <c:pt idx="1290">
                  <c:v>2.2579999000000002</c:v>
                </c:pt>
                <c:pt idx="1291">
                  <c:v>2.2581999000000001</c:v>
                </c:pt>
                <c:pt idx="1292">
                  <c:v>2.2584</c:v>
                </c:pt>
                <c:pt idx="1293">
                  <c:v>2.2585997999999998</c:v>
                </c:pt>
                <c:pt idx="1294">
                  <c:v>2.2587999999999999</c:v>
                </c:pt>
                <c:pt idx="1295">
                  <c:v>2.2590001000000002</c:v>
                </c:pt>
                <c:pt idx="1296">
                  <c:v>2.2591999</c:v>
                </c:pt>
                <c:pt idx="1297">
                  <c:v>2.2593999</c:v>
                </c:pt>
                <c:pt idx="1298">
                  <c:v>2.2595999</c:v>
                </c:pt>
                <c:pt idx="1299">
                  <c:v>2.2597999999999998</c:v>
                </c:pt>
                <c:pt idx="1300">
                  <c:v>2.2599999999999998</c:v>
                </c:pt>
                <c:pt idx="1301">
                  <c:v>2.2601998000000001</c:v>
                </c:pt>
                <c:pt idx="1302">
                  <c:v>2.2604001</c:v>
                </c:pt>
                <c:pt idx="1303">
                  <c:v>2.2606001</c:v>
                </c:pt>
                <c:pt idx="1304">
                  <c:v>2.2607998999999999</c:v>
                </c:pt>
                <c:pt idx="1305">
                  <c:v>2.2609998999999998</c:v>
                </c:pt>
                <c:pt idx="1306">
                  <c:v>2.2611997000000001</c:v>
                </c:pt>
                <c:pt idx="1307">
                  <c:v>2.2614000000000001</c:v>
                </c:pt>
                <c:pt idx="1308">
                  <c:v>2.2616000000000001</c:v>
                </c:pt>
                <c:pt idx="1309">
                  <c:v>2.2617997999999999</c:v>
                </c:pt>
                <c:pt idx="1310">
                  <c:v>2.2620000999999998</c:v>
                </c:pt>
                <c:pt idx="1311">
                  <c:v>2.2622000999999998</c:v>
                </c:pt>
                <c:pt idx="1312">
                  <c:v>2.2623999000000001</c:v>
                </c:pt>
                <c:pt idx="1313">
                  <c:v>2.2625999000000001</c:v>
                </c:pt>
                <c:pt idx="1314">
                  <c:v>2.2627997</c:v>
                </c:pt>
                <c:pt idx="1315">
                  <c:v>2.2629999999999999</c:v>
                </c:pt>
                <c:pt idx="1316">
                  <c:v>2.2631999999999999</c:v>
                </c:pt>
                <c:pt idx="1317">
                  <c:v>2.2633998000000002</c:v>
                </c:pt>
                <c:pt idx="1318">
                  <c:v>2.2636001000000001</c:v>
                </c:pt>
                <c:pt idx="1319">
                  <c:v>2.2637999</c:v>
                </c:pt>
                <c:pt idx="1320">
                  <c:v>2.2639999</c:v>
                </c:pt>
                <c:pt idx="1321">
                  <c:v>2.2642000000000002</c:v>
                </c:pt>
                <c:pt idx="1322">
                  <c:v>2.2643998000000001</c:v>
                </c:pt>
                <c:pt idx="1323">
                  <c:v>2.2646000000000002</c:v>
                </c:pt>
                <c:pt idx="1324">
                  <c:v>2.2647998</c:v>
                </c:pt>
                <c:pt idx="1325">
                  <c:v>2.2649998999999998</c:v>
                </c:pt>
                <c:pt idx="1326">
                  <c:v>2.2652000999999999</c:v>
                </c:pt>
                <c:pt idx="1327">
                  <c:v>2.2653998999999998</c:v>
                </c:pt>
                <c:pt idx="1328">
                  <c:v>2.2656000000000001</c:v>
                </c:pt>
                <c:pt idx="1329">
                  <c:v>2.2657997999999999</c:v>
                </c:pt>
                <c:pt idx="1330">
                  <c:v>2.2659997999999999</c:v>
                </c:pt>
                <c:pt idx="1331">
                  <c:v>2.2662000999999998</c:v>
                </c:pt>
                <c:pt idx="1332">
                  <c:v>2.2663999000000001</c:v>
                </c:pt>
                <c:pt idx="1333">
                  <c:v>2.2665999000000001</c:v>
                </c:pt>
                <c:pt idx="1334">
                  <c:v>2.2668002</c:v>
                </c:pt>
                <c:pt idx="1335">
                  <c:v>2.2669999999999999</c:v>
                </c:pt>
                <c:pt idx="1336">
                  <c:v>2.2671999999999999</c:v>
                </c:pt>
                <c:pt idx="1337">
                  <c:v>2.2673998000000002</c:v>
                </c:pt>
                <c:pt idx="1338">
                  <c:v>2.2675998000000002</c:v>
                </c:pt>
                <c:pt idx="1339">
                  <c:v>2.2678001000000001</c:v>
                </c:pt>
                <c:pt idx="1340">
                  <c:v>2.2679999</c:v>
                </c:pt>
                <c:pt idx="1341">
                  <c:v>2.2681998999999999</c:v>
                </c:pt>
                <c:pt idx="1342">
                  <c:v>2.2684000000000002</c:v>
                </c:pt>
                <c:pt idx="1343">
                  <c:v>2.2686000000000002</c:v>
                </c:pt>
                <c:pt idx="1344">
                  <c:v>2.2688000000000001</c:v>
                </c:pt>
                <c:pt idx="1345">
                  <c:v>2.2689998</c:v>
                </c:pt>
                <c:pt idx="1346">
                  <c:v>2.2691998</c:v>
                </c:pt>
                <c:pt idx="1347">
                  <c:v>2.2693998999999998</c:v>
                </c:pt>
                <c:pt idx="1348">
                  <c:v>2.2695998999999998</c:v>
                </c:pt>
                <c:pt idx="1349">
                  <c:v>2.2697999000000002</c:v>
                </c:pt>
                <c:pt idx="1350">
                  <c:v>2.27</c:v>
                </c:pt>
                <c:pt idx="1351">
                  <c:v>2.2702</c:v>
                </c:pt>
                <c:pt idx="1352">
                  <c:v>2.2704</c:v>
                </c:pt>
                <c:pt idx="1353">
                  <c:v>2.2705997999999998</c:v>
                </c:pt>
                <c:pt idx="1354">
                  <c:v>2.2707999000000001</c:v>
                </c:pt>
                <c:pt idx="1355">
                  <c:v>2.2709999000000001</c:v>
                </c:pt>
                <c:pt idx="1356">
                  <c:v>2.2711999</c:v>
                </c:pt>
                <c:pt idx="1357">
                  <c:v>2.2713999999999999</c:v>
                </c:pt>
                <c:pt idx="1358">
                  <c:v>2.2715999999999998</c:v>
                </c:pt>
                <c:pt idx="1359">
                  <c:v>2.2717999999999998</c:v>
                </c:pt>
                <c:pt idx="1360">
                  <c:v>2.2719998000000001</c:v>
                </c:pt>
                <c:pt idx="1361">
                  <c:v>2.2721998999999999</c:v>
                </c:pt>
                <c:pt idx="1362">
                  <c:v>2.2723998999999999</c:v>
                </c:pt>
                <c:pt idx="1363">
                  <c:v>2.2725998999999999</c:v>
                </c:pt>
                <c:pt idx="1364">
                  <c:v>2.2728000000000002</c:v>
                </c:pt>
                <c:pt idx="1365">
                  <c:v>2.2729998</c:v>
                </c:pt>
                <c:pt idx="1366">
                  <c:v>2.2732000000000001</c:v>
                </c:pt>
                <c:pt idx="1367">
                  <c:v>2.2734000999999999</c:v>
                </c:pt>
                <c:pt idx="1368">
                  <c:v>2.2735998999999998</c:v>
                </c:pt>
                <c:pt idx="1369">
                  <c:v>2.2737999000000002</c:v>
                </c:pt>
                <c:pt idx="1370">
                  <c:v>2.2739997000000001</c:v>
                </c:pt>
                <c:pt idx="1371">
                  <c:v>2.2742</c:v>
                </c:pt>
                <c:pt idx="1372">
                  <c:v>2.2744</c:v>
                </c:pt>
                <c:pt idx="1373">
                  <c:v>2.2745997999999998</c:v>
                </c:pt>
                <c:pt idx="1374">
                  <c:v>2.2748001000000002</c:v>
                </c:pt>
                <c:pt idx="1375">
                  <c:v>2.2750001000000002</c:v>
                </c:pt>
                <c:pt idx="1376">
                  <c:v>2.2751999000000001</c:v>
                </c:pt>
                <c:pt idx="1377">
                  <c:v>2.2753999</c:v>
                </c:pt>
                <c:pt idx="1378">
                  <c:v>2.2755996999999999</c:v>
                </c:pt>
                <c:pt idx="1379">
                  <c:v>2.2757999999999998</c:v>
                </c:pt>
                <c:pt idx="1380">
                  <c:v>2.2759999999999998</c:v>
                </c:pt>
                <c:pt idx="1381">
                  <c:v>2.2761998000000001</c:v>
                </c:pt>
                <c:pt idx="1382">
                  <c:v>2.2764001</c:v>
                </c:pt>
                <c:pt idx="1383">
                  <c:v>2.2765998999999999</c:v>
                </c:pt>
                <c:pt idx="1384">
                  <c:v>2.2767998999999999</c:v>
                </c:pt>
                <c:pt idx="1385">
                  <c:v>2.2770000000000001</c:v>
                </c:pt>
                <c:pt idx="1386">
                  <c:v>2.2771997000000002</c:v>
                </c:pt>
                <c:pt idx="1387">
                  <c:v>2.2774000000000001</c:v>
                </c:pt>
                <c:pt idx="1388">
                  <c:v>2.2776000000000001</c:v>
                </c:pt>
                <c:pt idx="1389">
                  <c:v>2.2777997999999999</c:v>
                </c:pt>
                <c:pt idx="1390">
                  <c:v>2.2780000999999999</c:v>
                </c:pt>
                <c:pt idx="1391">
                  <c:v>2.2781999000000002</c:v>
                </c:pt>
                <c:pt idx="1392">
                  <c:v>2.2783999000000001</c:v>
                </c:pt>
                <c:pt idx="1393">
                  <c:v>2.2786</c:v>
                </c:pt>
                <c:pt idx="1394">
                  <c:v>2.2787997999999998</c:v>
                </c:pt>
                <c:pt idx="1395">
                  <c:v>2.2789999999999999</c:v>
                </c:pt>
                <c:pt idx="1396">
                  <c:v>2.2791998000000002</c:v>
                </c:pt>
                <c:pt idx="1397">
                  <c:v>2.2793999</c:v>
                </c:pt>
                <c:pt idx="1398">
                  <c:v>2.2796001000000001</c:v>
                </c:pt>
                <c:pt idx="1399">
                  <c:v>2.2797999</c:v>
                </c:pt>
                <c:pt idx="1400">
                  <c:v>2.2799999999999998</c:v>
                </c:pt>
                <c:pt idx="1401">
                  <c:v>2.2801998000000001</c:v>
                </c:pt>
                <c:pt idx="1402">
                  <c:v>2.2803998000000001</c:v>
                </c:pt>
                <c:pt idx="1403">
                  <c:v>2.2806001</c:v>
                </c:pt>
                <c:pt idx="1404">
                  <c:v>2.2807998999999999</c:v>
                </c:pt>
                <c:pt idx="1405">
                  <c:v>2.2809998999999999</c:v>
                </c:pt>
                <c:pt idx="1406">
                  <c:v>2.2812001999999998</c:v>
                </c:pt>
                <c:pt idx="1407">
                  <c:v>2.2814000000000001</c:v>
                </c:pt>
                <c:pt idx="1408">
                  <c:v>2.2816000000000001</c:v>
                </c:pt>
                <c:pt idx="1409">
                  <c:v>2.2817997999999999</c:v>
                </c:pt>
                <c:pt idx="1410">
                  <c:v>2.2819997999999999</c:v>
                </c:pt>
                <c:pt idx="1411">
                  <c:v>2.2822000999999998</c:v>
                </c:pt>
                <c:pt idx="1412">
                  <c:v>2.2823999000000001</c:v>
                </c:pt>
                <c:pt idx="1413">
                  <c:v>2.2825999000000001</c:v>
                </c:pt>
                <c:pt idx="1414">
                  <c:v>2.2827999999999999</c:v>
                </c:pt>
                <c:pt idx="1415">
                  <c:v>2.2829999999999999</c:v>
                </c:pt>
                <c:pt idx="1416">
                  <c:v>2.2831999999999999</c:v>
                </c:pt>
                <c:pt idx="1417">
                  <c:v>2.2833998000000002</c:v>
                </c:pt>
                <c:pt idx="1418">
                  <c:v>2.2835999</c:v>
                </c:pt>
                <c:pt idx="1419">
                  <c:v>2.2837999</c:v>
                </c:pt>
                <c:pt idx="1420">
                  <c:v>2.2839999</c:v>
                </c:pt>
                <c:pt idx="1421">
                  <c:v>2.2841999999999998</c:v>
                </c:pt>
                <c:pt idx="1422">
                  <c:v>2.2844000000000002</c:v>
                </c:pt>
                <c:pt idx="1423">
                  <c:v>2.2846000000000002</c:v>
                </c:pt>
                <c:pt idx="1424">
                  <c:v>2.2848001</c:v>
                </c:pt>
                <c:pt idx="1425">
                  <c:v>2.2849998</c:v>
                </c:pt>
                <c:pt idx="1426">
                  <c:v>2.2851998999999998</c:v>
                </c:pt>
                <c:pt idx="1427">
                  <c:v>2.2853998999999998</c:v>
                </c:pt>
                <c:pt idx="1428">
                  <c:v>2.2855998999999998</c:v>
                </c:pt>
                <c:pt idx="1429">
                  <c:v>2.2858000000000001</c:v>
                </c:pt>
                <c:pt idx="1430">
                  <c:v>2.286</c:v>
                </c:pt>
                <c:pt idx="1431">
                  <c:v>2.2862</c:v>
                </c:pt>
                <c:pt idx="1432">
                  <c:v>2.2863997999999999</c:v>
                </c:pt>
                <c:pt idx="1433">
                  <c:v>2.2865999000000001</c:v>
                </c:pt>
                <c:pt idx="1434">
                  <c:v>2.2867999000000001</c:v>
                </c:pt>
                <c:pt idx="1435">
                  <c:v>2.2869999000000001</c:v>
                </c:pt>
                <c:pt idx="1436">
                  <c:v>2.2871999999999999</c:v>
                </c:pt>
                <c:pt idx="1437">
                  <c:v>2.2873998000000002</c:v>
                </c:pt>
                <c:pt idx="1438">
                  <c:v>2.2875999999999999</c:v>
                </c:pt>
                <c:pt idx="1439">
                  <c:v>2.2878001000000001</c:v>
                </c:pt>
                <c:pt idx="1440">
                  <c:v>2.2879999</c:v>
                </c:pt>
                <c:pt idx="1441">
                  <c:v>2.2881999</c:v>
                </c:pt>
                <c:pt idx="1442">
                  <c:v>2.2883996999999998</c:v>
                </c:pt>
                <c:pt idx="1443">
                  <c:v>2.2886000000000002</c:v>
                </c:pt>
                <c:pt idx="1444">
                  <c:v>2.2888000000000002</c:v>
                </c:pt>
                <c:pt idx="1445">
                  <c:v>2.2889998</c:v>
                </c:pt>
                <c:pt idx="1446">
                  <c:v>2.2892001</c:v>
                </c:pt>
                <c:pt idx="1447">
                  <c:v>2.2894000999999999</c:v>
                </c:pt>
                <c:pt idx="1448">
                  <c:v>2.2895998999999998</c:v>
                </c:pt>
                <c:pt idx="1449">
                  <c:v>2.2897999000000002</c:v>
                </c:pt>
                <c:pt idx="1450">
                  <c:v>2.2899997000000001</c:v>
                </c:pt>
                <c:pt idx="1451">
                  <c:v>2.2902</c:v>
                </c:pt>
                <c:pt idx="1452">
                  <c:v>2.2904</c:v>
                </c:pt>
                <c:pt idx="1453">
                  <c:v>2.2905997999999999</c:v>
                </c:pt>
                <c:pt idx="1454">
                  <c:v>2.2908000999999998</c:v>
                </c:pt>
                <c:pt idx="1455">
                  <c:v>2.2909999000000001</c:v>
                </c:pt>
                <c:pt idx="1456">
                  <c:v>2.2911999000000001</c:v>
                </c:pt>
                <c:pt idx="1457">
                  <c:v>2.2913999999999999</c:v>
                </c:pt>
                <c:pt idx="1458">
                  <c:v>2.2915998000000002</c:v>
                </c:pt>
                <c:pt idx="1459">
                  <c:v>2.2917999999999998</c:v>
                </c:pt>
                <c:pt idx="1460">
                  <c:v>2.2919998000000001</c:v>
                </c:pt>
                <c:pt idx="1461">
                  <c:v>2.2921999</c:v>
                </c:pt>
                <c:pt idx="1462">
                  <c:v>2.2924001000000001</c:v>
                </c:pt>
                <c:pt idx="1463">
                  <c:v>2.2925998999999999</c:v>
                </c:pt>
                <c:pt idx="1464">
                  <c:v>2.2927998999999999</c:v>
                </c:pt>
                <c:pt idx="1465">
                  <c:v>2.2930000000000001</c:v>
                </c:pt>
                <c:pt idx="1466">
                  <c:v>2.2931998</c:v>
                </c:pt>
                <c:pt idx="1467">
                  <c:v>2.2934000000000001</c:v>
                </c:pt>
                <c:pt idx="1468">
                  <c:v>2.2935998</c:v>
                </c:pt>
                <c:pt idx="1469">
                  <c:v>2.2937998999999998</c:v>
                </c:pt>
                <c:pt idx="1470">
                  <c:v>2.2940000999999999</c:v>
                </c:pt>
                <c:pt idx="1471">
                  <c:v>2.2941999000000002</c:v>
                </c:pt>
                <c:pt idx="1472">
                  <c:v>2.2944</c:v>
                </c:pt>
                <c:pt idx="1473">
                  <c:v>2.2945997999999999</c:v>
                </c:pt>
                <c:pt idx="1474">
                  <c:v>2.2947997999999998</c:v>
                </c:pt>
                <c:pt idx="1475">
                  <c:v>2.2950001000000002</c:v>
                </c:pt>
                <c:pt idx="1476">
                  <c:v>2.2951999000000001</c:v>
                </c:pt>
                <c:pt idx="1477">
                  <c:v>2.2953999</c:v>
                </c:pt>
                <c:pt idx="1478">
                  <c:v>2.2956002</c:v>
                </c:pt>
                <c:pt idx="1479">
                  <c:v>2.2957999999999998</c:v>
                </c:pt>
                <c:pt idx="1480">
                  <c:v>2.2959999999999998</c:v>
                </c:pt>
                <c:pt idx="1481">
                  <c:v>2.2961998000000001</c:v>
                </c:pt>
                <c:pt idx="1482">
                  <c:v>2.2963998000000001</c:v>
                </c:pt>
                <c:pt idx="1483">
                  <c:v>2.2966001</c:v>
                </c:pt>
                <c:pt idx="1484">
                  <c:v>2.2967998999999999</c:v>
                </c:pt>
                <c:pt idx="1485">
                  <c:v>2.2969998999999999</c:v>
                </c:pt>
                <c:pt idx="1486">
                  <c:v>2.2972000000000001</c:v>
                </c:pt>
                <c:pt idx="1487">
                  <c:v>2.2974000000000001</c:v>
                </c:pt>
                <c:pt idx="1488">
                  <c:v>2.2976000000000001</c:v>
                </c:pt>
                <c:pt idx="1489">
                  <c:v>2.2977997999999999</c:v>
                </c:pt>
                <c:pt idx="1490">
                  <c:v>2.2979999000000002</c:v>
                </c:pt>
                <c:pt idx="1491">
                  <c:v>2.2981999000000002</c:v>
                </c:pt>
                <c:pt idx="1492">
                  <c:v>2.2983999000000002</c:v>
                </c:pt>
                <c:pt idx="1493">
                  <c:v>2.2986</c:v>
                </c:pt>
                <c:pt idx="1494">
                  <c:v>2.2988</c:v>
                </c:pt>
                <c:pt idx="1495">
                  <c:v>2.2989999999999999</c:v>
                </c:pt>
                <c:pt idx="1496">
                  <c:v>2.2991997999999998</c:v>
                </c:pt>
                <c:pt idx="1497">
                  <c:v>2.2993999000000001</c:v>
                </c:pt>
                <c:pt idx="1498">
                  <c:v>2.2995999</c:v>
                </c:pt>
                <c:pt idx="1499">
                  <c:v>2.2997999</c:v>
                </c:pt>
                <c:pt idx="1500">
                  <c:v>2.2999999999999998</c:v>
                </c:pt>
                <c:pt idx="1501">
                  <c:v>2.3001999999999998</c:v>
                </c:pt>
                <c:pt idx="1502">
                  <c:v>2.3003999999999998</c:v>
                </c:pt>
                <c:pt idx="1503">
                  <c:v>2.3006001</c:v>
                </c:pt>
                <c:pt idx="1504">
                  <c:v>2.3007998000000001</c:v>
                </c:pt>
                <c:pt idx="1505">
                  <c:v>2.3009998999999999</c:v>
                </c:pt>
                <c:pt idx="1506">
                  <c:v>2.3011998999999999</c:v>
                </c:pt>
                <c:pt idx="1507">
                  <c:v>2.3013998999999998</c:v>
                </c:pt>
                <c:pt idx="1508">
                  <c:v>2.3016000000000001</c:v>
                </c:pt>
                <c:pt idx="1509">
                  <c:v>2.3017998</c:v>
                </c:pt>
                <c:pt idx="1510">
                  <c:v>2.302</c:v>
                </c:pt>
                <c:pt idx="1511">
                  <c:v>2.3022000999999999</c:v>
                </c:pt>
                <c:pt idx="1512">
                  <c:v>2.3023999000000002</c:v>
                </c:pt>
                <c:pt idx="1513">
                  <c:v>2.3025999000000001</c:v>
                </c:pt>
                <c:pt idx="1514">
                  <c:v>2.3027997</c:v>
                </c:pt>
                <c:pt idx="1515">
                  <c:v>2.3029999999999999</c:v>
                </c:pt>
                <c:pt idx="1516">
                  <c:v>2.3031999999999999</c:v>
                </c:pt>
                <c:pt idx="1517">
                  <c:v>2.3033998000000002</c:v>
                </c:pt>
                <c:pt idx="1518">
                  <c:v>2.3036001000000002</c:v>
                </c:pt>
                <c:pt idx="1519">
                  <c:v>2.3038001000000001</c:v>
                </c:pt>
                <c:pt idx="1520">
                  <c:v>2.3039999</c:v>
                </c:pt>
                <c:pt idx="1521">
                  <c:v>2.3041999</c:v>
                </c:pt>
                <c:pt idx="1522">
                  <c:v>2.3043996999999998</c:v>
                </c:pt>
                <c:pt idx="1523">
                  <c:v>2.3046000000000002</c:v>
                </c:pt>
                <c:pt idx="1524">
                  <c:v>2.3048000000000002</c:v>
                </c:pt>
                <c:pt idx="1525">
                  <c:v>2.3049998</c:v>
                </c:pt>
                <c:pt idx="1526">
                  <c:v>2.3052001</c:v>
                </c:pt>
                <c:pt idx="1527">
                  <c:v>2.3053998999999998</c:v>
                </c:pt>
                <c:pt idx="1528">
                  <c:v>2.3055998999999998</c:v>
                </c:pt>
                <c:pt idx="1529">
                  <c:v>2.3058000000000001</c:v>
                </c:pt>
                <c:pt idx="1530">
                  <c:v>2.3059997999999999</c:v>
                </c:pt>
                <c:pt idx="1531">
                  <c:v>2.3062</c:v>
                </c:pt>
                <c:pt idx="1532">
                  <c:v>2.3063997999999999</c:v>
                </c:pt>
                <c:pt idx="1533">
                  <c:v>2.3065999000000001</c:v>
                </c:pt>
                <c:pt idx="1534">
                  <c:v>2.3068000999999998</c:v>
                </c:pt>
                <c:pt idx="1535">
                  <c:v>2.3069999000000001</c:v>
                </c:pt>
                <c:pt idx="1536">
                  <c:v>2.3071999999999999</c:v>
                </c:pt>
                <c:pt idx="1537">
                  <c:v>2.3073999999999999</c:v>
                </c:pt>
                <c:pt idx="1538">
                  <c:v>2.3075998000000002</c:v>
                </c:pt>
                <c:pt idx="1539">
                  <c:v>2.3078001000000001</c:v>
                </c:pt>
                <c:pt idx="1540">
                  <c:v>2.3079998000000002</c:v>
                </c:pt>
                <c:pt idx="1541">
                  <c:v>2.3081999</c:v>
                </c:pt>
                <c:pt idx="1542">
                  <c:v>2.3084001999999999</c:v>
                </c:pt>
                <c:pt idx="1543">
                  <c:v>2.3085998999999999</c:v>
                </c:pt>
                <c:pt idx="1544">
                  <c:v>2.3088000000000002</c:v>
                </c:pt>
                <c:pt idx="1545">
                  <c:v>2.3089998</c:v>
                </c:pt>
                <c:pt idx="1546">
                  <c:v>2.3091998</c:v>
                </c:pt>
                <c:pt idx="1547">
                  <c:v>2.3094001</c:v>
                </c:pt>
                <c:pt idx="1548">
                  <c:v>2.3095998999999998</c:v>
                </c:pt>
                <c:pt idx="1549">
                  <c:v>2.3097998999999998</c:v>
                </c:pt>
                <c:pt idx="1550">
                  <c:v>2.3100002000000002</c:v>
                </c:pt>
                <c:pt idx="1551">
                  <c:v>2.3102</c:v>
                </c:pt>
                <c:pt idx="1552">
                  <c:v>2.3104</c:v>
                </c:pt>
                <c:pt idx="1553">
                  <c:v>2.3105997999999999</c:v>
                </c:pt>
                <c:pt idx="1554">
                  <c:v>2.3107997999999998</c:v>
                </c:pt>
                <c:pt idx="1555">
                  <c:v>2.3110000999999998</c:v>
                </c:pt>
                <c:pt idx="1556">
                  <c:v>2.3111999000000001</c:v>
                </c:pt>
                <c:pt idx="1557">
                  <c:v>2.3113999000000001</c:v>
                </c:pt>
                <c:pt idx="1558">
                  <c:v>2.3115999999999999</c:v>
                </c:pt>
                <c:pt idx="1559">
                  <c:v>2.3117999999999999</c:v>
                </c:pt>
                <c:pt idx="1560">
                  <c:v>2.3119999999999998</c:v>
                </c:pt>
                <c:pt idx="1561">
                  <c:v>2.3121998000000001</c:v>
                </c:pt>
                <c:pt idx="1562">
                  <c:v>2.3123999</c:v>
                </c:pt>
                <c:pt idx="1563">
                  <c:v>2.3125998999999999</c:v>
                </c:pt>
                <c:pt idx="1564">
                  <c:v>2.3127998999999999</c:v>
                </c:pt>
                <c:pt idx="1565">
                  <c:v>2.3130000000000002</c:v>
                </c:pt>
                <c:pt idx="1566">
                  <c:v>2.3132000000000001</c:v>
                </c:pt>
                <c:pt idx="1567">
                  <c:v>2.3134000000000001</c:v>
                </c:pt>
                <c:pt idx="1568">
                  <c:v>2.3135998</c:v>
                </c:pt>
                <c:pt idx="1569">
                  <c:v>2.3137998999999998</c:v>
                </c:pt>
                <c:pt idx="1570">
                  <c:v>2.3139999000000002</c:v>
                </c:pt>
                <c:pt idx="1571">
                  <c:v>2.3141999000000002</c:v>
                </c:pt>
                <c:pt idx="1572">
                  <c:v>2.3144</c:v>
                </c:pt>
                <c:pt idx="1573">
                  <c:v>2.3145997999999999</c:v>
                </c:pt>
                <c:pt idx="1574">
                  <c:v>2.3148</c:v>
                </c:pt>
                <c:pt idx="1575">
                  <c:v>2.3150000999999998</c:v>
                </c:pt>
                <c:pt idx="1576">
                  <c:v>2.3151999000000001</c:v>
                </c:pt>
                <c:pt idx="1577">
                  <c:v>2.3153999000000001</c:v>
                </c:pt>
                <c:pt idx="1578">
                  <c:v>2.3155999</c:v>
                </c:pt>
                <c:pt idx="1579">
                  <c:v>2.3157999999999999</c:v>
                </c:pt>
                <c:pt idx="1580">
                  <c:v>2.3159999999999998</c:v>
                </c:pt>
                <c:pt idx="1581">
                  <c:v>2.3161998000000001</c:v>
                </c:pt>
                <c:pt idx="1582">
                  <c:v>2.3164001000000001</c:v>
                </c:pt>
                <c:pt idx="1583">
                  <c:v>2.3166001000000001</c:v>
                </c:pt>
                <c:pt idx="1584">
                  <c:v>2.3167998999999999</c:v>
                </c:pt>
                <c:pt idx="1585">
                  <c:v>2.3169998999999999</c:v>
                </c:pt>
                <c:pt idx="1586">
                  <c:v>2.3171997000000002</c:v>
                </c:pt>
                <c:pt idx="1587">
                  <c:v>2.3174000000000001</c:v>
                </c:pt>
                <c:pt idx="1588">
                  <c:v>2.3176000000000001</c:v>
                </c:pt>
                <c:pt idx="1589">
                  <c:v>2.3177998</c:v>
                </c:pt>
                <c:pt idx="1590">
                  <c:v>2.3180000999999999</c:v>
                </c:pt>
                <c:pt idx="1591">
                  <c:v>2.3182000999999999</c:v>
                </c:pt>
                <c:pt idx="1592">
                  <c:v>2.3183999000000002</c:v>
                </c:pt>
                <c:pt idx="1593">
                  <c:v>2.3185999000000002</c:v>
                </c:pt>
                <c:pt idx="1594">
                  <c:v>2.3187997</c:v>
                </c:pt>
                <c:pt idx="1595">
                  <c:v>2.319</c:v>
                </c:pt>
                <c:pt idx="1596">
                  <c:v>2.3191999999999999</c:v>
                </c:pt>
                <c:pt idx="1597">
                  <c:v>2.3193997999999998</c:v>
                </c:pt>
                <c:pt idx="1598">
                  <c:v>2.3196001000000002</c:v>
                </c:pt>
                <c:pt idx="1599">
                  <c:v>2.3197999</c:v>
                </c:pt>
                <c:pt idx="1600">
                  <c:v>2.3199999</c:v>
                </c:pt>
                <c:pt idx="1601">
                  <c:v>2.3201999999999998</c:v>
                </c:pt>
                <c:pt idx="1602">
                  <c:v>2.3203998000000001</c:v>
                </c:pt>
                <c:pt idx="1603">
                  <c:v>2.3206000000000002</c:v>
                </c:pt>
                <c:pt idx="1604">
                  <c:v>2.3207998000000001</c:v>
                </c:pt>
                <c:pt idx="1605">
                  <c:v>2.3209998999999999</c:v>
                </c:pt>
                <c:pt idx="1606">
                  <c:v>2.3212001</c:v>
                </c:pt>
                <c:pt idx="1607">
                  <c:v>2.3213998999999998</c:v>
                </c:pt>
                <c:pt idx="1608">
                  <c:v>2.3216000000000001</c:v>
                </c:pt>
                <c:pt idx="1609">
                  <c:v>2.3217998</c:v>
                </c:pt>
                <c:pt idx="1610">
                  <c:v>2.3219997999999999</c:v>
                </c:pt>
                <c:pt idx="1611">
                  <c:v>2.3222000999999999</c:v>
                </c:pt>
                <c:pt idx="1612">
                  <c:v>2.3223999000000002</c:v>
                </c:pt>
                <c:pt idx="1613">
                  <c:v>2.3225999000000002</c:v>
                </c:pt>
                <c:pt idx="1614">
                  <c:v>2.3228002000000001</c:v>
                </c:pt>
                <c:pt idx="1615">
                  <c:v>2.323</c:v>
                </c:pt>
                <c:pt idx="1616">
                  <c:v>2.3231999999999999</c:v>
                </c:pt>
                <c:pt idx="1617">
                  <c:v>2.3233997999999998</c:v>
                </c:pt>
                <c:pt idx="1618">
                  <c:v>2.3235998000000002</c:v>
                </c:pt>
                <c:pt idx="1619">
                  <c:v>2.3238001000000001</c:v>
                </c:pt>
                <c:pt idx="1620">
                  <c:v>2.3239999</c:v>
                </c:pt>
                <c:pt idx="1621">
                  <c:v>2.3241999</c:v>
                </c:pt>
                <c:pt idx="1622">
                  <c:v>2.3243999</c:v>
                </c:pt>
                <c:pt idx="1623">
                  <c:v>2.3246000000000002</c:v>
                </c:pt>
                <c:pt idx="1624">
                  <c:v>2.3248000000000002</c:v>
                </c:pt>
                <c:pt idx="1625">
                  <c:v>2.3249998000000001</c:v>
                </c:pt>
                <c:pt idx="1626">
                  <c:v>2.3251998</c:v>
                </c:pt>
                <c:pt idx="1627">
                  <c:v>2.3254001</c:v>
                </c:pt>
                <c:pt idx="1628">
                  <c:v>2.3255998999999998</c:v>
                </c:pt>
                <c:pt idx="1629">
                  <c:v>2.3257998999999998</c:v>
                </c:pt>
                <c:pt idx="1630">
                  <c:v>2.3260000000000001</c:v>
                </c:pt>
                <c:pt idx="1631">
                  <c:v>2.3262</c:v>
                </c:pt>
                <c:pt idx="1632">
                  <c:v>2.3264</c:v>
                </c:pt>
                <c:pt idx="1633">
                  <c:v>2.3265997999999999</c:v>
                </c:pt>
                <c:pt idx="1634">
                  <c:v>2.3267999000000001</c:v>
                </c:pt>
                <c:pt idx="1635">
                  <c:v>2.3269999000000001</c:v>
                </c:pt>
                <c:pt idx="1636">
                  <c:v>2.3271999000000001</c:v>
                </c:pt>
                <c:pt idx="1637">
                  <c:v>2.3273999999999999</c:v>
                </c:pt>
                <c:pt idx="1638">
                  <c:v>2.3275999999999999</c:v>
                </c:pt>
                <c:pt idx="1639">
                  <c:v>2.3277999999999999</c:v>
                </c:pt>
                <c:pt idx="1640">
                  <c:v>2.3279998000000002</c:v>
                </c:pt>
                <c:pt idx="1641">
                  <c:v>2.3281999</c:v>
                </c:pt>
                <c:pt idx="1642">
                  <c:v>2.3283999</c:v>
                </c:pt>
                <c:pt idx="1643">
                  <c:v>2.3285998999999999</c:v>
                </c:pt>
                <c:pt idx="1644">
                  <c:v>2.3288000000000002</c:v>
                </c:pt>
                <c:pt idx="1645">
                  <c:v>2.3289998000000001</c:v>
                </c:pt>
                <c:pt idx="1646">
                  <c:v>2.3292000000000002</c:v>
                </c:pt>
                <c:pt idx="1647">
                  <c:v>2.3294001</c:v>
                </c:pt>
                <c:pt idx="1648">
                  <c:v>2.3295998999999998</c:v>
                </c:pt>
                <c:pt idx="1649">
                  <c:v>2.3297998999999998</c:v>
                </c:pt>
                <c:pt idx="1650">
                  <c:v>2.3299998999999998</c:v>
                </c:pt>
                <c:pt idx="1651">
                  <c:v>2.3302</c:v>
                </c:pt>
                <c:pt idx="1652">
                  <c:v>2.3304</c:v>
                </c:pt>
                <c:pt idx="1653">
                  <c:v>2.3305997999999999</c:v>
                </c:pt>
                <c:pt idx="1654">
                  <c:v>2.3308000999999998</c:v>
                </c:pt>
                <c:pt idx="1655">
                  <c:v>2.3310000999999998</c:v>
                </c:pt>
                <c:pt idx="1656">
                  <c:v>2.3311999000000001</c:v>
                </c:pt>
                <c:pt idx="1657">
                  <c:v>2.3313999000000001</c:v>
                </c:pt>
                <c:pt idx="1658">
                  <c:v>2.3315996999999999</c:v>
                </c:pt>
                <c:pt idx="1659">
                  <c:v>2.3317999999999999</c:v>
                </c:pt>
                <c:pt idx="1660">
                  <c:v>2.3319999999999999</c:v>
                </c:pt>
                <c:pt idx="1661">
                  <c:v>2.3321998000000002</c:v>
                </c:pt>
                <c:pt idx="1662">
                  <c:v>2.3324001000000001</c:v>
                </c:pt>
                <c:pt idx="1663">
                  <c:v>2.3326001000000001</c:v>
                </c:pt>
                <c:pt idx="1664">
                  <c:v>2.3327998999999999</c:v>
                </c:pt>
                <c:pt idx="1665">
                  <c:v>2.3329998999999999</c:v>
                </c:pt>
                <c:pt idx="1666">
                  <c:v>2.3331997000000002</c:v>
                </c:pt>
                <c:pt idx="1667">
                  <c:v>2.3334000000000001</c:v>
                </c:pt>
                <c:pt idx="1668">
                  <c:v>2.3336000000000001</c:v>
                </c:pt>
                <c:pt idx="1669">
                  <c:v>2.3337998</c:v>
                </c:pt>
                <c:pt idx="1670">
                  <c:v>2.3340000999999999</c:v>
                </c:pt>
                <c:pt idx="1671">
                  <c:v>2.3341999000000002</c:v>
                </c:pt>
                <c:pt idx="1672">
                  <c:v>2.3343999000000002</c:v>
                </c:pt>
                <c:pt idx="1673">
                  <c:v>2.3346</c:v>
                </c:pt>
                <c:pt idx="1674">
                  <c:v>2.3347997999999999</c:v>
                </c:pt>
                <c:pt idx="1675">
                  <c:v>2.335</c:v>
                </c:pt>
                <c:pt idx="1676">
                  <c:v>2.3351997999999998</c:v>
                </c:pt>
                <c:pt idx="1677">
                  <c:v>2.3353999000000001</c:v>
                </c:pt>
                <c:pt idx="1678">
                  <c:v>2.3356001000000002</c:v>
                </c:pt>
                <c:pt idx="1679">
                  <c:v>2.3357999</c:v>
                </c:pt>
                <c:pt idx="1680">
                  <c:v>2.3359999999999999</c:v>
                </c:pt>
                <c:pt idx="1681">
                  <c:v>2.3361998000000002</c:v>
                </c:pt>
                <c:pt idx="1682">
                  <c:v>2.3363998000000001</c:v>
                </c:pt>
                <c:pt idx="1683">
                  <c:v>2.3366001000000001</c:v>
                </c:pt>
                <c:pt idx="1684">
                  <c:v>2.3367998999999999</c:v>
                </c:pt>
                <c:pt idx="1685">
                  <c:v>2.3369998999999999</c:v>
                </c:pt>
                <c:pt idx="1686">
                  <c:v>2.3372001999999998</c:v>
                </c:pt>
                <c:pt idx="1687">
                  <c:v>2.3374000000000001</c:v>
                </c:pt>
                <c:pt idx="1688">
                  <c:v>2.3376000000000001</c:v>
                </c:pt>
                <c:pt idx="1689">
                  <c:v>2.3377998</c:v>
                </c:pt>
                <c:pt idx="1690">
                  <c:v>2.3379998</c:v>
                </c:pt>
                <c:pt idx="1691">
                  <c:v>2.3382000999999999</c:v>
                </c:pt>
                <c:pt idx="1692">
                  <c:v>2.3383999000000002</c:v>
                </c:pt>
                <c:pt idx="1693">
                  <c:v>2.3385999000000002</c:v>
                </c:pt>
                <c:pt idx="1694">
                  <c:v>2.3388</c:v>
                </c:pt>
                <c:pt idx="1695">
                  <c:v>2.339</c:v>
                </c:pt>
                <c:pt idx="1696">
                  <c:v>2.3391999999999999</c:v>
                </c:pt>
                <c:pt idx="1697">
                  <c:v>2.3393997999999998</c:v>
                </c:pt>
                <c:pt idx="1698">
                  <c:v>2.3395997999999998</c:v>
                </c:pt>
                <c:pt idx="1699">
                  <c:v>2.3397999</c:v>
                </c:pt>
                <c:pt idx="1700">
                  <c:v>2.3399999</c:v>
                </c:pt>
                <c:pt idx="1701">
                  <c:v>2.3401999</c:v>
                </c:pt>
                <c:pt idx="1702">
                  <c:v>2.3403999999999998</c:v>
                </c:pt>
                <c:pt idx="1703">
                  <c:v>2.3405999999999998</c:v>
                </c:pt>
                <c:pt idx="1704">
                  <c:v>2.3408000000000002</c:v>
                </c:pt>
                <c:pt idx="1705">
                  <c:v>2.3409998000000001</c:v>
                </c:pt>
                <c:pt idx="1706">
                  <c:v>2.3411998999999999</c:v>
                </c:pt>
                <c:pt idx="1707">
                  <c:v>2.3413998999999999</c:v>
                </c:pt>
                <c:pt idx="1708">
                  <c:v>2.3415998999999998</c:v>
                </c:pt>
                <c:pt idx="1709">
                  <c:v>2.3418000000000001</c:v>
                </c:pt>
                <c:pt idx="1710">
                  <c:v>2.3420000000000001</c:v>
                </c:pt>
                <c:pt idx="1711">
                  <c:v>2.3422000000000001</c:v>
                </c:pt>
                <c:pt idx="1712">
                  <c:v>2.3423997999999999</c:v>
                </c:pt>
                <c:pt idx="1713">
                  <c:v>2.3425999000000002</c:v>
                </c:pt>
                <c:pt idx="1714">
                  <c:v>2.3427999000000002</c:v>
                </c:pt>
                <c:pt idx="1715">
                  <c:v>2.3429999000000001</c:v>
                </c:pt>
                <c:pt idx="1716">
                  <c:v>2.3431999999999999</c:v>
                </c:pt>
                <c:pt idx="1717">
                  <c:v>2.3433997999999998</c:v>
                </c:pt>
                <c:pt idx="1718">
                  <c:v>2.3435999999999999</c:v>
                </c:pt>
                <c:pt idx="1719">
                  <c:v>2.3438001000000002</c:v>
                </c:pt>
                <c:pt idx="1720">
                  <c:v>2.3439999</c:v>
                </c:pt>
                <c:pt idx="1721">
                  <c:v>2.3441999</c:v>
                </c:pt>
                <c:pt idx="1722">
                  <c:v>2.3443996999999999</c:v>
                </c:pt>
                <c:pt idx="1723">
                  <c:v>2.3445999999999998</c:v>
                </c:pt>
                <c:pt idx="1724">
                  <c:v>2.3448000000000002</c:v>
                </c:pt>
                <c:pt idx="1725">
                  <c:v>2.3449998000000001</c:v>
                </c:pt>
                <c:pt idx="1726">
                  <c:v>2.3452001</c:v>
                </c:pt>
                <c:pt idx="1727">
                  <c:v>2.3454001</c:v>
                </c:pt>
                <c:pt idx="1728">
                  <c:v>2.3455998999999998</c:v>
                </c:pt>
                <c:pt idx="1729">
                  <c:v>2.3457998999999998</c:v>
                </c:pt>
                <c:pt idx="1730">
                  <c:v>2.3459997000000001</c:v>
                </c:pt>
                <c:pt idx="1731">
                  <c:v>2.3462000000000001</c:v>
                </c:pt>
                <c:pt idx="1732">
                  <c:v>2.3464</c:v>
                </c:pt>
                <c:pt idx="1733">
                  <c:v>2.3465997999999999</c:v>
                </c:pt>
                <c:pt idx="1734">
                  <c:v>2.3468000999999998</c:v>
                </c:pt>
                <c:pt idx="1735">
                  <c:v>2.3469999000000001</c:v>
                </c:pt>
                <c:pt idx="1736">
                  <c:v>2.3471999000000001</c:v>
                </c:pt>
                <c:pt idx="1737">
                  <c:v>2.3473999999999999</c:v>
                </c:pt>
                <c:pt idx="1738">
                  <c:v>2.3475997</c:v>
                </c:pt>
                <c:pt idx="1739">
                  <c:v>2.3477999999999999</c:v>
                </c:pt>
                <c:pt idx="1740">
                  <c:v>2.3479999999999999</c:v>
                </c:pt>
                <c:pt idx="1741">
                  <c:v>2.3481998000000002</c:v>
                </c:pt>
                <c:pt idx="1742">
                  <c:v>2.3484001000000001</c:v>
                </c:pt>
                <c:pt idx="1743">
                  <c:v>2.3485999</c:v>
                </c:pt>
                <c:pt idx="1744">
                  <c:v>2.3487998999999999</c:v>
                </c:pt>
                <c:pt idx="1745">
                  <c:v>2.3490000000000002</c:v>
                </c:pt>
                <c:pt idx="1746">
                  <c:v>2.3491998000000001</c:v>
                </c:pt>
                <c:pt idx="1747">
                  <c:v>2.3494000000000002</c:v>
                </c:pt>
                <c:pt idx="1748">
                  <c:v>2.3495998</c:v>
                </c:pt>
                <c:pt idx="1749">
                  <c:v>2.3497998999999998</c:v>
                </c:pt>
                <c:pt idx="1750">
                  <c:v>2.3500000999999999</c:v>
                </c:pt>
                <c:pt idx="1751">
                  <c:v>2.3501998999999998</c:v>
                </c:pt>
                <c:pt idx="1752">
                  <c:v>2.3504</c:v>
                </c:pt>
                <c:pt idx="1753">
                  <c:v>2.3505997999999999</c:v>
                </c:pt>
                <c:pt idx="1754">
                  <c:v>2.3507997999999999</c:v>
                </c:pt>
                <c:pt idx="1755">
                  <c:v>2.3510000999999998</c:v>
                </c:pt>
                <c:pt idx="1756">
                  <c:v>2.3511999000000001</c:v>
                </c:pt>
                <c:pt idx="1757">
                  <c:v>2.3513999000000001</c:v>
                </c:pt>
                <c:pt idx="1758">
                  <c:v>2.3516002</c:v>
                </c:pt>
                <c:pt idx="1759">
                  <c:v>2.3517999999999999</c:v>
                </c:pt>
                <c:pt idx="1760">
                  <c:v>2.3519999999999999</c:v>
                </c:pt>
                <c:pt idx="1761">
                  <c:v>2.3521998000000002</c:v>
                </c:pt>
                <c:pt idx="1762">
                  <c:v>2.3523998000000002</c:v>
                </c:pt>
                <c:pt idx="1763">
                  <c:v>2.3526001000000001</c:v>
                </c:pt>
                <c:pt idx="1764">
                  <c:v>2.3527998999999999</c:v>
                </c:pt>
                <c:pt idx="1765">
                  <c:v>2.3529998999999999</c:v>
                </c:pt>
                <c:pt idx="1766">
                  <c:v>2.3532000000000002</c:v>
                </c:pt>
                <c:pt idx="1767">
                  <c:v>2.3534000000000002</c:v>
                </c:pt>
                <c:pt idx="1768">
                  <c:v>2.3536000000000001</c:v>
                </c:pt>
                <c:pt idx="1769">
                  <c:v>2.3537998</c:v>
                </c:pt>
                <c:pt idx="1770">
                  <c:v>2.3539998999999998</c:v>
                </c:pt>
                <c:pt idx="1771">
                  <c:v>2.3541998999999998</c:v>
                </c:pt>
                <c:pt idx="1772">
                  <c:v>2.3543999000000002</c:v>
                </c:pt>
                <c:pt idx="1773">
                  <c:v>2.3546</c:v>
                </c:pt>
                <c:pt idx="1774">
                  <c:v>2.3548</c:v>
                </c:pt>
                <c:pt idx="1775">
                  <c:v>2.355</c:v>
                </c:pt>
                <c:pt idx="1776">
                  <c:v>2.3552000999999998</c:v>
                </c:pt>
                <c:pt idx="1777">
                  <c:v>2.3553997999999998</c:v>
                </c:pt>
                <c:pt idx="1778">
                  <c:v>2.3555999000000001</c:v>
                </c:pt>
                <c:pt idx="1779">
                  <c:v>2.3557999000000001</c:v>
                </c:pt>
                <c:pt idx="1780">
                  <c:v>2.3559999</c:v>
                </c:pt>
                <c:pt idx="1781">
                  <c:v>2.3561999999999999</c:v>
                </c:pt>
                <c:pt idx="1782">
                  <c:v>2.3563999999999998</c:v>
                </c:pt>
                <c:pt idx="1783">
                  <c:v>2.3565999999999998</c:v>
                </c:pt>
                <c:pt idx="1784">
                  <c:v>2.3567998000000001</c:v>
                </c:pt>
                <c:pt idx="1785">
                  <c:v>2.3569998999999999</c:v>
                </c:pt>
                <c:pt idx="1786">
                  <c:v>2.3571998999999999</c:v>
                </c:pt>
                <c:pt idx="1787">
                  <c:v>2.3573998999999999</c:v>
                </c:pt>
                <c:pt idx="1788">
                  <c:v>2.3576000000000001</c:v>
                </c:pt>
                <c:pt idx="1789">
                  <c:v>2.3577998</c:v>
                </c:pt>
                <c:pt idx="1790">
                  <c:v>2.3580000000000001</c:v>
                </c:pt>
                <c:pt idx="1791">
                  <c:v>2.3582000999999999</c:v>
                </c:pt>
                <c:pt idx="1792">
                  <c:v>2.3583999000000002</c:v>
                </c:pt>
                <c:pt idx="1793">
                  <c:v>2.3585999000000002</c:v>
                </c:pt>
                <c:pt idx="1794">
                  <c:v>2.3587997000000001</c:v>
                </c:pt>
                <c:pt idx="1795">
                  <c:v>2.359</c:v>
                </c:pt>
                <c:pt idx="1796">
                  <c:v>2.3592</c:v>
                </c:pt>
                <c:pt idx="1797">
                  <c:v>2.3593997999999998</c:v>
                </c:pt>
                <c:pt idx="1798">
                  <c:v>2.3596001000000002</c:v>
                </c:pt>
                <c:pt idx="1799">
                  <c:v>2.3598001000000002</c:v>
                </c:pt>
                <c:pt idx="1800">
                  <c:v>2.3599999</c:v>
                </c:pt>
                <c:pt idx="1801">
                  <c:v>2.3601999</c:v>
                </c:pt>
                <c:pt idx="1802">
                  <c:v>2.3603996999999999</c:v>
                </c:pt>
                <c:pt idx="1803">
                  <c:v>2.3605999999999998</c:v>
                </c:pt>
                <c:pt idx="1804">
                  <c:v>2.3607999999999998</c:v>
                </c:pt>
                <c:pt idx="1805">
                  <c:v>2.3609998000000001</c:v>
                </c:pt>
                <c:pt idx="1806">
                  <c:v>2.3612001</c:v>
                </c:pt>
                <c:pt idx="1807">
                  <c:v>2.3613998999999999</c:v>
                </c:pt>
                <c:pt idx="1808">
                  <c:v>2.3615998999999999</c:v>
                </c:pt>
                <c:pt idx="1809">
                  <c:v>2.3618000000000001</c:v>
                </c:pt>
                <c:pt idx="1810">
                  <c:v>2.3619998</c:v>
                </c:pt>
                <c:pt idx="1811">
                  <c:v>2.3622000000000001</c:v>
                </c:pt>
                <c:pt idx="1812">
                  <c:v>2.3623997999999999</c:v>
                </c:pt>
                <c:pt idx="1813">
                  <c:v>2.3625997999999999</c:v>
                </c:pt>
                <c:pt idx="1814">
                  <c:v>2.3628000999999998</c:v>
                </c:pt>
                <c:pt idx="1815">
                  <c:v>2.3629999000000002</c:v>
                </c:pt>
                <c:pt idx="1816">
                  <c:v>2.3631999000000001</c:v>
                </c:pt>
                <c:pt idx="1817">
                  <c:v>2.3633999999999999</c:v>
                </c:pt>
                <c:pt idx="1818">
                  <c:v>2.3635997999999998</c:v>
                </c:pt>
                <c:pt idx="1819">
                  <c:v>2.3637999999999999</c:v>
                </c:pt>
                <c:pt idx="1820">
                  <c:v>2.3639998000000002</c:v>
                </c:pt>
                <c:pt idx="1821">
                  <c:v>2.3641999</c:v>
                </c:pt>
                <c:pt idx="1822">
                  <c:v>2.3644001000000001</c:v>
                </c:pt>
                <c:pt idx="1823">
                  <c:v>2.3645999</c:v>
                </c:pt>
                <c:pt idx="1824">
                  <c:v>2.3647999999999998</c:v>
                </c:pt>
                <c:pt idx="1825">
                  <c:v>2.3649998000000001</c:v>
                </c:pt>
                <c:pt idx="1826">
                  <c:v>2.3651998000000001</c:v>
                </c:pt>
                <c:pt idx="1827">
                  <c:v>2.3654001</c:v>
                </c:pt>
                <c:pt idx="1828">
                  <c:v>2.3655998999999999</c:v>
                </c:pt>
                <c:pt idx="1829">
                  <c:v>2.3657998999999998</c:v>
                </c:pt>
                <c:pt idx="1830">
                  <c:v>2.3660002000000002</c:v>
                </c:pt>
                <c:pt idx="1831">
                  <c:v>2.3662000000000001</c:v>
                </c:pt>
                <c:pt idx="1832">
                  <c:v>2.3664000000000001</c:v>
                </c:pt>
                <c:pt idx="1833">
                  <c:v>2.3665997999999999</c:v>
                </c:pt>
                <c:pt idx="1834">
                  <c:v>2.3667997999999999</c:v>
                </c:pt>
                <c:pt idx="1835">
                  <c:v>2.3670000999999998</c:v>
                </c:pt>
                <c:pt idx="1836">
                  <c:v>2.3671999000000001</c:v>
                </c:pt>
                <c:pt idx="1837">
                  <c:v>2.3673999000000001</c:v>
                </c:pt>
                <c:pt idx="1838">
                  <c:v>2.3675999999999999</c:v>
                </c:pt>
                <c:pt idx="1839">
                  <c:v>2.3677999999999999</c:v>
                </c:pt>
                <c:pt idx="1840">
                  <c:v>2.3679999999999999</c:v>
                </c:pt>
                <c:pt idx="1841">
                  <c:v>2.3681998000000002</c:v>
                </c:pt>
                <c:pt idx="1842">
                  <c:v>2.3683999</c:v>
                </c:pt>
                <c:pt idx="1843">
                  <c:v>2.3685999</c:v>
                </c:pt>
                <c:pt idx="1844">
                  <c:v>2.3687999</c:v>
                </c:pt>
                <c:pt idx="1845">
                  <c:v>2.3690000000000002</c:v>
                </c:pt>
                <c:pt idx="1846">
                  <c:v>2.3692000000000002</c:v>
                </c:pt>
                <c:pt idx="1847">
                  <c:v>2.3694000000000002</c:v>
                </c:pt>
                <c:pt idx="1848">
                  <c:v>2.3695998</c:v>
                </c:pt>
                <c:pt idx="1849">
                  <c:v>2.3697998999999998</c:v>
                </c:pt>
                <c:pt idx="1850">
                  <c:v>2.3699998999999998</c:v>
                </c:pt>
                <c:pt idx="1851">
                  <c:v>2.3701998999999998</c:v>
                </c:pt>
                <c:pt idx="1852">
                  <c:v>2.3704000000000001</c:v>
                </c:pt>
                <c:pt idx="1853">
                  <c:v>2.3706</c:v>
                </c:pt>
                <c:pt idx="1854">
                  <c:v>2.3708</c:v>
                </c:pt>
                <c:pt idx="1855">
                  <c:v>2.3710000999999998</c:v>
                </c:pt>
                <c:pt idx="1856">
                  <c:v>2.3711997999999999</c:v>
                </c:pt>
                <c:pt idx="1857">
                  <c:v>2.3713999000000001</c:v>
                </c:pt>
                <c:pt idx="1858">
                  <c:v>2.3715999000000001</c:v>
                </c:pt>
                <c:pt idx="1859">
                  <c:v>2.3717999000000001</c:v>
                </c:pt>
                <c:pt idx="1860">
                  <c:v>2.3719999999999999</c:v>
                </c:pt>
                <c:pt idx="1861">
                  <c:v>2.3721998000000002</c:v>
                </c:pt>
                <c:pt idx="1862">
                  <c:v>2.3723999999999998</c:v>
                </c:pt>
                <c:pt idx="1863">
                  <c:v>2.3726001000000001</c:v>
                </c:pt>
                <c:pt idx="1864">
                  <c:v>2.3727999</c:v>
                </c:pt>
                <c:pt idx="1865">
                  <c:v>2.3729998999999999</c:v>
                </c:pt>
                <c:pt idx="1866">
                  <c:v>2.3731996999999998</c:v>
                </c:pt>
                <c:pt idx="1867">
                  <c:v>2.3734000000000002</c:v>
                </c:pt>
                <c:pt idx="1868">
                  <c:v>2.3736000000000002</c:v>
                </c:pt>
                <c:pt idx="1869">
                  <c:v>2.3737998</c:v>
                </c:pt>
                <c:pt idx="1870">
                  <c:v>2.3740000999999999</c:v>
                </c:pt>
                <c:pt idx="1871">
                  <c:v>2.3742000999999999</c:v>
                </c:pt>
                <c:pt idx="1872">
                  <c:v>2.3743998999999998</c:v>
                </c:pt>
                <c:pt idx="1873">
                  <c:v>2.3745999000000002</c:v>
                </c:pt>
                <c:pt idx="1874">
                  <c:v>2.3747997000000001</c:v>
                </c:pt>
                <c:pt idx="1875">
                  <c:v>2.375</c:v>
                </c:pt>
                <c:pt idx="1876">
                  <c:v>2.3752</c:v>
                </c:pt>
                <c:pt idx="1877">
                  <c:v>2.3753997999999998</c:v>
                </c:pt>
                <c:pt idx="1878">
                  <c:v>2.3756001000000002</c:v>
                </c:pt>
                <c:pt idx="1879">
                  <c:v>2.3757999000000001</c:v>
                </c:pt>
                <c:pt idx="1880">
                  <c:v>2.3759999000000001</c:v>
                </c:pt>
                <c:pt idx="1881">
                  <c:v>2.3761999999999999</c:v>
                </c:pt>
                <c:pt idx="1882">
                  <c:v>2.3763998000000002</c:v>
                </c:pt>
                <c:pt idx="1883">
                  <c:v>2.3765999999999998</c:v>
                </c:pt>
                <c:pt idx="1884">
                  <c:v>2.3767998000000001</c:v>
                </c:pt>
                <c:pt idx="1885">
                  <c:v>2.3769998999999999</c:v>
                </c:pt>
                <c:pt idx="1886">
                  <c:v>2.3772001</c:v>
                </c:pt>
                <c:pt idx="1887">
                  <c:v>2.3773998999999999</c:v>
                </c:pt>
                <c:pt idx="1888">
                  <c:v>2.3776000000000002</c:v>
                </c:pt>
                <c:pt idx="1889">
                  <c:v>2.3778000000000001</c:v>
                </c:pt>
                <c:pt idx="1890">
                  <c:v>2.3779998</c:v>
                </c:pt>
                <c:pt idx="1891">
                  <c:v>2.3782000999999999</c:v>
                </c:pt>
                <c:pt idx="1892">
                  <c:v>2.3783998</c:v>
                </c:pt>
                <c:pt idx="1893">
                  <c:v>2.3785999000000002</c:v>
                </c:pt>
                <c:pt idx="1894">
                  <c:v>2.3788002000000001</c:v>
                </c:pt>
                <c:pt idx="1895">
                  <c:v>2.3789999000000002</c:v>
                </c:pt>
                <c:pt idx="1896">
                  <c:v>2.3792</c:v>
                </c:pt>
                <c:pt idx="1897">
                  <c:v>2.3793997999999998</c:v>
                </c:pt>
                <c:pt idx="1898">
                  <c:v>2.3795997999999998</c:v>
                </c:pt>
                <c:pt idx="1899">
                  <c:v>2.3798001000000002</c:v>
                </c:pt>
                <c:pt idx="1900">
                  <c:v>2.3799999000000001</c:v>
                </c:pt>
                <c:pt idx="1901">
                  <c:v>2.3801999</c:v>
                </c:pt>
                <c:pt idx="1902">
                  <c:v>2.3803999</c:v>
                </c:pt>
                <c:pt idx="1903">
                  <c:v>2.3805999999999998</c:v>
                </c:pt>
                <c:pt idx="1904">
                  <c:v>2.3807999999999998</c:v>
                </c:pt>
                <c:pt idx="1905">
                  <c:v>2.3809998000000001</c:v>
                </c:pt>
                <c:pt idx="1906">
                  <c:v>2.3811998000000001</c:v>
                </c:pt>
                <c:pt idx="1907">
                  <c:v>2.3814001</c:v>
                </c:pt>
                <c:pt idx="1908">
                  <c:v>2.3815998999999999</c:v>
                </c:pt>
                <c:pt idx="1909">
                  <c:v>2.3817998999999999</c:v>
                </c:pt>
                <c:pt idx="1910">
                  <c:v>2.3820000000000001</c:v>
                </c:pt>
                <c:pt idx="1911">
                  <c:v>2.3822000000000001</c:v>
                </c:pt>
                <c:pt idx="1912">
                  <c:v>2.3824000000000001</c:v>
                </c:pt>
                <c:pt idx="1913">
                  <c:v>2.3825997999999999</c:v>
                </c:pt>
                <c:pt idx="1914">
                  <c:v>2.3827999000000002</c:v>
                </c:pt>
                <c:pt idx="1915">
                  <c:v>2.3829999000000002</c:v>
                </c:pt>
                <c:pt idx="1916">
                  <c:v>2.3831999000000001</c:v>
                </c:pt>
                <c:pt idx="1917">
                  <c:v>2.3834</c:v>
                </c:pt>
                <c:pt idx="1918">
                  <c:v>2.3835999999999999</c:v>
                </c:pt>
                <c:pt idx="1919">
                  <c:v>2.3837999999999999</c:v>
                </c:pt>
                <c:pt idx="1920">
                  <c:v>2.3839997999999998</c:v>
                </c:pt>
                <c:pt idx="1921">
                  <c:v>2.3841999</c:v>
                </c:pt>
                <c:pt idx="1922">
                  <c:v>2.3843999</c:v>
                </c:pt>
                <c:pt idx="1923">
                  <c:v>2.3845999</c:v>
                </c:pt>
                <c:pt idx="1924">
                  <c:v>2.3847999999999998</c:v>
                </c:pt>
                <c:pt idx="1925">
                  <c:v>2.3849998000000001</c:v>
                </c:pt>
                <c:pt idx="1926">
                  <c:v>2.3852000000000002</c:v>
                </c:pt>
                <c:pt idx="1927">
                  <c:v>2.3854001</c:v>
                </c:pt>
                <c:pt idx="1928">
                  <c:v>2.3855998999999999</c:v>
                </c:pt>
                <c:pt idx="1929">
                  <c:v>2.3857998999999999</c:v>
                </c:pt>
                <c:pt idx="1930">
                  <c:v>2.3859998999999998</c:v>
                </c:pt>
                <c:pt idx="1931">
                  <c:v>2.3862000000000001</c:v>
                </c:pt>
                <c:pt idx="1932">
                  <c:v>2.3864000000000001</c:v>
                </c:pt>
                <c:pt idx="1933">
                  <c:v>2.3865997999999999</c:v>
                </c:pt>
                <c:pt idx="1934">
                  <c:v>2.3868000999999999</c:v>
                </c:pt>
                <c:pt idx="1935">
                  <c:v>2.3870000999999998</c:v>
                </c:pt>
                <c:pt idx="1936">
                  <c:v>2.3871999000000002</c:v>
                </c:pt>
                <c:pt idx="1937">
                  <c:v>2.3873999000000001</c:v>
                </c:pt>
                <c:pt idx="1938">
                  <c:v>2.3875997</c:v>
                </c:pt>
                <c:pt idx="1939">
                  <c:v>2.3877999999999999</c:v>
                </c:pt>
                <c:pt idx="1940">
                  <c:v>2.3879999999999999</c:v>
                </c:pt>
                <c:pt idx="1941">
                  <c:v>2.3881998000000002</c:v>
                </c:pt>
                <c:pt idx="1942">
                  <c:v>2.3884001000000001</c:v>
                </c:pt>
                <c:pt idx="1943">
                  <c:v>2.3886001000000001</c:v>
                </c:pt>
                <c:pt idx="1944">
                  <c:v>2.3887999</c:v>
                </c:pt>
                <c:pt idx="1945">
                  <c:v>2.3889999</c:v>
                </c:pt>
                <c:pt idx="1946">
                  <c:v>2.3891996999999998</c:v>
                </c:pt>
                <c:pt idx="1947">
                  <c:v>2.3894000000000002</c:v>
                </c:pt>
                <c:pt idx="1948">
                  <c:v>2.3896000000000002</c:v>
                </c:pt>
                <c:pt idx="1949">
                  <c:v>2.3897998</c:v>
                </c:pt>
                <c:pt idx="1950">
                  <c:v>2.3900001</c:v>
                </c:pt>
                <c:pt idx="1951">
                  <c:v>2.3901998999999998</c:v>
                </c:pt>
                <c:pt idx="1952">
                  <c:v>2.3903998999999998</c:v>
                </c:pt>
                <c:pt idx="1953">
                  <c:v>2.3906000000000001</c:v>
                </c:pt>
                <c:pt idx="1954">
                  <c:v>2.3907997999999999</c:v>
                </c:pt>
                <c:pt idx="1955">
                  <c:v>2.391</c:v>
                </c:pt>
                <c:pt idx="1956">
                  <c:v>2.3911997999999999</c:v>
                </c:pt>
                <c:pt idx="1957">
                  <c:v>2.3913999000000001</c:v>
                </c:pt>
                <c:pt idx="1958">
                  <c:v>2.3916000999999998</c:v>
                </c:pt>
                <c:pt idx="1959">
                  <c:v>2.3917999000000001</c:v>
                </c:pt>
                <c:pt idx="1960">
                  <c:v>2.3919999999999999</c:v>
                </c:pt>
                <c:pt idx="1961">
                  <c:v>2.3921998000000002</c:v>
                </c:pt>
                <c:pt idx="1962">
                  <c:v>2.3923998000000002</c:v>
                </c:pt>
                <c:pt idx="1963">
                  <c:v>2.3926001000000001</c:v>
                </c:pt>
                <c:pt idx="1964">
                  <c:v>2.3927999</c:v>
                </c:pt>
                <c:pt idx="1965">
                  <c:v>2.3929999</c:v>
                </c:pt>
                <c:pt idx="1966">
                  <c:v>2.3932001999999999</c:v>
                </c:pt>
                <c:pt idx="1967">
                  <c:v>2.3934000000000002</c:v>
                </c:pt>
                <c:pt idx="1968">
                  <c:v>2.3936000000000002</c:v>
                </c:pt>
                <c:pt idx="1969">
                  <c:v>2.3937998</c:v>
                </c:pt>
                <c:pt idx="1970">
                  <c:v>2.3939998</c:v>
                </c:pt>
                <c:pt idx="1971">
                  <c:v>2.3942000999999999</c:v>
                </c:pt>
                <c:pt idx="1972">
                  <c:v>2.3943998999999998</c:v>
                </c:pt>
                <c:pt idx="1973">
                  <c:v>2.3945998999999998</c:v>
                </c:pt>
                <c:pt idx="1974">
                  <c:v>2.3947999000000002</c:v>
                </c:pt>
                <c:pt idx="1975">
                  <c:v>2.395</c:v>
                </c:pt>
                <c:pt idx="1976">
                  <c:v>2.3952</c:v>
                </c:pt>
                <c:pt idx="1977">
                  <c:v>2.3953997999999999</c:v>
                </c:pt>
                <c:pt idx="1978">
                  <c:v>2.3955997999999998</c:v>
                </c:pt>
                <c:pt idx="1979">
                  <c:v>2.3958001000000002</c:v>
                </c:pt>
                <c:pt idx="1980">
                  <c:v>2.3959999000000001</c:v>
                </c:pt>
                <c:pt idx="1981">
                  <c:v>2.3961999</c:v>
                </c:pt>
                <c:pt idx="1982">
                  <c:v>2.3963999999999999</c:v>
                </c:pt>
                <c:pt idx="1983">
                  <c:v>2.3965999999999998</c:v>
                </c:pt>
                <c:pt idx="1984">
                  <c:v>2.3967999999999998</c:v>
                </c:pt>
                <c:pt idx="1985">
                  <c:v>2.3969998000000001</c:v>
                </c:pt>
                <c:pt idx="1986">
                  <c:v>2.3971998999999999</c:v>
                </c:pt>
                <c:pt idx="1987">
                  <c:v>2.3973998999999999</c:v>
                </c:pt>
                <c:pt idx="1988">
                  <c:v>2.3975998999999999</c:v>
                </c:pt>
                <c:pt idx="1989">
                  <c:v>2.3978000000000002</c:v>
                </c:pt>
                <c:pt idx="1990">
                  <c:v>2.3980000000000001</c:v>
                </c:pt>
                <c:pt idx="1991">
                  <c:v>2.3982000000000001</c:v>
                </c:pt>
                <c:pt idx="1992">
                  <c:v>2.3983998</c:v>
                </c:pt>
                <c:pt idx="1993">
                  <c:v>2.3985998999999998</c:v>
                </c:pt>
                <c:pt idx="1994">
                  <c:v>2.3987999000000002</c:v>
                </c:pt>
                <c:pt idx="1995">
                  <c:v>2.3989999000000002</c:v>
                </c:pt>
                <c:pt idx="1996">
                  <c:v>2.3992</c:v>
                </c:pt>
                <c:pt idx="1997">
                  <c:v>2.3993997999999999</c:v>
                </c:pt>
                <c:pt idx="1998">
                  <c:v>2.3996</c:v>
                </c:pt>
                <c:pt idx="1999">
                  <c:v>2.3998001000000002</c:v>
                </c:pt>
                <c:pt idx="2000">
                  <c:v>2.3999999000000001</c:v>
                </c:pt>
                <c:pt idx="2001">
                  <c:v>2.4001999000000001</c:v>
                </c:pt>
                <c:pt idx="2002">
                  <c:v>2.4003996999999999</c:v>
                </c:pt>
                <c:pt idx="2003">
                  <c:v>2.4005999999999998</c:v>
                </c:pt>
                <c:pt idx="2004">
                  <c:v>2.4007999999999998</c:v>
                </c:pt>
                <c:pt idx="2005">
                  <c:v>2.4009998000000001</c:v>
                </c:pt>
                <c:pt idx="2006">
                  <c:v>2.4012001000000001</c:v>
                </c:pt>
                <c:pt idx="2007">
                  <c:v>2.4014001</c:v>
                </c:pt>
                <c:pt idx="2008">
                  <c:v>2.4015998999999999</c:v>
                </c:pt>
                <c:pt idx="2009">
                  <c:v>2.4017998999999999</c:v>
                </c:pt>
                <c:pt idx="2010">
                  <c:v>2.4019997000000002</c:v>
                </c:pt>
                <c:pt idx="2011">
                  <c:v>2.4022000000000001</c:v>
                </c:pt>
                <c:pt idx="2012">
                  <c:v>2.4024000000000001</c:v>
                </c:pt>
                <c:pt idx="2013">
                  <c:v>2.4025998</c:v>
                </c:pt>
                <c:pt idx="2014">
                  <c:v>2.4028000999999999</c:v>
                </c:pt>
                <c:pt idx="2015">
                  <c:v>2.4029999000000002</c:v>
                </c:pt>
                <c:pt idx="2016">
                  <c:v>2.4031999000000002</c:v>
                </c:pt>
                <c:pt idx="2017">
                  <c:v>2.4033999000000001</c:v>
                </c:pt>
                <c:pt idx="2018">
                  <c:v>2.4035997</c:v>
                </c:pt>
                <c:pt idx="2019">
                  <c:v>2.4037999999999999</c:v>
                </c:pt>
                <c:pt idx="2020">
                  <c:v>2.4039999999999999</c:v>
                </c:pt>
                <c:pt idx="2021">
                  <c:v>2.4041998000000002</c:v>
                </c:pt>
                <c:pt idx="2022">
                  <c:v>2.4044001000000002</c:v>
                </c:pt>
                <c:pt idx="2023">
                  <c:v>2.4045999</c:v>
                </c:pt>
                <c:pt idx="2024">
                  <c:v>2.4047999</c:v>
                </c:pt>
                <c:pt idx="2025">
                  <c:v>2.4049999999999998</c:v>
                </c:pt>
                <c:pt idx="2026">
                  <c:v>2.4051998000000001</c:v>
                </c:pt>
                <c:pt idx="2027">
                  <c:v>2.4054000000000002</c:v>
                </c:pt>
                <c:pt idx="2028">
                  <c:v>2.4055998000000001</c:v>
                </c:pt>
                <c:pt idx="2029">
                  <c:v>2.4057998999999999</c:v>
                </c:pt>
                <c:pt idx="2030">
                  <c:v>2.4060001</c:v>
                </c:pt>
                <c:pt idx="2031">
                  <c:v>2.4061998999999998</c:v>
                </c:pt>
                <c:pt idx="2032">
                  <c:v>2.4064000000000001</c:v>
                </c:pt>
                <c:pt idx="2033">
                  <c:v>2.4065998</c:v>
                </c:pt>
                <c:pt idx="2034">
                  <c:v>2.4067997999999999</c:v>
                </c:pt>
                <c:pt idx="2035">
                  <c:v>2.4070000999999999</c:v>
                </c:pt>
                <c:pt idx="2036">
                  <c:v>2.4071999000000002</c:v>
                </c:pt>
                <c:pt idx="2037">
                  <c:v>2.4073999000000001</c:v>
                </c:pt>
                <c:pt idx="2038">
                  <c:v>2.4076002000000001</c:v>
                </c:pt>
                <c:pt idx="2039">
                  <c:v>2.4077999999999999</c:v>
                </c:pt>
                <c:pt idx="2040">
                  <c:v>2.4079999999999999</c:v>
                </c:pt>
                <c:pt idx="2041">
                  <c:v>2.4081997999999998</c:v>
                </c:pt>
                <c:pt idx="2042">
                  <c:v>2.4083998000000002</c:v>
                </c:pt>
                <c:pt idx="2043">
                  <c:v>2.4086001000000001</c:v>
                </c:pt>
                <c:pt idx="2044">
                  <c:v>2.4087999</c:v>
                </c:pt>
                <c:pt idx="2045">
                  <c:v>2.4089999</c:v>
                </c:pt>
                <c:pt idx="2046">
                  <c:v>2.4091999999999998</c:v>
                </c:pt>
                <c:pt idx="2047">
                  <c:v>2.4094000000000002</c:v>
                </c:pt>
                <c:pt idx="2048">
                  <c:v>2.4096000000000002</c:v>
                </c:pt>
                <c:pt idx="2049">
                  <c:v>2.4097998</c:v>
                </c:pt>
                <c:pt idx="2050">
                  <c:v>2.4099998</c:v>
                </c:pt>
                <c:pt idx="2051">
                  <c:v>2.4101998999999998</c:v>
                </c:pt>
                <c:pt idx="2052">
                  <c:v>2.4103998999999998</c:v>
                </c:pt>
                <c:pt idx="2053">
                  <c:v>2.4105998999999998</c:v>
                </c:pt>
                <c:pt idx="2054">
                  <c:v>2.4108000000000001</c:v>
                </c:pt>
                <c:pt idx="2055">
                  <c:v>2.411</c:v>
                </c:pt>
                <c:pt idx="2056">
                  <c:v>2.4112</c:v>
                </c:pt>
                <c:pt idx="2057">
                  <c:v>2.4113997999999999</c:v>
                </c:pt>
                <c:pt idx="2058">
                  <c:v>2.4115999000000001</c:v>
                </c:pt>
                <c:pt idx="2059">
                  <c:v>2.4117999000000001</c:v>
                </c:pt>
                <c:pt idx="2060">
                  <c:v>2.4119999000000001</c:v>
                </c:pt>
                <c:pt idx="2061">
                  <c:v>2.4121999999999999</c:v>
                </c:pt>
                <c:pt idx="2062">
                  <c:v>2.4123999999999999</c:v>
                </c:pt>
                <c:pt idx="2063">
                  <c:v>2.4125999999999999</c:v>
                </c:pt>
                <c:pt idx="2064">
                  <c:v>2.4127998000000002</c:v>
                </c:pt>
                <c:pt idx="2065">
                  <c:v>2.4129999</c:v>
                </c:pt>
                <c:pt idx="2066">
                  <c:v>2.4131999</c:v>
                </c:pt>
                <c:pt idx="2067">
                  <c:v>2.4133998999999999</c:v>
                </c:pt>
                <c:pt idx="2068">
                  <c:v>2.4136000000000002</c:v>
                </c:pt>
                <c:pt idx="2069">
                  <c:v>2.4137998000000001</c:v>
                </c:pt>
                <c:pt idx="2070">
                  <c:v>2.4140000000000001</c:v>
                </c:pt>
                <c:pt idx="2071">
                  <c:v>2.4142001</c:v>
                </c:pt>
                <c:pt idx="2072">
                  <c:v>2.4143998999999998</c:v>
                </c:pt>
                <c:pt idx="2073">
                  <c:v>2.4145998999999998</c:v>
                </c:pt>
                <c:pt idx="2074">
                  <c:v>2.4147997000000001</c:v>
                </c:pt>
                <c:pt idx="2075">
                  <c:v>2.415</c:v>
                </c:pt>
                <c:pt idx="2076">
                  <c:v>2.4152</c:v>
                </c:pt>
                <c:pt idx="2077">
                  <c:v>2.4153997999999999</c:v>
                </c:pt>
                <c:pt idx="2078">
                  <c:v>2.4156000999999998</c:v>
                </c:pt>
                <c:pt idx="2079">
                  <c:v>2.4158000999999998</c:v>
                </c:pt>
                <c:pt idx="2080">
                  <c:v>2.4159999000000001</c:v>
                </c:pt>
                <c:pt idx="2081">
                  <c:v>2.4161999000000001</c:v>
                </c:pt>
                <c:pt idx="2082">
                  <c:v>2.4163996999999999</c:v>
                </c:pt>
                <c:pt idx="2083">
                  <c:v>2.4165999999999999</c:v>
                </c:pt>
                <c:pt idx="2084">
                  <c:v>2.4167999999999998</c:v>
                </c:pt>
                <c:pt idx="2085">
                  <c:v>2.4169998000000001</c:v>
                </c:pt>
                <c:pt idx="2086">
                  <c:v>2.4172001000000001</c:v>
                </c:pt>
                <c:pt idx="2087">
                  <c:v>2.4173998999999999</c:v>
                </c:pt>
                <c:pt idx="2088">
                  <c:v>2.4175998999999999</c:v>
                </c:pt>
                <c:pt idx="2089">
                  <c:v>2.4177998999999999</c:v>
                </c:pt>
                <c:pt idx="2090">
                  <c:v>2.4179997000000002</c:v>
                </c:pt>
                <c:pt idx="2091">
                  <c:v>2.4182000000000001</c:v>
                </c:pt>
                <c:pt idx="2092">
                  <c:v>2.4184000000000001</c:v>
                </c:pt>
                <c:pt idx="2093">
                  <c:v>2.4185998</c:v>
                </c:pt>
                <c:pt idx="2094">
                  <c:v>2.4188000999999999</c:v>
                </c:pt>
                <c:pt idx="2095">
                  <c:v>2.4189999000000002</c:v>
                </c:pt>
                <c:pt idx="2096">
                  <c:v>2.4191999000000002</c:v>
                </c:pt>
                <c:pt idx="2097">
                  <c:v>2.4194</c:v>
                </c:pt>
                <c:pt idx="2098">
                  <c:v>2.4195997999999999</c:v>
                </c:pt>
                <c:pt idx="2099">
                  <c:v>2.4198</c:v>
                </c:pt>
                <c:pt idx="2100">
                  <c:v>2.4199997999999998</c:v>
                </c:pt>
                <c:pt idx="2101">
                  <c:v>2.4201999000000001</c:v>
                </c:pt>
                <c:pt idx="2102">
                  <c:v>2.4204001000000002</c:v>
                </c:pt>
                <c:pt idx="2103">
                  <c:v>2.4205999</c:v>
                </c:pt>
                <c:pt idx="2104">
                  <c:v>2.4207999999999998</c:v>
                </c:pt>
                <c:pt idx="2105">
                  <c:v>2.4209998000000001</c:v>
                </c:pt>
                <c:pt idx="2106">
                  <c:v>2.4211998000000001</c:v>
                </c:pt>
                <c:pt idx="2107">
                  <c:v>2.4214001000000001</c:v>
                </c:pt>
                <c:pt idx="2108">
                  <c:v>2.4215998999999999</c:v>
                </c:pt>
                <c:pt idx="2109">
                  <c:v>2.4217998999999999</c:v>
                </c:pt>
                <c:pt idx="2110">
                  <c:v>2.4220001999999998</c:v>
                </c:pt>
                <c:pt idx="2111">
                  <c:v>2.4222000000000001</c:v>
                </c:pt>
                <c:pt idx="2112">
                  <c:v>2.4224000000000001</c:v>
                </c:pt>
                <c:pt idx="2113">
                  <c:v>2.4225998</c:v>
                </c:pt>
                <c:pt idx="2114">
                  <c:v>2.4227997999999999</c:v>
                </c:pt>
                <c:pt idx="2115">
                  <c:v>2.4230000999999999</c:v>
                </c:pt>
                <c:pt idx="2116">
                  <c:v>2.4231999000000002</c:v>
                </c:pt>
                <c:pt idx="2117">
                  <c:v>2.4233999000000002</c:v>
                </c:pt>
                <c:pt idx="2118">
                  <c:v>2.4236</c:v>
                </c:pt>
                <c:pt idx="2119">
                  <c:v>2.4238</c:v>
                </c:pt>
                <c:pt idx="2120">
                  <c:v>2.4239999999999999</c:v>
                </c:pt>
                <c:pt idx="2121">
                  <c:v>2.4241997999999998</c:v>
                </c:pt>
                <c:pt idx="2122">
                  <c:v>2.4243999000000001</c:v>
                </c:pt>
                <c:pt idx="2123">
                  <c:v>2.4245999</c:v>
                </c:pt>
                <c:pt idx="2124">
                  <c:v>2.4247999</c:v>
                </c:pt>
                <c:pt idx="2125">
                  <c:v>2.4249999999999998</c:v>
                </c:pt>
                <c:pt idx="2126">
                  <c:v>2.4251999999999998</c:v>
                </c:pt>
                <c:pt idx="2127">
                  <c:v>2.4253999999999998</c:v>
                </c:pt>
                <c:pt idx="2128">
                  <c:v>2.4255998000000001</c:v>
                </c:pt>
                <c:pt idx="2129">
                  <c:v>2.4257998000000001</c:v>
                </c:pt>
                <c:pt idx="2130">
                  <c:v>2.4259998999999999</c:v>
                </c:pt>
                <c:pt idx="2131">
                  <c:v>2.4261998999999999</c:v>
                </c:pt>
                <c:pt idx="2132">
                  <c:v>2.4263998999999998</c:v>
                </c:pt>
                <c:pt idx="2133">
                  <c:v>2.4266000000000001</c:v>
                </c:pt>
                <c:pt idx="2134">
                  <c:v>2.4268000000000001</c:v>
                </c:pt>
                <c:pt idx="2135">
                  <c:v>2.427</c:v>
                </c:pt>
                <c:pt idx="2136">
                  <c:v>2.4271997999999999</c:v>
                </c:pt>
                <c:pt idx="2137">
                  <c:v>2.4273999000000002</c:v>
                </c:pt>
                <c:pt idx="2138">
                  <c:v>2.4275999000000001</c:v>
                </c:pt>
                <c:pt idx="2139">
                  <c:v>2.4277999000000001</c:v>
                </c:pt>
                <c:pt idx="2140">
                  <c:v>2.4279999999999999</c:v>
                </c:pt>
                <c:pt idx="2141">
                  <c:v>2.4281997999999998</c:v>
                </c:pt>
                <c:pt idx="2142">
                  <c:v>2.4283999999999999</c:v>
                </c:pt>
                <c:pt idx="2143">
                  <c:v>2.4286001000000002</c:v>
                </c:pt>
                <c:pt idx="2144">
                  <c:v>2.4287999</c:v>
                </c:pt>
                <c:pt idx="2145">
                  <c:v>2.4289999</c:v>
                </c:pt>
                <c:pt idx="2146">
                  <c:v>2.4291996999999999</c:v>
                </c:pt>
                <c:pt idx="2147">
                  <c:v>2.4293999999999998</c:v>
                </c:pt>
                <c:pt idx="2148">
                  <c:v>2.4296000000000002</c:v>
                </c:pt>
                <c:pt idx="2149">
                  <c:v>2.4297998000000001</c:v>
                </c:pt>
                <c:pt idx="2150">
                  <c:v>2.4300001</c:v>
                </c:pt>
                <c:pt idx="2151">
                  <c:v>2.4302001</c:v>
                </c:pt>
                <c:pt idx="2152">
                  <c:v>2.4303998999999998</c:v>
                </c:pt>
                <c:pt idx="2153">
                  <c:v>2.4305998999999998</c:v>
                </c:pt>
                <c:pt idx="2154">
                  <c:v>2.4307997000000001</c:v>
                </c:pt>
                <c:pt idx="2155">
                  <c:v>2.431</c:v>
                </c:pt>
                <c:pt idx="2156">
                  <c:v>2.4312</c:v>
                </c:pt>
                <c:pt idx="2157">
                  <c:v>2.4313997999999999</c:v>
                </c:pt>
                <c:pt idx="2158">
                  <c:v>2.4316000999999998</c:v>
                </c:pt>
                <c:pt idx="2159">
                  <c:v>2.4317999000000001</c:v>
                </c:pt>
                <c:pt idx="2160">
                  <c:v>2.4319999000000001</c:v>
                </c:pt>
                <c:pt idx="2161">
                  <c:v>2.4321999999999999</c:v>
                </c:pt>
                <c:pt idx="2162">
                  <c:v>2.4323996999999999</c:v>
                </c:pt>
                <c:pt idx="2163">
                  <c:v>2.4325999999999999</c:v>
                </c:pt>
                <c:pt idx="2164">
                  <c:v>2.4327998000000002</c:v>
                </c:pt>
                <c:pt idx="2165">
                  <c:v>2.4329998000000002</c:v>
                </c:pt>
                <c:pt idx="2166">
                  <c:v>2.4332001000000001</c:v>
                </c:pt>
                <c:pt idx="2167">
                  <c:v>2.4333998999999999</c:v>
                </c:pt>
                <c:pt idx="2168">
                  <c:v>2.4335998999999999</c:v>
                </c:pt>
                <c:pt idx="2169">
                  <c:v>2.4338000000000002</c:v>
                </c:pt>
                <c:pt idx="2170">
                  <c:v>2.4339998</c:v>
                </c:pt>
                <c:pt idx="2171">
                  <c:v>2.4342000000000001</c:v>
                </c:pt>
                <c:pt idx="2172">
                  <c:v>2.4343998</c:v>
                </c:pt>
                <c:pt idx="2173">
                  <c:v>2.4345998999999998</c:v>
                </c:pt>
                <c:pt idx="2174">
                  <c:v>2.4348000999999999</c:v>
                </c:pt>
                <c:pt idx="2175">
                  <c:v>2.4349999000000002</c:v>
                </c:pt>
                <c:pt idx="2176">
                  <c:v>2.4352</c:v>
                </c:pt>
                <c:pt idx="2177">
                  <c:v>2.4353997999999999</c:v>
                </c:pt>
                <c:pt idx="2178">
                  <c:v>2.4355997999999999</c:v>
                </c:pt>
                <c:pt idx="2179">
                  <c:v>2.4358000999999998</c:v>
                </c:pt>
                <c:pt idx="2180">
                  <c:v>2.4359999000000001</c:v>
                </c:pt>
                <c:pt idx="2181">
                  <c:v>2.4361999000000001</c:v>
                </c:pt>
                <c:pt idx="2182">
                  <c:v>2.4364002</c:v>
                </c:pt>
                <c:pt idx="2183">
                  <c:v>2.4365999999999999</c:v>
                </c:pt>
                <c:pt idx="2184">
                  <c:v>2.4367999999999999</c:v>
                </c:pt>
                <c:pt idx="2185">
                  <c:v>2.4369998000000002</c:v>
                </c:pt>
                <c:pt idx="2186">
                  <c:v>2.4371998000000001</c:v>
                </c:pt>
                <c:pt idx="2187">
                  <c:v>2.4374001000000001</c:v>
                </c:pt>
                <c:pt idx="2188">
                  <c:v>2.4375998999999999</c:v>
                </c:pt>
                <c:pt idx="2189">
                  <c:v>2.4377998999999999</c:v>
                </c:pt>
                <c:pt idx="2190">
                  <c:v>2.4380000000000002</c:v>
                </c:pt>
                <c:pt idx="2191">
                  <c:v>2.4382000000000001</c:v>
                </c:pt>
                <c:pt idx="2192">
                  <c:v>2.4384000000000001</c:v>
                </c:pt>
                <c:pt idx="2193">
                  <c:v>2.4385998</c:v>
                </c:pt>
                <c:pt idx="2194">
                  <c:v>2.4387998999999998</c:v>
                </c:pt>
                <c:pt idx="2195">
                  <c:v>2.4389999000000002</c:v>
                </c:pt>
                <c:pt idx="2196">
                  <c:v>2.4391999000000002</c:v>
                </c:pt>
                <c:pt idx="2197">
                  <c:v>2.4394</c:v>
                </c:pt>
                <c:pt idx="2198">
                  <c:v>2.4396</c:v>
                </c:pt>
                <c:pt idx="2199">
                  <c:v>2.4398</c:v>
                </c:pt>
                <c:pt idx="2200">
                  <c:v>2.4399997999999998</c:v>
                </c:pt>
                <c:pt idx="2201">
                  <c:v>2.4401999000000001</c:v>
                </c:pt>
                <c:pt idx="2202">
                  <c:v>2.4403999000000001</c:v>
                </c:pt>
                <c:pt idx="2203">
                  <c:v>2.4405999</c:v>
                </c:pt>
                <c:pt idx="2204">
                  <c:v>2.4407999999999999</c:v>
                </c:pt>
                <c:pt idx="2205">
                  <c:v>2.4409999999999998</c:v>
                </c:pt>
                <c:pt idx="2206">
                  <c:v>2.4411999999999998</c:v>
                </c:pt>
                <c:pt idx="2207">
                  <c:v>2.4414001000000001</c:v>
                </c:pt>
                <c:pt idx="2208">
                  <c:v>2.4415998000000001</c:v>
                </c:pt>
                <c:pt idx="2209">
                  <c:v>2.4417998999999999</c:v>
                </c:pt>
                <c:pt idx="2210">
                  <c:v>2.4419998999999999</c:v>
                </c:pt>
                <c:pt idx="2211">
                  <c:v>2.4421998999999999</c:v>
                </c:pt>
                <c:pt idx="2212">
                  <c:v>2.4424000000000001</c:v>
                </c:pt>
                <c:pt idx="2213">
                  <c:v>2.4425998</c:v>
                </c:pt>
                <c:pt idx="2214">
                  <c:v>2.4428000000000001</c:v>
                </c:pt>
                <c:pt idx="2215">
                  <c:v>2.4430000999999999</c:v>
                </c:pt>
                <c:pt idx="2216">
                  <c:v>2.4431999000000002</c:v>
                </c:pt>
                <c:pt idx="2217">
                  <c:v>2.4433999000000002</c:v>
                </c:pt>
                <c:pt idx="2218">
                  <c:v>2.4435997</c:v>
                </c:pt>
                <c:pt idx="2219">
                  <c:v>2.4438</c:v>
                </c:pt>
                <c:pt idx="2220">
                  <c:v>2.444</c:v>
                </c:pt>
                <c:pt idx="2221">
                  <c:v>2.4441997999999998</c:v>
                </c:pt>
                <c:pt idx="2222">
                  <c:v>2.4444001000000002</c:v>
                </c:pt>
                <c:pt idx="2223">
                  <c:v>2.4446001000000002</c:v>
                </c:pt>
                <c:pt idx="2224">
                  <c:v>2.4447999</c:v>
                </c:pt>
                <c:pt idx="2225">
                  <c:v>2.4449999</c:v>
                </c:pt>
                <c:pt idx="2226">
                  <c:v>2.4451996999999999</c:v>
                </c:pt>
                <c:pt idx="2227">
                  <c:v>2.4453999999999998</c:v>
                </c:pt>
                <c:pt idx="2228">
                  <c:v>2.4456000000000002</c:v>
                </c:pt>
                <c:pt idx="2229">
                  <c:v>2.4457998000000001</c:v>
                </c:pt>
                <c:pt idx="2230">
                  <c:v>2.4460001</c:v>
                </c:pt>
                <c:pt idx="2231">
                  <c:v>2.4461998999999999</c:v>
                </c:pt>
                <c:pt idx="2232">
                  <c:v>2.4463998999999998</c:v>
                </c:pt>
                <c:pt idx="2233">
                  <c:v>2.4466000000000001</c:v>
                </c:pt>
                <c:pt idx="2234">
                  <c:v>2.4467998</c:v>
                </c:pt>
                <c:pt idx="2235">
                  <c:v>2.4470000000000001</c:v>
                </c:pt>
                <c:pt idx="2236">
                  <c:v>2.4471997999999999</c:v>
                </c:pt>
                <c:pt idx="2237">
                  <c:v>2.4473999000000002</c:v>
                </c:pt>
                <c:pt idx="2238">
                  <c:v>2.4476000999999998</c:v>
                </c:pt>
                <c:pt idx="2239">
                  <c:v>2.4477999000000001</c:v>
                </c:pt>
                <c:pt idx="2240">
                  <c:v>2.448</c:v>
                </c:pt>
                <c:pt idx="2241">
                  <c:v>2.4481997</c:v>
                </c:pt>
                <c:pt idx="2242">
                  <c:v>2.4483997999999998</c:v>
                </c:pt>
                <c:pt idx="2243">
                  <c:v>2.4486001000000002</c:v>
                </c:pt>
                <c:pt idx="2244">
                  <c:v>2.4487998000000002</c:v>
                </c:pt>
                <c:pt idx="2245">
                  <c:v>2.4489999</c:v>
                </c:pt>
                <c:pt idx="2246">
                  <c:v>2.4492001999999999</c:v>
                </c:pt>
                <c:pt idx="2247">
                  <c:v>2.4493999</c:v>
                </c:pt>
                <c:pt idx="2248">
                  <c:v>2.4496000000000002</c:v>
                </c:pt>
                <c:pt idx="2249">
                  <c:v>2.4497998000000001</c:v>
                </c:pt>
                <c:pt idx="2250">
                  <c:v>2.4499998000000001</c:v>
                </c:pt>
                <c:pt idx="2251">
                  <c:v>2.4502001</c:v>
                </c:pt>
                <c:pt idx="2252">
                  <c:v>2.4503998999999999</c:v>
                </c:pt>
                <c:pt idx="2253">
                  <c:v>2.4505998999999998</c:v>
                </c:pt>
                <c:pt idx="2254">
                  <c:v>2.4507998999999998</c:v>
                </c:pt>
                <c:pt idx="2255">
                  <c:v>2.4510000000000001</c:v>
                </c:pt>
                <c:pt idx="2256">
                  <c:v>2.4512</c:v>
                </c:pt>
                <c:pt idx="2257">
                  <c:v>2.4513997999999999</c:v>
                </c:pt>
                <c:pt idx="2258">
                  <c:v>2.4515997999999999</c:v>
                </c:pt>
                <c:pt idx="2259">
                  <c:v>2.4518000999999998</c:v>
                </c:pt>
                <c:pt idx="2260">
                  <c:v>2.4519999000000001</c:v>
                </c:pt>
                <c:pt idx="2261">
                  <c:v>2.4521999000000001</c:v>
                </c:pt>
                <c:pt idx="2262">
                  <c:v>2.4523999999999999</c:v>
                </c:pt>
                <c:pt idx="2263">
                  <c:v>2.4525999999999999</c:v>
                </c:pt>
                <c:pt idx="2264">
                  <c:v>2.4527999999999999</c:v>
                </c:pt>
                <c:pt idx="2265">
                  <c:v>2.4529998000000002</c:v>
                </c:pt>
                <c:pt idx="2266">
                  <c:v>2.4531999</c:v>
                </c:pt>
                <c:pt idx="2267">
                  <c:v>2.4533999</c:v>
                </c:pt>
                <c:pt idx="2268">
                  <c:v>2.4535998999999999</c:v>
                </c:pt>
                <c:pt idx="2269">
                  <c:v>2.4538000000000002</c:v>
                </c:pt>
                <c:pt idx="2270">
                  <c:v>2.4540000000000002</c:v>
                </c:pt>
                <c:pt idx="2271">
                  <c:v>2.4542000000000002</c:v>
                </c:pt>
                <c:pt idx="2272">
                  <c:v>2.4543998</c:v>
                </c:pt>
                <c:pt idx="2273">
                  <c:v>2.4545998999999998</c:v>
                </c:pt>
                <c:pt idx="2274">
                  <c:v>2.4547998999999998</c:v>
                </c:pt>
                <c:pt idx="2275">
                  <c:v>2.4549998999999998</c:v>
                </c:pt>
                <c:pt idx="2276">
                  <c:v>2.4552</c:v>
                </c:pt>
                <c:pt idx="2277">
                  <c:v>2.4553997999999999</c:v>
                </c:pt>
                <c:pt idx="2278">
                  <c:v>2.4556</c:v>
                </c:pt>
                <c:pt idx="2279">
                  <c:v>2.4558000999999998</c:v>
                </c:pt>
                <c:pt idx="2280">
                  <c:v>2.4559999000000001</c:v>
                </c:pt>
                <c:pt idx="2281">
                  <c:v>2.4561999000000001</c:v>
                </c:pt>
                <c:pt idx="2282">
                  <c:v>2.4563999000000001</c:v>
                </c:pt>
                <c:pt idx="2283">
                  <c:v>2.4565999999999999</c:v>
                </c:pt>
                <c:pt idx="2284">
                  <c:v>2.4567999999999999</c:v>
                </c:pt>
                <c:pt idx="2285">
                  <c:v>2.4569998000000002</c:v>
                </c:pt>
                <c:pt idx="2286">
                  <c:v>2.4572001000000001</c:v>
                </c:pt>
                <c:pt idx="2287">
                  <c:v>2.4574001000000001</c:v>
                </c:pt>
                <c:pt idx="2288">
                  <c:v>2.4575998999999999</c:v>
                </c:pt>
                <c:pt idx="2289">
                  <c:v>2.4577998999999999</c:v>
                </c:pt>
                <c:pt idx="2290">
                  <c:v>2.4579996999999998</c:v>
                </c:pt>
                <c:pt idx="2291">
                  <c:v>2.4582000000000002</c:v>
                </c:pt>
                <c:pt idx="2292">
                  <c:v>2.4584000000000001</c:v>
                </c:pt>
                <c:pt idx="2293">
                  <c:v>2.4585998</c:v>
                </c:pt>
                <c:pt idx="2294">
                  <c:v>2.4588000999999999</c:v>
                </c:pt>
                <c:pt idx="2295">
                  <c:v>2.4590000999999999</c:v>
                </c:pt>
                <c:pt idx="2296">
                  <c:v>2.4591999000000002</c:v>
                </c:pt>
                <c:pt idx="2297">
                  <c:v>2.4593999000000002</c:v>
                </c:pt>
                <c:pt idx="2298">
                  <c:v>2.4595997000000001</c:v>
                </c:pt>
                <c:pt idx="2299">
                  <c:v>2.4598</c:v>
                </c:pt>
                <c:pt idx="2300">
                  <c:v>2.46</c:v>
                </c:pt>
                <c:pt idx="2301">
                  <c:v>2.4601997999999998</c:v>
                </c:pt>
                <c:pt idx="2302">
                  <c:v>2.4604001000000002</c:v>
                </c:pt>
                <c:pt idx="2303">
                  <c:v>2.4605999000000001</c:v>
                </c:pt>
                <c:pt idx="2304">
                  <c:v>2.4607999</c:v>
                </c:pt>
                <c:pt idx="2305">
                  <c:v>2.4609999999999999</c:v>
                </c:pt>
                <c:pt idx="2306">
                  <c:v>2.4611998000000002</c:v>
                </c:pt>
                <c:pt idx="2307">
                  <c:v>2.4613999999999998</c:v>
                </c:pt>
                <c:pt idx="2308">
                  <c:v>2.4615998000000001</c:v>
                </c:pt>
                <c:pt idx="2309">
                  <c:v>2.4617998999999999</c:v>
                </c:pt>
                <c:pt idx="2310">
                  <c:v>2.4620001</c:v>
                </c:pt>
                <c:pt idx="2311">
                  <c:v>2.4621998999999999</c:v>
                </c:pt>
                <c:pt idx="2312">
                  <c:v>2.4624000000000001</c:v>
                </c:pt>
                <c:pt idx="2313">
                  <c:v>2.4625998</c:v>
                </c:pt>
                <c:pt idx="2314">
                  <c:v>2.4627998</c:v>
                </c:pt>
                <c:pt idx="2315">
                  <c:v>2.4630000999999999</c:v>
                </c:pt>
                <c:pt idx="2316">
                  <c:v>2.4631999000000002</c:v>
                </c:pt>
                <c:pt idx="2317">
                  <c:v>2.4633999000000002</c:v>
                </c:pt>
                <c:pt idx="2318">
                  <c:v>2.4636002000000001</c:v>
                </c:pt>
                <c:pt idx="2319">
                  <c:v>2.4638</c:v>
                </c:pt>
                <c:pt idx="2320">
                  <c:v>2.464</c:v>
                </c:pt>
                <c:pt idx="2321">
                  <c:v>2.4641997999999998</c:v>
                </c:pt>
                <c:pt idx="2322">
                  <c:v>2.4643997999999998</c:v>
                </c:pt>
                <c:pt idx="2323">
                  <c:v>2.4646001000000002</c:v>
                </c:pt>
                <c:pt idx="2324">
                  <c:v>2.4647999</c:v>
                </c:pt>
                <c:pt idx="2325">
                  <c:v>2.4649999</c:v>
                </c:pt>
                <c:pt idx="2326">
                  <c:v>2.4651999</c:v>
                </c:pt>
                <c:pt idx="2327">
                  <c:v>2.4653999999999998</c:v>
                </c:pt>
                <c:pt idx="2328">
                  <c:v>2.4655999999999998</c:v>
                </c:pt>
                <c:pt idx="2329">
                  <c:v>2.4657998000000001</c:v>
                </c:pt>
                <c:pt idx="2330">
                  <c:v>2.4659998000000001</c:v>
                </c:pt>
                <c:pt idx="2331">
                  <c:v>2.4662001</c:v>
                </c:pt>
                <c:pt idx="2332">
                  <c:v>2.4663998999999999</c:v>
                </c:pt>
                <c:pt idx="2333">
                  <c:v>2.4665998999999998</c:v>
                </c:pt>
                <c:pt idx="2334">
                  <c:v>2.4668000000000001</c:v>
                </c:pt>
                <c:pt idx="2335">
                  <c:v>2.4670000000000001</c:v>
                </c:pt>
                <c:pt idx="2336">
                  <c:v>2.4672000000000001</c:v>
                </c:pt>
                <c:pt idx="2337">
                  <c:v>2.4673997999999999</c:v>
                </c:pt>
                <c:pt idx="2338">
                  <c:v>2.4675999000000002</c:v>
                </c:pt>
                <c:pt idx="2339">
                  <c:v>2.4677999000000002</c:v>
                </c:pt>
                <c:pt idx="2340">
                  <c:v>2.4679999000000001</c:v>
                </c:pt>
                <c:pt idx="2341">
                  <c:v>2.4681999999999999</c:v>
                </c:pt>
                <c:pt idx="2342">
                  <c:v>2.4683999999999999</c:v>
                </c:pt>
                <c:pt idx="2343">
                  <c:v>2.4685999999999999</c:v>
                </c:pt>
                <c:pt idx="2344">
                  <c:v>2.4687998000000002</c:v>
                </c:pt>
                <c:pt idx="2345">
                  <c:v>2.4689999</c:v>
                </c:pt>
                <c:pt idx="2346">
                  <c:v>2.4691999</c:v>
                </c:pt>
                <c:pt idx="2347">
                  <c:v>2.4693999</c:v>
                </c:pt>
                <c:pt idx="2348">
                  <c:v>2.4695999999999998</c:v>
                </c:pt>
                <c:pt idx="2349">
                  <c:v>2.4697998000000001</c:v>
                </c:pt>
                <c:pt idx="2350">
                  <c:v>2.4700000000000002</c:v>
                </c:pt>
                <c:pt idx="2351">
                  <c:v>2.4702001</c:v>
                </c:pt>
                <c:pt idx="2352">
                  <c:v>2.4703998999999999</c:v>
                </c:pt>
                <c:pt idx="2353">
                  <c:v>2.4705998999999998</c:v>
                </c:pt>
                <c:pt idx="2354">
                  <c:v>2.4707997000000002</c:v>
                </c:pt>
                <c:pt idx="2355">
                  <c:v>2.4710000000000001</c:v>
                </c:pt>
                <c:pt idx="2356">
                  <c:v>2.4712000000000001</c:v>
                </c:pt>
                <c:pt idx="2357">
                  <c:v>2.4713997999999999</c:v>
                </c:pt>
                <c:pt idx="2358">
                  <c:v>2.4716000999999999</c:v>
                </c:pt>
                <c:pt idx="2359">
                  <c:v>2.4718000999999998</c:v>
                </c:pt>
                <c:pt idx="2360">
                  <c:v>2.4719999000000001</c:v>
                </c:pt>
                <c:pt idx="2361">
                  <c:v>2.4721999000000001</c:v>
                </c:pt>
                <c:pt idx="2362">
                  <c:v>2.4723997</c:v>
                </c:pt>
                <c:pt idx="2363">
                  <c:v>2.4725999999999999</c:v>
                </c:pt>
                <c:pt idx="2364">
                  <c:v>2.4727999999999999</c:v>
                </c:pt>
                <c:pt idx="2365">
                  <c:v>2.4729998000000002</c:v>
                </c:pt>
                <c:pt idx="2366">
                  <c:v>2.4732001000000001</c:v>
                </c:pt>
                <c:pt idx="2367">
                  <c:v>2.4733999</c:v>
                </c:pt>
                <c:pt idx="2368">
                  <c:v>2.4735999</c:v>
                </c:pt>
                <c:pt idx="2369">
                  <c:v>2.4737998999999999</c:v>
                </c:pt>
                <c:pt idx="2370">
                  <c:v>2.4739996999999998</c:v>
                </c:pt>
                <c:pt idx="2371">
                  <c:v>2.4742000000000002</c:v>
                </c:pt>
                <c:pt idx="2372">
                  <c:v>2.4744000000000002</c:v>
                </c:pt>
                <c:pt idx="2373">
                  <c:v>2.4745998</c:v>
                </c:pt>
                <c:pt idx="2374">
                  <c:v>2.4748000999999999</c:v>
                </c:pt>
                <c:pt idx="2375">
                  <c:v>2.4749998999999998</c:v>
                </c:pt>
                <c:pt idx="2376">
                  <c:v>2.4751998999999998</c:v>
                </c:pt>
                <c:pt idx="2377">
                  <c:v>2.4754</c:v>
                </c:pt>
                <c:pt idx="2378">
                  <c:v>2.4755997999999999</c:v>
                </c:pt>
                <c:pt idx="2379">
                  <c:v>2.4758</c:v>
                </c:pt>
                <c:pt idx="2380">
                  <c:v>2.4759997999999999</c:v>
                </c:pt>
                <c:pt idx="2381">
                  <c:v>2.4761999000000001</c:v>
                </c:pt>
                <c:pt idx="2382">
                  <c:v>2.4764001000000002</c:v>
                </c:pt>
                <c:pt idx="2383">
                  <c:v>2.4765999000000001</c:v>
                </c:pt>
                <c:pt idx="2384">
                  <c:v>2.4767999999999999</c:v>
                </c:pt>
                <c:pt idx="2385">
                  <c:v>2.4769998000000002</c:v>
                </c:pt>
                <c:pt idx="2386">
                  <c:v>2.4771998000000002</c:v>
                </c:pt>
                <c:pt idx="2387">
                  <c:v>2.4774001000000001</c:v>
                </c:pt>
                <c:pt idx="2388">
                  <c:v>2.4775999</c:v>
                </c:pt>
                <c:pt idx="2389">
                  <c:v>2.4777998999999999</c:v>
                </c:pt>
                <c:pt idx="2390">
                  <c:v>2.4780001999999999</c:v>
                </c:pt>
                <c:pt idx="2391">
                  <c:v>2.4782000000000002</c:v>
                </c:pt>
                <c:pt idx="2392">
                  <c:v>2.4784000000000002</c:v>
                </c:pt>
                <c:pt idx="2393">
                  <c:v>2.4785998</c:v>
                </c:pt>
                <c:pt idx="2394">
                  <c:v>2.4787998</c:v>
                </c:pt>
                <c:pt idx="2395">
                  <c:v>2.4790000999999999</c:v>
                </c:pt>
                <c:pt idx="2396">
                  <c:v>2.4791998999999998</c:v>
                </c:pt>
                <c:pt idx="2397">
                  <c:v>2.4793999000000002</c:v>
                </c:pt>
                <c:pt idx="2398">
                  <c:v>2.4796</c:v>
                </c:pt>
                <c:pt idx="2399">
                  <c:v>2.4798</c:v>
                </c:pt>
                <c:pt idx="2400">
                  <c:v>2.48</c:v>
                </c:pt>
                <c:pt idx="2401">
                  <c:v>2.4801997999999998</c:v>
                </c:pt>
                <c:pt idx="2402">
                  <c:v>2.4803997999999998</c:v>
                </c:pt>
                <c:pt idx="2403">
                  <c:v>2.4805999000000001</c:v>
                </c:pt>
                <c:pt idx="2404">
                  <c:v>2.4807999000000001</c:v>
                </c:pt>
                <c:pt idx="2405">
                  <c:v>2.4809999</c:v>
                </c:pt>
                <c:pt idx="2406">
                  <c:v>2.4811999999999999</c:v>
                </c:pt>
                <c:pt idx="2407">
                  <c:v>2.4813999999999998</c:v>
                </c:pt>
                <c:pt idx="2408">
                  <c:v>2.4815999999999998</c:v>
                </c:pt>
                <c:pt idx="2409">
                  <c:v>2.4817998000000001</c:v>
                </c:pt>
                <c:pt idx="2410">
                  <c:v>2.4819998999999999</c:v>
                </c:pt>
                <c:pt idx="2411">
                  <c:v>2.4821998999999999</c:v>
                </c:pt>
                <c:pt idx="2412">
                  <c:v>2.4823998999999999</c:v>
                </c:pt>
                <c:pt idx="2413">
                  <c:v>2.4826000000000001</c:v>
                </c:pt>
                <c:pt idx="2414">
                  <c:v>2.4828000000000001</c:v>
                </c:pt>
                <c:pt idx="2415">
                  <c:v>2.4830000000000001</c:v>
                </c:pt>
                <c:pt idx="2416">
                  <c:v>2.4831998</c:v>
                </c:pt>
                <c:pt idx="2417">
                  <c:v>2.4833999000000002</c:v>
                </c:pt>
                <c:pt idx="2418">
                  <c:v>2.4835999000000002</c:v>
                </c:pt>
                <c:pt idx="2419">
                  <c:v>2.4837999000000002</c:v>
                </c:pt>
                <c:pt idx="2420">
                  <c:v>2.484</c:v>
                </c:pt>
                <c:pt idx="2421">
                  <c:v>2.4841997999999998</c:v>
                </c:pt>
                <c:pt idx="2422">
                  <c:v>2.4843999999999999</c:v>
                </c:pt>
                <c:pt idx="2423">
                  <c:v>2.4846001000000002</c:v>
                </c:pt>
                <c:pt idx="2424">
                  <c:v>2.4847999000000001</c:v>
                </c:pt>
                <c:pt idx="2425">
                  <c:v>2.4849999</c:v>
                </c:pt>
                <c:pt idx="2426">
                  <c:v>2.4851996999999999</c:v>
                </c:pt>
                <c:pt idx="2427">
                  <c:v>2.4853999999999998</c:v>
                </c:pt>
                <c:pt idx="2428">
                  <c:v>2.4855999999999998</c:v>
                </c:pt>
                <c:pt idx="2429">
                  <c:v>2.4857998000000001</c:v>
                </c:pt>
                <c:pt idx="2430">
                  <c:v>2.4860001</c:v>
                </c:pt>
                <c:pt idx="2431">
                  <c:v>2.4862001</c:v>
                </c:pt>
                <c:pt idx="2432">
                  <c:v>2.4863998999999999</c:v>
                </c:pt>
                <c:pt idx="2433">
                  <c:v>2.4865998999999999</c:v>
                </c:pt>
                <c:pt idx="2434">
                  <c:v>2.4867997000000002</c:v>
                </c:pt>
                <c:pt idx="2435">
                  <c:v>2.4870000000000001</c:v>
                </c:pt>
                <c:pt idx="2436">
                  <c:v>2.4872000000000001</c:v>
                </c:pt>
                <c:pt idx="2437">
                  <c:v>2.4873997999999999</c:v>
                </c:pt>
                <c:pt idx="2438">
                  <c:v>2.4876000999999999</c:v>
                </c:pt>
                <c:pt idx="2439">
                  <c:v>2.4877999000000002</c:v>
                </c:pt>
                <c:pt idx="2440">
                  <c:v>2.4879999000000002</c:v>
                </c:pt>
                <c:pt idx="2441">
                  <c:v>2.4881999000000001</c:v>
                </c:pt>
                <c:pt idx="2442">
                  <c:v>2.4883997</c:v>
                </c:pt>
                <c:pt idx="2443">
                  <c:v>2.4885999999999999</c:v>
                </c:pt>
                <c:pt idx="2444">
                  <c:v>2.4887997999999998</c:v>
                </c:pt>
                <c:pt idx="2445">
                  <c:v>2.4889998000000002</c:v>
                </c:pt>
                <c:pt idx="2446">
                  <c:v>2.4892001000000001</c:v>
                </c:pt>
                <c:pt idx="2447">
                  <c:v>2.4893999</c:v>
                </c:pt>
                <c:pt idx="2448">
                  <c:v>2.4895999</c:v>
                </c:pt>
                <c:pt idx="2449">
                  <c:v>2.4897999999999998</c:v>
                </c:pt>
                <c:pt idx="2450">
                  <c:v>2.4899998000000001</c:v>
                </c:pt>
                <c:pt idx="2451">
                  <c:v>2.4902000000000002</c:v>
                </c:pt>
                <c:pt idx="2452">
                  <c:v>2.4903998000000001</c:v>
                </c:pt>
                <c:pt idx="2453">
                  <c:v>2.4905998999999999</c:v>
                </c:pt>
                <c:pt idx="2454">
                  <c:v>2.4908001</c:v>
                </c:pt>
                <c:pt idx="2455">
                  <c:v>2.4909998999999998</c:v>
                </c:pt>
                <c:pt idx="2456">
                  <c:v>2.4912000000000001</c:v>
                </c:pt>
                <c:pt idx="2457">
                  <c:v>2.4913997999999999</c:v>
                </c:pt>
                <c:pt idx="2458">
                  <c:v>2.4915997999999999</c:v>
                </c:pt>
                <c:pt idx="2459">
                  <c:v>2.4918000999999999</c:v>
                </c:pt>
                <c:pt idx="2460">
                  <c:v>2.4919999000000002</c:v>
                </c:pt>
                <c:pt idx="2461">
                  <c:v>2.4921999000000001</c:v>
                </c:pt>
                <c:pt idx="2462">
                  <c:v>2.4924002000000001</c:v>
                </c:pt>
                <c:pt idx="2463">
                  <c:v>2.4925999999999999</c:v>
                </c:pt>
                <c:pt idx="2464">
                  <c:v>2.4927999999999999</c:v>
                </c:pt>
                <c:pt idx="2465">
                  <c:v>2.4929998000000002</c:v>
                </c:pt>
                <c:pt idx="2466">
                  <c:v>2.4931998000000002</c:v>
                </c:pt>
                <c:pt idx="2467">
                  <c:v>2.4934001000000001</c:v>
                </c:pt>
                <c:pt idx="2468">
                  <c:v>2.4935999</c:v>
                </c:pt>
                <c:pt idx="2469">
                  <c:v>2.4937999</c:v>
                </c:pt>
                <c:pt idx="2470">
                  <c:v>2.4940000000000002</c:v>
                </c:pt>
                <c:pt idx="2471">
                  <c:v>2.4942000000000002</c:v>
                </c:pt>
                <c:pt idx="2472">
                  <c:v>2.4944000000000002</c:v>
                </c:pt>
                <c:pt idx="2473">
                  <c:v>2.4945998</c:v>
                </c:pt>
                <c:pt idx="2474">
                  <c:v>2.4947998999999998</c:v>
                </c:pt>
                <c:pt idx="2475">
                  <c:v>2.4949998999999998</c:v>
                </c:pt>
                <c:pt idx="2476">
                  <c:v>2.4951998999999998</c:v>
                </c:pt>
                <c:pt idx="2477">
                  <c:v>2.4954000000000001</c:v>
                </c:pt>
                <c:pt idx="2478">
                  <c:v>2.4956</c:v>
                </c:pt>
                <c:pt idx="2479">
                  <c:v>2.4958</c:v>
                </c:pt>
                <c:pt idx="2480">
                  <c:v>2.4959997999999999</c:v>
                </c:pt>
                <c:pt idx="2481">
                  <c:v>2.4961997999999999</c:v>
                </c:pt>
                <c:pt idx="2482">
                  <c:v>2.4963999000000001</c:v>
                </c:pt>
                <c:pt idx="2483">
                  <c:v>2.4965999000000001</c:v>
                </c:pt>
                <c:pt idx="2484">
                  <c:v>2.4967999000000001</c:v>
                </c:pt>
                <c:pt idx="2485">
                  <c:v>2.4969999999999999</c:v>
                </c:pt>
                <c:pt idx="2486">
                  <c:v>2.4971999999999999</c:v>
                </c:pt>
                <c:pt idx="2487">
                  <c:v>2.4973999999999998</c:v>
                </c:pt>
                <c:pt idx="2488">
                  <c:v>2.4975998000000001</c:v>
                </c:pt>
                <c:pt idx="2489">
                  <c:v>2.4977999</c:v>
                </c:pt>
                <c:pt idx="2490">
                  <c:v>2.4979998999999999</c:v>
                </c:pt>
                <c:pt idx="2491">
                  <c:v>2.4981998999999999</c:v>
                </c:pt>
                <c:pt idx="2492">
                  <c:v>2.4984000000000002</c:v>
                </c:pt>
                <c:pt idx="2493">
                  <c:v>2.4985998</c:v>
                </c:pt>
                <c:pt idx="2494">
                  <c:v>2.4988000000000001</c:v>
                </c:pt>
                <c:pt idx="2495">
                  <c:v>2.4990000999999999</c:v>
                </c:pt>
                <c:pt idx="2496">
                  <c:v>2.4991998999999998</c:v>
                </c:pt>
                <c:pt idx="2497">
                  <c:v>2.4993998999999998</c:v>
                </c:pt>
                <c:pt idx="2498">
                  <c:v>2.4995997000000001</c:v>
                </c:pt>
                <c:pt idx="2499">
                  <c:v>2.4998</c:v>
                </c:pt>
                <c:pt idx="2500">
                  <c:v>2.5</c:v>
                </c:pt>
                <c:pt idx="2501">
                  <c:v>2.5001997999999999</c:v>
                </c:pt>
                <c:pt idx="2502">
                  <c:v>2.5004000999999998</c:v>
                </c:pt>
                <c:pt idx="2503">
                  <c:v>2.5006001000000002</c:v>
                </c:pt>
                <c:pt idx="2504">
                  <c:v>2.5007999000000001</c:v>
                </c:pt>
                <c:pt idx="2505">
                  <c:v>2.5009999000000001</c:v>
                </c:pt>
                <c:pt idx="2506">
                  <c:v>2.5011996999999999</c:v>
                </c:pt>
                <c:pt idx="2507">
                  <c:v>2.5013999999999998</c:v>
                </c:pt>
                <c:pt idx="2508">
                  <c:v>2.5015999999999998</c:v>
                </c:pt>
                <c:pt idx="2509">
                  <c:v>2.5017998000000001</c:v>
                </c:pt>
                <c:pt idx="2510">
                  <c:v>2.5020001000000001</c:v>
                </c:pt>
                <c:pt idx="2511">
                  <c:v>2.5021998999999999</c:v>
                </c:pt>
                <c:pt idx="2512">
                  <c:v>2.5023998999999999</c:v>
                </c:pt>
                <c:pt idx="2513">
                  <c:v>2.5026000000000002</c:v>
                </c:pt>
                <c:pt idx="2514">
                  <c:v>2.5027997000000002</c:v>
                </c:pt>
                <c:pt idx="2515">
                  <c:v>2.5030000000000001</c:v>
                </c:pt>
                <c:pt idx="2516">
                  <c:v>2.5031998</c:v>
                </c:pt>
                <c:pt idx="2517">
                  <c:v>2.5033998</c:v>
                </c:pt>
                <c:pt idx="2518">
                  <c:v>2.5036000999999999</c:v>
                </c:pt>
                <c:pt idx="2519">
                  <c:v>2.5037999000000002</c:v>
                </c:pt>
                <c:pt idx="2520">
                  <c:v>2.5039999000000002</c:v>
                </c:pt>
                <c:pt idx="2521">
                  <c:v>2.5042</c:v>
                </c:pt>
                <c:pt idx="2522">
                  <c:v>2.5043997999999998</c:v>
                </c:pt>
                <c:pt idx="2523">
                  <c:v>2.5045999999999999</c:v>
                </c:pt>
                <c:pt idx="2524">
                  <c:v>2.5047997999999998</c:v>
                </c:pt>
                <c:pt idx="2525">
                  <c:v>2.5049999000000001</c:v>
                </c:pt>
                <c:pt idx="2526">
                  <c:v>2.5052001000000002</c:v>
                </c:pt>
                <c:pt idx="2527">
                  <c:v>2.5053999</c:v>
                </c:pt>
                <c:pt idx="2528">
                  <c:v>2.5055999999999998</c:v>
                </c:pt>
                <c:pt idx="2529">
                  <c:v>2.5057998000000001</c:v>
                </c:pt>
                <c:pt idx="2530">
                  <c:v>2.5059998000000001</c:v>
                </c:pt>
                <c:pt idx="2531">
                  <c:v>2.5062001</c:v>
                </c:pt>
                <c:pt idx="2532">
                  <c:v>2.5063998999999999</c:v>
                </c:pt>
                <c:pt idx="2533">
                  <c:v>2.5065998999999999</c:v>
                </c:pt>
                <c:pt idx="2534">
                  <c:v>2.5068001999999998</c:v>
                </c:pt>
                <c:pt idx="2535">
                  <c:v>2.5070000000000001</c:v>
                </c:pt>
                <c:pt idx="2536">
                  <c:v>2.5072000000000001</c:v>
                </c:pt>
                <c:pt idx="2537">
                  <c:v>2.5073998</c:v>
                </c:pt>
                <c:pt idx="2538">
                  <c:v>2.5075997999999999</c:v>
                </c:pt>
                <c:pt idx="2539">
                  <c:v>2.5078000999999999</c:v>
                </c:pt>
                <c:pt idx="2540">
                  <c:v>2.5079999000000002</c:v>
                </c:pt>
                <c:pt idx="2541">
                  <c:v>2.5081999000000001</c:v>
                </c:pt>
                <c:pt idx="2542">
                  <c:v>2.5084</c:v>
                </c:pt>
                <c:pt idx="2543">
                  <c:v>2.5085999999999999</c:v>
                </c:pt>
                <c:pt idx="2544">
                  <c:v>2.5087999999999999</c:v>
                </c:pt>
                <c:pt idx="2545">
                  <c:v>2.5089997999999998</c:v>
                </c:pt>
                <c:pt idx="2546">
                  <c:v>2.5091999</c:v>
                </c:pt>
                <c:pt idx="2547">
                  <c:v>2.5093999</c:v>
                </c:pt>
                <c:pt idx="2548">
                  <c:v>2.5095999</c:v>
                </c:pt>
                <c:pt idx="2549">
                  <c:v>2.5097999999999998</c:v>
                </c:pt>
                <c:pt idx="2550">
                  <c:v>2.5099999999999998</c:v>
                </c:pt>
                <c:pt idx="2551">
                  <c:v>2.5102000000000002</c:v>
                </c:pt>
                <c:pt idx="2552">
                  <c:v>2.5103998000000001</c:v>
                </c:pt>
                <c:pt idx="2553">
                  <c:v>2.5105998999999999</c:v>
                </c:pt>
                <c:pt idx="2554">
                  <c:v>2.5107998999999999</c:v>
                </c:pt>
                <c:pt idx="2555">
                  <c:v>2.5109998999999998</c:v>
                </c:pt>
                <c:pt idx="2556">
                  <c:v>2.5112000000000001</c:v>
                </c:pt>
                <c:pt idx="2557">
                  <c:v>2.5113997000000001</c:v>
                </c:pt>
                <c:pt idx="2558">
                  <c:v>2.5116000000000001</c:v>
                </c:pt>
                <c:pt idx="2559">
                  <c:v>2.5118000999999999</c:v>
                </c:pt>
                <c:pt idx="2560">
                  <c:v>2.5119997999999999</c:v>
                </c:pt>
                <c:pt idx="2561">
                  <c:v>2.5121999000000002</c:v>
                </c:pt>
                <c:pt idx="2562">
                  <c:v>2.5123999000000001</c:v>
                </c:pt>
                <c:pt idx="2563">
                  <c:v>2.5125999000000001</c:v>
                </c:pt>
                <c:pt idx="2564">
                  <c:v>2.5127999999999999</c:v>
                </c:pt>
                <c:pt idx="2565">
                  <c:v>2.5129997999999998</c:v>
                </c:pt>
                <c:pt idx="2566">
                  <c:v>2.5131999999999999</c:v>
                </c:pt>
                <c:pt idx="2567">
                  <c:v>2.5134001000000001</c:v>
                </c:pt>
                <c:pt idx="2568">
                  <c:v>2.5135999</c:v>
                </c:pt>
                <c:pt idx="2569">
                  <c:v>2.5137999</c:v>
                </c:pt>
                <c:pt idx="2570">
                  <c:v>2.5139996999999998</c:v>
                </c:pt>
                <c:pt idx="2571">
                  <c:v>2.5142000000000002</c:v>
                </c:pt>
                <c:pt idx="2572">
                  <c:v>2.5144000000000002</c:v>
                </c:pt>
                <c:pt idx="2573">
                  <c:v>2.5145998000000001</c:v>
                </c:pt>
                <c:pt idx="2574">
                  <c:v>2.5148001</c:v>
                </c:pt>
                <c:pt idx="2575">
                  <c:v>2.5150001</c:v>
                </c:pt>
                <c:pt idx="2576">
                  <c:v>2.5151998999999998</c:v>
                </c:pt>
                <c:pt idx="2577">
                  <c:v>2.5153998999999998</c:v>
                </c:pt>
                <c:pt idx="2578">
                  <c:v>2.5155997000000001</c:v>
                </c:pt>
                <c:pt idx="2579">
                  <c:v>2.5158</c:v>
                </c:pt>
                <c:pt idx="2580">
                  <c:v>2.516</c:v>
                </c:pt>
                <c:pt idx="2581">
                  <c:v>2.5161997999999999</c:v>
                </c:pt>
                <c:pt idx="2582">
                  <c:v>2.5164000999999998</c:v>
                </c:pt>
                <c:pt idx="2583">
                  <c:v>2.5165999000000001</c:v>
                </c:pt>
                <c:pt idx="2584">
                  <c:v>2.5167999000000001</c:v>
                </c:pt>
                <c:pt idx="2585">
                  <c:v>2.5169999999999999</c:v>
                </c:pt>
                <c:pt idx="2586">
                  <c:v>2.5171998000000002</c:v>
                </c:pt>
                <c:pt idx="2587">
                  <c:v>2.5173999999999999</c:v>
                </c:pt>
                <c:pt idx="2588">
                  <c:v>2.5175998000000002</c:v>
                </c:pt>
                <c:pt idx="2589">
                  <c:v>2.5177999</c:v>
                </c:pt>
                <c:pt idx="2590">
                  <c:v>2.5180001000000001</c:v>
                </c:pt>
                <c:pt idx="2591">
                  <c:v>2.5181998999999999</c:v>
                </c:pt>
                <c:pt idx="2592">
                  <c:v>2.5184000000000002</c:v>
                </c:pt>
                <c:pt idx="2593">
                  <c:v>2.5185997000000002</c:v>
                </c:pt>
                <c:pt idx="2594">
                  <c:v>2.5187998</c:v>
                </c:pt>
                <c:pt idx="2595">
                  <c:v>2.5190001</c:v>
                </c:pt>
                <c:pt idx="2596">
                  <c:v>2.5191998</c:v>
                </c:pt>
                <c:pt idx="2597">
                  <c:v>2.5193998999999998</c:v>
                </c:pt>
                <c:pt idx="2598">
                  <c:v>2.5196002000000002</c:v>
                </c:pt>
                <c:pt idx="2599">
                  <c:v>2.5197999000000002</c:v>
                </c:pt>
                <c:pt idx="2600">
                  <c:v>2.52</c:v>
                </c:pt>
                <c:pt idx="2601">
                  <c:v>2.5201997999999999</c:v>
                </c:pt>
                <c:pt idx="2602">
                  <c:v>2.5203997999999999</c:v>
                </c:pt>
                <c:pt idx="2603">
                  <c:v>2.5206000999999998</c:v>
                </c:pt>
                <c:pt idx="2604">
                  <c:v>2.5207999000000001</c:v>
                </c:pt>
                <c:pt idx="2605">
                  <c:v>2.5209999000000001</c:v>
                </c:pt>
                <c:pt idx="2606">
                  <c:v>2.5211999</c:v>
                </c:pt>
                <c:pt idx="2607">
                  <c:v>2.5213999999999999</c:v>
                </c:pt>
                <c:pt idx="2608">
                  <c:v>2.5215999999999998</c:v>
                </c:pt>
                <c:pt idx="2609">
                  <c:v>2.5217998000000001</c:v>
                </c:pt>
                <c:pt idx="2610">
                  <c:v>2.5219998000000001</c:v>
                </c:pt>
                <c:pt idx="2611">
                  <c:v>2.5222001000000001</c:v>
                </c:pt>
                <c:pt idx="2612">
                  <c:v>2.5223998999999999</c:v>
                </c:pt>
                <c:pt idx="2613">
                  <c:v>2.5225998999999999</c:v>
                </c:pt>
                <c:pt idx="2614">
                  <c:v>2.5228000000000002</c:v>
                </c:pt>
                <c:pt idx="2615">
                  <c:v>2.5230000000000001</c:v>
                </c:pt>
                <c:pt idx="2616">
                  <c:v>2.5232000000000001</c:v>
                </c:pt>
                <c:pt idx="2617">
                  <c:v>2.5233998</c:v>
                </c:pt>
                <c:pt idx="2618">
                  <c:v>2.5235998999999998</c:v>
                </c:pt>
                <c:pt idx="2619">
                  <c:v>2.5237999000000002</c:v>
                </c:pt>
                <c:pt idx="2620">
                  <c:v>2.5239999000000002</c:v>
                </c:pt>
                <c:pt idx="2621">
                  <c:v>2.5242</c:v>
                </c:pt>
                <c:pt idx="2622">
                  <c:v>2.5244</c:v>
                </c:pt>
                <c:pt idx="2623">
                  <c:v>2.5246</c:v>
                </c:pt>
                <c:pt idx="2624">
                  <c:v>2.5247997999999998</c:v>
                </c:pt>
                <c:pt idx="2625">
                  <c:v>2.5249999000000001</c:v>
                </c:pt>
                <c:pt idx="2626">
                  <c:v>2.5251999000000001</c:v>
                </c:pt>
                <c:pt idx="2627">
                  <c:v>2.5253999</c:v>
                </c:pt>
                <c:pt idx="2628">
                  <c:v>2.5255999999999998</c:v>
                </c:pt>
                <c:pt idx="2629">
                  <c:v>2.5257998000000002</c:v>
                </c:pt>
                <c:pt idx="2630">
                  <c:v>2.5259999999999998</c:v>
                </c:pt>
                <c:pt idx="2631">
                  <c:v>2.5262001000000001</c:v>
                </c:pt>
                <c:pt idx="2632">
                  <c:v>2.5263998999999999</c:v>
                </c:pt>
                <c:pt idx="2633">
                  <c:v>2.5265998999999999</c:v>
                </c:pt>
                <c:pt idx="2634">
                  <c:v>2.5267998999999999</c:v>
                </c:pt>
                <c:pt idx="2635">
                  <c:v>2.5270000000000001</c:v>
                </c:pt>
                <c:pt idx="2636">
                  <c:v>2.5272000000000001</c:v>
                </c:pt>
                <c:pt idx="2637">
                  <c:v>2.5273998</c:v>
                </c:pt>
                <c:pt idx="2638">
                  <c:v>2.5276000000000001</c:v>
                </c:pt>
                <c:pt idx="2639">
                  <c:v>2.5278000999999999</c:v>
                </c:pt>
                <c:pt idx="2640">
                  <c:v>2.5279999000000002</c:v>
                </c:pt>
                <c:pt idx="2641">
                  <c:v>2.5281999000000002</c:v>
                </c:pt>
                <c:pt idx="2642">
                  <c:v>2.5283997</c:v>
                </c:pt>
                <c:pt idx="2643">
                  <c:v>2.5286</c:v>
                </c:pt>
                <c:pt idx="2644">
                  <c:v>2.5287999999999999</c:v>
                </c:pt>
                <c:pt idx="2645">
                  <c:v>2.5289997999999998</c:v>
                </c:pt>
                <c:pt idx="2646">
                  <c:v>2.5292001000000002</c:v>
                </c:pt>
                <c:pt idx="2647">
                  <c:v>2.5294001000000002</c:v>
                </c:pt>
                <c:pt idx="2648">
                  <c:v>2.5295999</c:v>
                </c:pt>
                <c:pt idx="2649">
                  <c:v>2.5297999</c:v>
                </c:pt>
                <c:pt idx="2650">
                  <c:v>2.5299996999999999</c:v>
                </c:pt>
                <c:pt idx="2651">
                  <c:v>2.5301999999999998</c:v>
                </c:pt>
                <c:pt idx="2652">
                  <c:v>2.5304000000000002</c:v>
                </c:pt>
                <c:pt idx="2653">
                  <c:v>2.5305998000000001</c:v>
                </c:pt>
                <c:pt idx="2654">
                  <c:v>2.5308001</c:v>
                </c:pt>
                <c:pt idx="2655">
                  <c:v>2.5309998999999999</c:v>
                </c:pt>
                <c:pt idx="2656">
                  <c:v>2.5311998999999998</c:v>
                </c:pt>
                <c:pt idx="2657">
                  <c:v>2.5314000000000001</c:v>
                </c:pt>
                <c:pt idx="2658">
                  <c:v>2.5315998</c:v>
                </c:pt>
                <c:pt idx="2659">
                  <c:v>2.5318000000000001</c:v>
                </c:pt>
                <c:pt idx="2660">
                  <c:v>2.5319997999999999</c:v>
                </c:pt>
                <c:pt idx="2661">
                  <c:v>2.5321999000000002</c:v>
                </c:pt>
                <c:pt idx="2662">
                  <c:v>2.5324000999999998</c:v>
                </c:pt>
                <c:pt idx="2663">
                  <c:v>2.5325999000000001</c:v>
                </c:pt>
                <c:pt idx="2664">
                  <c:v>2.5327999999999999</c:v>
                </c:pt>
                <c:pt idx="2665">
                  <c:v>2.5329997999999998</c:v>
                </c:pt>
                <c:pt idx="2666">
                  <c:v>2.5331997999999998</c:v>
                </c:pt>
                <c:pt idx="2667">
                  <c:v>2.5334001000000002</c:v>
                </c:pt>
                <c:pt idx="2668">
                  <c:v>2.5335999</c:v>
                </c:pt>
                <c:pt idx="2669">
                  <c:v>2.5337999</c:v>
                </c:pt>
                <c:pt idx="2670">
                  <c:v>2.5340001999999999</c:v>
                </c:pt>
                <c:pt idx="2671">
                  <c:v>2.5341999999999998</c:v>
                </c:pt>
                <c:pt idx="2672">
                  <c:v>2.5344000000000002</c:v>
                </c:pt>
                <c:pt idx="2673">
                  <c:v>2.5345998000000001</c:v>
                </c:pt>
                <c:pt idx="2674">
                  <c:v>2.5347998</c:v>
                </c:pt>
                <c:pt idx="2675">
                  <c:v>2.5350001</c:v>
                </c:pt>
                <c:pt idx="2676">
                  <c:v>2.5351998999999998</c:v>
                </c:pt>
                <c:pt idx="2677">
                  <c:v>2.5353998999999998</c:v>
                </c:pt>
                <c:pt idx="2678">
                  <c:v>2.5355998999999998</c:v>
                </c:pt>
                <c:pt idx="2679">
                  <c:v>2.5358000000000001</c:v>
                </c:pt>
                <c:pt idx="2680">
                  <c:v>2.536</c:v>
                </c:pt>
                <c:pt idx="2681">
                  <c:v>2.5361997999999999</c:v>
                </c:pt>
                <c:pt idx="2682">
                  <c:v>2.5363997999999999</c:v>
                </c:pt>
                <c:pt idx="2683">
                  <c:v>2.5365999000000001</c:v>
                </c:pt>
                <c:pt idx="2684">
                  <c:v>2.5367999000000001</c:v>
                </c:pt>
                <c:pt idx="2685">
                  <c:v>2.5369999000000001</c:v>
                </c:pt>
                <c:pt idx="2686">
                  <c:v>2.5371999999999999</c:v>
                </c:pt>
                <c:pt idx="2687">
                  <c:v>2.5373999999999999</c:v>
                </c:pt>
                <c:pt idx="2688">
                  <c:v>2.5375999999999999</c:v>
                </c:pt>
                <c:pt idx="2689">
                  <c:v>2.5377998000000002</c:v>
                </c:pt>
                <c:pt idx="2690">
                  <c:v>2.5379999</c:v>
                </c:pt>
                <c:pt idx="2691">
                  <c:v>2.5381999</c:v>
                </c:pt>
                <c:pt idx="2692">
                  <c:v>2.5383998999999999</c:v>
                </c:pt>
                <c:pt idx="2693">
                  <c:v>2.5386000000000002</c:v>
                </c:pt>
                <c:pt idx="2694">
                  <c:v>2.5388000000000002</c:v>
                </c:pt>
                <c:pt idx="2695">
                  <c:v>2.5390000000000001</c:v>
                </c:pt>
                <c:pt idx="2696">
                  <c:v>2.5391998</c:v>
                </c:pt>
                <c:pt idx="2697">
                  <c:v>2.5393998999999998</c:v>
                </c:pt>
                <c:pt idx="2698">
                  <c:v>2.5395998999999998</c:v>
                </c:pt>
                <c:pt idx="2699">
                  <c:v>2.5397999000000002</c:v>
                </c:pt>
                <c:pt idx="2700">
                  <c:v>2.54</c:v>
                </c:pt>
                <c:pt idx="2701">
                  <c:v>2.5401997999999999</c:v>
                </c:pt>
                <c:pt idx="2702">
                  <c:v>2.5404</c:v>
                </c:pt>
                <c:pt idx="2703">
                  <c:v>2.5406000999999998</c:v>
                </c:pt>
                <c:pt idx="2704">
                  <c:v>2.5407999000000001</c:v>
                </c:pt>
                <c:pt idx="2705">
                  <c:v>2.5409999000000001</c:v>
                </c:pt>
                <c:pt idx="2706">
                  <c:v>2.5411997</c:v>
                </c:pt>
                <c:pt idx="2707">
                  <c:v>2.5413999999999999</c:v>
                </c:pt>
                <c:pt idx="2708">
                  <c:v>2.5415999999999999</c:v>
                </c:pt>
                <c:pt idx="2709">
                  <c:v>2.5417998000000002</c:v>
                </c:pt>
                <c:pt idx="2710">
                  <c:v>2.5420001000000001</c:v>
                </c:pt>
                <c:pt idx="2711">
                  <c:v>2.5422001000000001</c:v>
                </c:pt>
                <c:pt idx="2712">
                  <c:v>2.5423998999999999</c:v>
                </c:pt>
                <c:pt idx="2713">
                  <c:v>2.5425998999999999</c:v>
                </c:pt>
                <c:pt idx="2714">
                  <c:v>2.5427997000000002</c:v>
                </c:pt>
                <c:pt idx="2715">
                  <c:v>2.5430000000000001</c:v>
                </c:pt>
                <c:pt idx="2716">
                  <c:v>2.5432000000000001</c:v>
                </c:pt>
                <c:pt idx="2717">
                  <c:v>2.5433998</c:v>
                </c:pt>
                <c:pt idx="2718">
                  <c:v>2.5436000999999999</c:v>
                </c:pt>
                <c:pt idx="2719">
                  <c:v>2.5437998999999998</c:v>
                </c:pt>
                <c:pt idx="2720">
                  <c:v>2.5439999000000002</c:v>
                </c:pt>
                <c:pt idx="2721">
                  <c:v>2.5441999000000002</c:v>
                </c:pt>
                <c:pt idx="2722">
                  <c:v>2.5443997</c:v>
                </c:pt>
                <c:pt idx="2723">
                  <c:v>2.5446</c:v>
                </c:pt>
                <c:pt idx="2724">
                  <c:v>2.5448</c:v>
                </c:pt>
                <c:pt idx="2725">
                  <c:v>2.5449997999999998</c:v>
                </c:pt>
                <c:pt idx="2726">
                  <c:v>2.5452001000000002</c:v>
                </c:pt>
                <c:pt idx="2727">
                  <c:v>2.5453999</c:v>
                </c:pt>
                <c:pt idx="2728">
                  <c:v>2.5455999</c:v>
                </c:pt>
                <c:pt idx="2729">
                  <c:v>2.5457999999999998</c:v>
                </c:pt>
                <c:pt idx="2730">
                  <c:v>2.5459998000000001</c:v>
                </c:pt>
                <c:pt idx="2731">
                  <c:v>2.5461999999999998</c:v>
                </c:pt>
                <c:pt idx="2732">
                  <c:v>2.5463998000000001</c:v>
                </c:pt>
                <c:pt idx="2733">
                  <c:v>2.5465998999999999</c:v>
                </c:pt>
                <c:pt idx="2734">
                  <c:v>2.5468001</c:v>
                </c:pt>
                <c:pt idx="2735">
                  <c:v>2.5469998999999999</c:v>
                </c:pt>
                <c:pt idx="2736">
                  <c:v>2.5472000000000001</c:v>
                </c:pt>
                <c:pt idx="2737">
                  <c:v>2.5473998</c:v>
                </c:pt>
                <c:pt idx="2738">
                  <c:v>2.5475998</c:v>
                </c:pt>
                <c:pt idx="2739">
                  <c:v>2.5478000999999999</c:v>
                </c:pt>
                <c:pt idx="2740">
                  <c:v>2.5479999000000002</c:v>
                </c:pt>
                <c:pt idx="2741">
                  <c:v>2.5481999000000002</c:v>
                </c:pt>
                <c:pt idx="2742">
                  <c:v>2.5484002000000001</c:v>
                </c:pt>
                <c:pt idx="2743">
                  <c:v>2.5486</c:v>
                </c:pt>
                <c:pt idx="2744">
                  <c:v>2.5488</c:v>
                </c:pt>
                <c:pt idx="2745">
                  <c:v>2.5489997999999998</c:v>
                </c:pt>
                <c:pt idx="2746">
                  <c:v>2.5491997999999998</c:v>
                </c:pt>
                <c:pt idx="2747">
                  <c:v>2.5494001000000002</c:v>
                </c:pt>
                <c:pt idx="2748">
                  <c:v>2.5495999</c:v>
                </c:pt>
                <c:pt idx="2749">
                  <c:v>2.5497999</c:v>
                </c:pt>
                <c:pt idx="2750">
                  <c:v>2.5499999999999998</c:v>
                </c:pt>
                <c:pt idx="2751">
                  <c:v>2.5501999999999998</c:v>
                </c:pt>
                <c:pt idx="2752">
                  <c:v>2.5503999999999998</c:v>
                </c:pt>
                <c:pt idx="2753">
                  <c:v>2.5505998000000001</c:v>
                </c:pt>
                <c:pt idx="2754">
                  <c:v>2.5507998000000001</c:v>
                </c:pt>
                <c:pt idx="2755">
                  <c:v>2.5509998999999999</c:v>
                </c:pt>
                <c:pt idx="2756">
                  <c:v>2.5511998999999999</c:v>
                </c:pt>
                <c:pt idx="2757">
                  <c:v>2.5513998999999998</c:v>
                </c:pt>
                <c:pt idx="2758">
                  <c:v>2.5516000000000001</c:v>
                </c:pt>
                <c:pt idx="2759">
                  <c:v>2.5518000000000001</c:v>
                </c:pt>
                <c:pt idx="2760">
                  <c:v>2.552</c:v>
                </c:pt>
                <c:pt idx="2761">
                  <c:v>2.5521997999999999</c:v>
                </c:pt>
                <c:pt idx="2762">
                  <c:v>2.5523999000000002</c:v>
                </c:pt>
                <c:pt idx="2763">
                  <c:v>2.5525999000000001</c:v>
                </c:pt>
                <c:pt idx="2764">
                  <c:v>2.5527999000000001</c:v>
                </c:pt>
                <c:pt idx="2765">
                  <c:v>2.5529999999999999</c:v>
                </c:pt>
                <c:pt idx="2766">
                  <c:v>2.5531999999999999</c:v>
                </c:pt>
                <c:pt idx="2767">
                  <c:v>2.5533999999999999</c:v>
                </c:pt>
                <c:pt idx="2768">
                  <c:v>2.5535998000000002</c:v>
                </c:pt>
                <c:pt idx="2769">
                  <c:v>2.5537999</c:v>
                </c:pt>
                <c:pt idx="2770">
                  <c:v>2.5539999</c:v>
                </c:pt>
                <c:pt idx="2771">
                  <c:v>2.5541999</c:v>
                </c:pt>
                <c:pt idx="2772">
                  <c:v>2.5543999999999998</c:v>
                </c:pt>
                <c:pt idx="2773">
                  <c:v>2.5545998000000001</c:v>
                </c:pt>
                <c:pt idx="2774">
                  <c:v>2.5548000000000002</c:v>
                </c:pt>
                <c:pt idx="2775">
                  <c:v>2.5550001</c:v>
                </c:pt>
                <c:pt idx="2776">
                  <c:v>2.5551998999999999</c:v>
                </c:pt>
                <c:pt idx="2777">
                  <c:v>2.5553998999999998</c:v>
                </c:pt>
                <c:pt idx="2778">
                  <c:v>2.5555997000000001</c:v>
                </c:pt>
                <c:pt idx="2779">
                  <c:v>2.5558000000000001</c:v>
                </c:pt>
                <c:pt idx="2780">
                  <c:v>2.556</c:v>
                </c:pt>
                <c:pt idx="2781">
                  <c:v>2.5561997999999999</c:v>
                </c:pt>
                <c:pt idx="2782">
                  <c:v>2.5564000999999998</c:v>
                </c:pt>
                <c:pt idx="2783">
                  <c:v>2.5566000999999998</c:v>
                </c:pt>
                <c:pt idx="2784">
                  <c:v>2.5567999000000001</c:v>
                </c:pt>
                <c:pt idx="2785">
                  <c:v>2.5569999000000001</c:v>
                </c:pt>
                <c:pt idx="2786">
                  <c:v>2.5571997</c:v>
                </c:pt>
                <c:pt idx="2787">
                  <c:v>2.5573999999999999</c:v>
                </c:pt>
                <c:pt idx="2788">
                  <c:v>2.5575999999999999</c:v>
                </c:pt>
                <c:pt idx="2789">
                  <c:v>2.5577998000000002</c:v>
                </c:pt>
                <c:pt idx="2790">
                  <c:v>2.5580001000000001</c:v>
                </c:pt>
                <c:pt idx="2791">
                  <c:v>2.5581999</c:v>
                </c:pt>
                <c:pt idx="2792">
                  <c:v>2.5583998999999999</c:v>
                </c:pt>
                <c:pt idx="2793">
                  <c:v>2.5585998999999999</c:v>
                </c:pt>
                <c:pt idx="2794">
                  <c:v>2.5587996999999998</c:v>
                </c:pt>
                <c:pt idx="2795">
                  <c:v>2.5590000000000002</c:v>
                </c:pt>
                <c:pt idx="2796">
                  <c:v>2.5591998</c:v>
                </c:pt>
                <c:pt idx="2797">
                  <c:v>2.5593998</c:v>
                </c:pt>
                <c:pt idx="2798">
                  <c:v>2.5596000999999999</c:v>
                </c:pt>
                <c:pt idx="2799">
                  <c:v>2.5597998999999998</c:v>
                </c:pt>
                <c:pt idx="2800">
                  <c:v>2.5599999000000002</c:v>
                </c:pt>
                <c:pt idx="2801">
                  <c:v>2.5602</c:v>
                </c:pt>
                <c:pt idx="2802">
                  <c:v>2.5603997999999999</c:v>
                </c:pt>
                <c:pt idx="2803">
                  <c:v>2.5606</c:v>
                </c:pt>
                <c:pt idx="2804">
                  <c:v>2.5607997999999998</c:v>
                </c:pt>
                <c:pt idx="2805">
                  <c:v>2.5609999000000001</c:v>
                </c:pt>
                <c:pt idx="2806">
                  <c:v>2.5612001000000002</c:v>
                </c:pt>
                <c:pt idx="2807">
                  <c:v>2.5613999000000001</c:v>
                </c:pt>
                <c:pt idx="2808">
                  <c:v>2.5615999999999999</c:v>
                </c:pt>
                <c:pt idx="2809">
                  <c:v>2.5617998000000002</c:v>
                </c:pt>
                <c:pt idx="2810">
                  <c:v>2.5619998000000002</c:v>
                </c:pt>
                <c:pt idx="2811">
                  <c:v>2.5622001000000001</c:v>
                </c:pt>
                <c:pt idx="2812">
                  <c:v>2.5623999</c:v>
                </c:pt>
                <c:pt idx="2813">
                  <c:v>2.5625998999999999</c:v>
                </c:pt>
                <c:pt idx="2814">
                  <c:v>2.5628001999999999</c:v>
                </c:pt>
                <c:pt idx="2815">
                  <c:v>2.5630000000000002</c:v>
                </c:pt>
                <c:pt idx="2816">
                  <c:v>2.5632000000000001</c:v>
                </c:pt>
                <c:pt idx="2817">
                  <c:v>2.5633998</c:v>
                </c:pt>
                <c:pt idx="2818">
                  <c:v>2.5635998</c:v>
                </c:pt>
                <c:pt idx="2819">
                  <c:v>2.5638000999999999</c:v>
                </c:pt>
                <c:pt idx="2820">
                  <c:v>2.5639999000000002</c:v>
                </c:pt>
                <c:pt idx="2821">
                  <c:v>2.5641999000000002</c:v>
                </c:pt>
                <c:pt idx="2822">
                  <c:v>2.5644</c:v>
                </c:pt>
                <c:pt idx="2823">
                  <c:v>2.5646</c:v>
                </c:pt>
                <c:pt idx="2824">
                  <c:v>2.5648</c:v>
                </c:pt>
                <c:pt idx="2825">
                  <c:v>2.5649997999999998</c:v>
                </c:pt>
                <c:pt idx="2826">
                  <c:v>2.5651999000000001</c:v>
                </c:pt>
                <c:pt idx="2827">
                  <c:v>2.5653999000000001</c:v>
                </c:pt>
                <c:pt idx="2828">
                  <c:v>2.5655999</c:v>
                </c:pt>
                <c:pt idx="2829">
                  <c:v>2.5657999999999999</c:v>
                </c:pt>
                <c:pt idx="2830">
                  <c:v>2.5659999999999998</c:v>
                </c:pt>
                <c:pt idx="2831">
                  <c:v>2.5661999999999998</c:v>
                </c:pt>
                <c:pt idx="2832">
                  <c:v>2.5663998000000001</c:v>
                </c:pt>
                <c:pt idx="2833">
                  <c:v>2.5665998000000001</c:v>
                </c:pt>
                <c:pt idx="2834">
                  <c:v>2.5667998999999999</c:v>
                </c:pt>
                <c:pt idx="2835">
                  <c:v>2.5669998999999999</c:v>
                </c:pt>
                <c:pt idx="2836">
                  <c:v>2.5671998999999999</c:v>
                </c:pt>
                <c:pt idx="2837">
                  <c:v>2.5674000000000001</c:v>
                </c:pt>
                <c:pt idx="2838">
                  <c:v>2.5676000000000001</c:v>
                </c:pt>
                <c:pt idx="2839">
                  <c:v>2.5678000000000001</c:v>
                </c:pt>
                <c:pt idx="2840">
                  <c:v>2.5679997999999999</c:v>
                </c:pt>
                <c:pt idx="2841">
                  <c:v>2.5681999000000002</c:v>
                </c:pt>
                <c:pt idx="2842">
                  <c:v>2.5683999000000002</c:v>
                </c:pt>
                <c:pt idx="2843">
                  <c:v>2.5685999000000002</c:v>
                </c:pt>
                <c:pt idx="2844">
                  <c:v>2.5688</c:v>
                </c:pt>
                <c:pt idx="2845">
                  <c:v>2.5689997999999998</c:v>
                </c:pt>
                <c:pt idx="2846">
                  <c:v>2.5691999999999999</c:v>
                </c:pt>
                <c:pt idx="2847">
                  <c:v>2.5694001000000002</c:v>
                </c:pt>
                <c:pt idx="2848">
                  <c:v>2.5695999</c:v>
                </c:pt>
                <c:pt idx="2849">
                  <c:v>2.5697999</c:v>
                </c:pt>
                <c:pt idx="2850">
                  <c:v>2.5699996999999999</c:v>
                </c:pt>
                <c:pt idx="2851">
                  <c:v>2.5701999999999998</c:v>
                </c:pt>
                <c:pt idx="2852">
                  <c:v>2.5703999999999998</c:v>
                </c:pt>
                <c:pt idx="2853">
                  <c:v>2.5705998000000001</c:v>
                </c:pt>
                <c:pt idx="2854">
                  <c:v>2.5708001</c:v>
                </c:pt>
                <c:pt idx="2855">
                  <c:v>2.5710001</c:v>
                </c:pt>
                <c:pt idx="2856">
                  <c:v>2.5711998999999999</c:v>
                </c:pt>
                <c:pt idx="2857">
                  <c:v>2.5713998999999998</c:v>
                </c:pt>
                <c:pt idx="2858">
                  <c:v>2.5715997000000002</c:v>
                </c:pt>
                <c:pt idx="2859">
                  <c:v>2.5718000000000001</c:v>
                </c:pt>
                <c:pt idx="2860">
                  <c:v>2.5720000000000001</c:v>
                </c:pt>
                <c:pt idx="2861">
                  <c:v>2.5721997999999999</c:v>
                </c:pt>
                <c:pt idx="2862">
                  <c:v>2.5724000999999999</c:v>
                </c:pt>
                <c:pt idx="2863">
                  <c:v>2.5725999000000002</c:v>
                </c:pt>
                <c:pt idx="2864">
                  <c:v>2.5727999000000001</c:v>
                </c:pt>
                <c:pt idx="2865">
                  <c:v>2.573</c:v>
                </c:pt>
                <c:pt idx="2866">
                  <c:v>2.5731997</c:v>
                </c:pt>
                <c:pt idx="2867">
                  <c:v>2.5733999999999999</c:v>
                </c:pt>
                <c:pt idx="2868">
                  <c:v>2.5735998000000002</c:v>
                </c:pt>
                <c:pt idx="2869">
                  <c:v>2.5737998000000002</c:v>
                </c:pt>
                <c:pt idx="2870">
                  <c:v>2.5740001000000001</c:v>
                </c:pt>
                <c:pt idx="2871">
                  <c:v>2.5741999</c:v>
                </c:pt>
                <c:pt idx="2872">
                  <c:v>2.5743999</c:v>
                </c:pt>
                <c:pt idx="2873">
                  <c:v>2.5746000000000002</c:v>
                </c:pt>
                <c:pt idx="2874">
                  <c:v>2.5747998000000001</c:v>
                </c:pt>
                <c:pt idx="2875">
                  <c:v>2.5750000000000002</c:v>
                </c:pt>
                <c:pt idx="2876">
                  <c:v>2.5751998</c:v>
                </c:pt>
                <c:pt idx="2877">
                  <c:v>2.5753998999999999</c:v>
                </c:pt>
                <c:pt idx="2878">
                  <c:v>2.5756000999999999</c:v>
                </c:pt>
                <c:pt idx="2879">
                  <c:v>2.5757998999999998</c:v>
                </c:pt>
                <c:pt idx="2880">
                  <c:v>2.5760000000000001</c:v>
                </c:pt>
                <c:pt idx="2881">
                  <c:v>2.5761997999999999</c:v>
                </c:pt>
                <c:pt idx="2882">
                  <c:v>2.5763997999999999</c:v>
                </c:pt>
                <c:pt idx="2883">
                  <c:v>2.5766000999999998</c:v>
                </c:pt>
                <c:pt idx="2884">
                  <c:v>2.5767999000000001</c:v>
                </c:pt>
                <c:pt idx="2885">
                  <c:v>2.5769999000000001</c:v>
                </c:pt>
                <c:pt idx="2886">
                  <c:v>2.5771999000000001</c:v>
                </c:pt>
                <c:pt idx="2887">
                  <c:v>2.5773999999999999</c:v>
                </c:pt>
                <c:pt idx="2888">
                  <c:v>2.5775999999999999</c:v>
                </c:pt>
                <c:pt idx="2889">
                  <c:v>2.5777998000000002</c:v>
                </c:pt>
                <c:pt idx="2890">
                  <c:v>2.5779998000000002</c:v>
                </c:pt>
                <c:pt idx="2891">
                  <c:v>2.5782001000000001</c:v>
                </c:pt>
                <c:pt idx="2892">
                  <c:v>2.5783999</c:v>
                </c:pt>
                <c:pt idx="2893">
                  <c:v>2.5785998999999999</c:v>
                </c:pt>
                <c:pt idx="2894">
                  <c:v>2.5788000000000002</c:v>
                </c:pt>
                <c:pt idx="2895">
                  <c:v>2.5790000000000002</c:v>
                </c:pt>
                <c:pt idx="2896">
                  <c:v>2.5792000000000002</c:v>
                </c:pt>
                <c:pt idx="2897">
                  <c:v>2.5793998</c:v>
                </c:pt>
                <c:pt idx="2898">
                  <c:v>2.5795998999999998</c:v>
                </c:pt>
                <c:pt idx="2899">
                  <c:v>2.5797998999999998</c:v>
                </c:pt>
                <c:pt idx="2900">
                  <c:v>2.5799998999999998</c:v>
                </c:pt>
                <c:pt idx="2901">
                  <c:v>2.5802</c:v>
                </c:pt>
                <c:pt idx="2902">
                  <c:v>2.5804</c:v>
                </c:pt>
                <c:pt idx="2903">
                  <c:v>2.5806</c:v>
                </c:pt>
                <c:pt idx="2904">
                  <c:v>2.5807997999999999</c:v>
                </c:pt>
                <c:pt idx="2905">
                  <c:v>2.5809999000000001</c:v>
                </c:pt>
                <c:pt idx="2906">
                  <c:v>2.5811999000000001</c:v>
                </c:pt>
                <c:pt idx="2907">
                  <c:v>2.5813999000000001</c:v>
                </c:pt>
                <c:pt idx="2908">
                  <c:v>2.5815999999999999</c:v>
                </c:pt>
                <c:pt idx="2909">
                  <c:v>2.5817996999999999</c:v>
                </c:pt>
                <c:pt idx="2910">
                  <c:v>2.5819999999999999</c:v>
                </c:pt>
                <c:pt idx="2911">
                  <c:v>2.5822001000000001</c:v>
                </c:pt>
                <c:pt idx="2912">
                  <c:v>2.5823998000000001</c:v>
                </c:pt>
                <c:pt idx="2913">
                  <c:v>2.5825998999999999</c:v>
                </c:pt>
                <c:pt idx="2914">
                  <c:v>2.5827998999999999</c:v>
                </c:pt>
                <c:pt idx="2915">
                  <c:v>2.5829998999999999</c:v>
                </c:pt>
                <c:pt idx="2916">
                  <c:v>2.5832000000000002</c:v>
                </c:pt>
                <c:pt idx="2917">
                  <c:v>2.5833998</c:v>
                </c:pt>
                <c:pt idx="2918">
                  <c:v>2.5836000000000001</c:v>
                </c:pt>
                <c:pt idx="2919">
                  <c:v>2.5838000999999999</c:v>
                </c:pt>
                <c:pt idx="2920">
                  <c:v>2.5839998999999998</c:v>
                </c:pt>
                <c:pt idx="2921">
                  <c:v>2.5841999000000002</c:v>
                </c:pt>
                <c:pt idx="2922">
                  <c:v>2.5843997000000001</c:v>
                </c:pt>
                <c:pt idx="2923">
                  <c:v>2.5846</c:v>
                </c:pt>
                <c:pt idx="2924">
                  <c:v>2.5848</c:v>
                </c:pt>
                <c:pt idx="2925">
                  <c:v>2.5849997999999998</c:v>
                </c:pt>
                <c:pt idx="2926">
                  <c:v>2.5852000999999998</c:v>
                </c:pt>
                <c:pt idx="2927">
                  <c:v>2.5854001000000002</c:v>
                </c:pt>
                <c:pt idx="2928">
                  <c:v>2.5855999000000001</c:v>
                </c:pt>
                <c:pt idx="2929">
                  <c:v>2.5857999</c:v>
                </c:pt>
                <c:pt idx="2930">
                  <c:v>2.5859996999999999</c:v>
                </c:pt>
                <c:pt idx="2931">
                  <c:v>2.5861999999999998</c:v>
                </c:pt>
                <c:pt idx="2932">
                  <c:v>2.5863999999999998</c:v>
                </c:pt>
                <c:pt idx="2933">
                  <c:v>2.5865998000000001</c:v>
                </c:pt>
                <c:pt idx="2934">
                  <c:v>2.5868001</c:v>
                </c:pt>
                <c:pt idx="2935">
                  <c:v>2.5869998999999999</c:v>
                </c:pt>
                <c:pt idx="2936">
                  <c:v>2.5871998999999999</c:v>
                </c:pt>
                <c:pt idx="2937">
                  <c:v>2.5874000000000001</c:v>
                </c:pt>
                <c:pt idx="2938">
                  <c:v>2.5875998</c:v>
                </c:pt>
                <c:pt idx="2939">
                  <c:v>2.5878000000000001</c:v>
                </c:pt>
                <c:pt idx="2940">
                  <c:v>2.5879998</c:v>
                </c:pt>
                <c:pt idx="2941">
                  <c:v>2.5881999000000002</c:v>
                </c:pt>
                <c:pt idx="2942">
                  <c:v>2.5884000999999999</c:v>
                </c:pt>
                <c:pt idx="2943">
                  <c:v>2.5885999000000002</c:v>
                </c:pt>
                <c:pt idx="2944">
                  <c:v>2.5888</c:v>
                </c:pt>
                <c:pt idx="2945">
                  <c:v>2.5889997</c:v>
                </c:pt>
                <c:pt idx="2946">
                  <c:v>2.5891997999999998</c:v>
                </c:pt>
                <c:pt idx="2947">
                  <c:v>2.5894001000000002</c:v>
                </c:pt>
                <c:pt idx="2948">
                  <c:v>2.5895997999999998</c:v>
                </c:pt>
                <c:pt idx="2949">
                  <c:v>2.5897999</c:v>
                </c:pt>
                <c:pt idx="2950">
                  <c:v>2.5900002</c:v>
                </c:pt>
                <c:pt idx="2951">
                  <c:v>2.5901999</c:v>
                </c:pt>
                <c:pt idx="2952">
                  <c:v>2.5903999999999998</c:v>
                </c:pt>
                <c:pt idx="2953">
                  <c:v>2.5905998000000001</c:v>
                </c:pt>
                <c:pt idx="2954">
                  <c:v>2.5907998000000001</c:v>
                </c:pt>
                <c:pt idx="2955">
                  <c:v>2.5910001</c:v>
                </c:pt>
                <c:pt idx="2956">
                  <c:v>2.5911998999999999</c:v>
                </c:pt>
                <c:pt idx="2957">
                  <c:v>2.5913998999999999</c:v>
                </c:pt>
                <c:pt idx="2958">
                  <c:v>2.5915998999999998</c:v>
                </c:pt>
                <c:pt idx="2959">
                  <c:v>2.5918000000000001</c:v>
                </c:pt>
                <c:pt idx="2960">
                  <c:v>2.5920000000000001</c:v>
                </c:pt>
                <c:pt idx="2961">
                  <c:v>2.5921997999999999</c:v>
                </c:pt>
                <c:pt idx="2962">
                  <c:v>2.5923997999999999</c:v>
                </c:pt>
                <c:pt idx="2963">
                  <c:v>2.5926000999999999</c:v>
                </c:pt>
                <c:pt idx="2964">
                  <c:v>2.5927999000000002</c:v>
                </c:pt>
                <c:pt idx="2965">
                  <c:v>2.5929999000000001</c:v>
                </c:pt>
                <c:pt idx="2966">
                  <c:v>2.5931999999999999</c:v>
                </c:pt>
                <c:pt idx="2967">
                  <c:v>2.5933999999999999</c:v>
                </c:pt>
                <c:pt idx="2968">
                  <c:v>2.5935999999999999</c:v>
                </c:pt>
                <c:pt idx="2969">
                  <c:v>2.5937998000000002</c:v>
                </c:pt>
                <c:pt idx="2970">
                  <c:v>2.5939999</c:v>
                </c:pt>
                <c:pt idx="2971">
                  <c:v>2.5941999</c:v>
                </c:pt>
                <c:pt idx="2972">
                  <c:v>2.5943999</c:v>
                </c:pt>
                <c:pt idx="2973">
                  <c:v>2.5945999999999998</c:v>
                </c:pt>
                <c:pt idx="2974">
                  <c:v>2.5948000000000002</c:v>
                </c:pt>
                <c:pt idx="2975">
                  <c:v>2.5950000000000002</c:v>
                </c:pt>
                <c:pt idx="2976">
                  <c:v>2.5951998000000001</c:v>
                </c:pt>
                <c:pt idx="2977">
                  <c:v>2.5953998999999999</c:v>
                </c:pt>
                <c:pt idx="2978">
                  <c:v>2.5955998999999998</c:v>
                </c:pt>
                <c:pt idx="2979">
                  <c:v>2.5957998999999998</c:v>
                </c:pt>
                <c:pt idx="2980">
                  <c:v>2.5960000000000001</c:v>
                </c:pt>
                <c:pt idx="2981">
                  <c:v>2.5961997999999999</c:v>
                </c:pt>
                <c:pt idx="2982">
                  <c:v>2.5964</c:v>
                </c:pt>
                <c:pt idx="2983">
                  <c:v>2.5966000999999999</c:v>
                </c:pt>
                <c:pt idx="2984">
                  <c:v>2.5967999000000002</c:v>
                </c:pt>
                <c:pt idx="2985">
                  <c:v>2.5969999000000001</c:v>
                </c:pt>
                <c:pt idx="2986">
                  <c:v>2.5971999000000001</c:v>
                </c:pt>
                <c:pt idx="2987">
                  <c:v>2.5973999999999999</c:v>
                </c:pt>
                <c:pt idx="2988">
                  <c:v>2.5975999999999999</c:v>
                </c:pt>
                <c:pt idx="2989">
                  <c:v>2.5977998000000002</c:v>
                </c:pt>
                <c:pt idx="2990">
                  <c:v>2.5979999999999999</c:v>
                </c:pt>
                <c:pt idx="2991">
                  <c:v>2.5982001000000001</c:v>
                </c:pt>
                <c:pt idx="2992">
                  <c:v>2.5983999</c:v>
                </c:pt>
                <c:pt idx="2993">
                  <c:v>2.5985999</c:v>
                </c:pt>
                <c:pt idx="2994">
                  <c:v>2.5987996999999998</c:v>
                </c:pt>
                <c:pt idx="2995">
                  <c:v>2.5990000000000002</c:v>
                </c:pt>
                <c:pt idx="2996">
                  <c:v>2.5992000000000002</c:v>
                </c:pt>
                <c:pt idx="2997">
                  <c:v>2.5993998</c:v>
                </c:pt>
                <c:pt idx="2998">
                  <c:v>2.5996001</c:v>
                </c:pt>
                <c:pt idx="2999">
                  <c:v>2.5997998999999998</c:v>
                </c:pt>
                <c:pt idx="3000">
                  <c:v>2.5999998999999998</c:v>
                </c:pt>
                <c:pt idx="3001">
                  <c:v>2.6001998999999998</c:v>
                </c:pt>
                <c:pt idx="3002">
                  <c:v>2.6003997000000001</c:v>
                </c:pt>
                <c:pt idx="3003">
                  <c:v>2.6006</c:v>
                </c:pt>
                <c:pt idx="3004">
                  <c:v>2.6008</c:v>
                </c:pt>
                <c:pt idx="3005">
                  <c:v>2.6009997999999999</c:v>
                </c:pt>
                <c:pt idx="3006">
                  <c:v>2.6012000999999998</c:v>
                </c:pt>
                <c:pt idx="3007">
                  <c:v>2.6013999000000001</c:v>
                </c:pt>
                <c:pt idx="3008">
                  <c:v>2.6015999000000001</c:v>
                </c:pt>
                <c:pt idx="3009">
                  <c:v>2.6017999999999999</c:v>
                </c:pt>
                <c:pt idx="3010">
                  <c:v>2.6019998000000002</c:v>
                </c:pt>
                <c:pt idx="3011">
                  <c:v>2.6021999999999998</c:v>
                </c:pt>
                <c:pt idx="3012">
                  <c:v>2.6023998000000002</c:v>
                </c:pt>
                <c:pt idx="3013">
                  <c:v>2.6025999</c:v>
                </c:pt>
                <c:pt idx="3014">
                  <c:v>2.6028001000000001</c:v>
                </c:pt>
                <c:pt idx="3015">
                  <c:v>2.6029998999999999</c:v>
                </c:pt>
                <c:pt idx="3016">
                  <c:v>2.6032000000000002</c:v>
                </c:pt>
                <c:pt idx="3017">
                  <c:v>2.6033998</c:v>
                </c:pt>
                <c:pt idx="3018">
                  <c:v>2.6035998</c:v>
                </c:pt>
                <c:pt idx="3019">
                  <c:v>2.6038001</c:v>
                </c:pt>
                <c:pt idx="3020">
                  <c:v>2.6039998999999998</c:v>
                </c:pt>
                <c:pt idx="3021">
                  <c:v>2.6041998999999998</c:v>
                </c:pt>
                <c:pt idx="3022">
                  <c:v>2.6044002000000002</c:v>
                </c:pt>
                <c:pt idx="3023">
                  <c:v>2.6046</c:v>
                </c:pt>
                <c:pt idx="3024">
                  <c:v>2.6048</c:v>
                </c:pt>
                <c:pt idx="3025">
                  <c:v>2.6049997999999999</c:v>
                </c:pt>
                <c:pt idx="3026">
                  <c:v>2.6051997999999998</c:v>
                </c:pt>
                <c:pt idx="3027">
                  <c:v>2.6054001000000002</c:v>
                </c:pt>
                <c:pt idx="3028">
                  <c:v>2.6055999000000001</c:v>
                </c:pt>
                <c:pt idx="3029">
                  <c:v>2.6057999000000001</c:v>
                </c:pt>
                <c:pt idx="3030">
                  <c:v>2.6059999</c:v>
                </c:pt>
                <c:pt idx="3031">
                  <c:v>2.6061999999999999</c:v>
                </c:pt>
                <c:pt idx="3032">
                  <c:v>2.6063999999999998</c:v>
                </c:pt>
                <c:pt idx="3033">
                  <c:v>2.6065998000000001</c:v>
                </c:pt>
                <c:pt idx="3034">
                  <c:v>2.6067998000000001</c:v>
                </c:pt>
                <c:pt idx="3035">
                  <c:v>2.6069998999999999</c:v>
                </c:pt>
                <c:pt idx="3036">
                  <c:v>2.6071998999999999</c:v>
                </c:pt>
                <c:pt idx="3037">
                  <c:v>2.6073998999999999</c:v>
                </c:pt>
                <c:pt idx="3038">
                  <c:v>2.6076000000000001</c:v>
                </c:pt>
                <c:pt idx="3039">
                  <c:v>2.6078000000000001</c:v>
                </c:pt>
                <c:pt idx="3040">
                  <c:v>2.6080000000000001</c:v>
                </c:pt>
                <c:pt idx="3041">
                  <c:v>2.6081998</c:v>
                </c:pt>
                <c:pt idx="3042">
                  <c:v>2.6083999000000002</c:v>
                </c:pt>
                <c:pt idx="3043">
                  <c:v>2.6085999000000002</c:v>
                </c:pt>
                <c:pt idx="3044">
                  <c:v>2.6087999000000002</c:v>
                </c:pt>
                <c:pt idx="3045">
                  <c:v>2.609</c:v>
                </c:pt>
                <c:pt idx="3046">
                  <c:v>2.6092</c:v>
                </c:pt>
                <c:pt idx="3047">
                  <c:v>2.6093999999999999</c:v>
                </c:pt>
                <c:pt idx="3048">
                  <c:v>2.6095997999999998</c:v>
                </c:pt>
                <c:pt idx="3049">
                  <c:v>2.6097999000000001</c:v>
                </c:pt>
                <c:pt idx="3050">
                  <c:v>2.6099999</c:v>
                </c:pt>
                <c:pt idx="3051">
                  <c:v>2.6101999</c:v>
                </c:pt>
                <c:pt idx="3052">
                  <c:v>2.6103999999999998</c:v>
                </c:pt>
                <c:pt idx="3053">
                  <c:v>2.6105998000000001</c:v>
                </c:pt>
                <c:pt idx="3054">
                  <c:v>2.6107999999999998</c:v>
                </c:pt>
                <c:pt idx="3055">
                  <c:v>2.6110001</c:v>
                </c:pt>
                <c:pt idx="3056">
                  <c:v>2.6111998999999999</c:v>
                </c:pt>
                <c:pt idx="3057">
                  <c:v>2.6113998999999999</c:v>
                </c:pt>
                <c:pt idx="3058">
                  <c:v>2.6115997000000002</c:v>
                </c:pt>
                <c:pt idx="3059">
                  <c:v>2.6118000000000001</c:v>
                </c:pt>
                <c:pt idx="3060">
                  <c:v>2.6120000000000001</c:v>
                </c:pt>
                <c:pt idx="3061">
                  <c:v>2.6121998</c:v>
                </c:pt>
                <c:pt idx="3062">
                  <c:v>2.6124000999999999</c:v>
                </c:pt>
                <c:pt idx="3063">
                  <c:v>2.6126000999999999</c:v>
                </c:pt>
                <c:pt idx="3064">
                  <c:v>2.6127999000000002</c:v>
                </c:pt>
                <c:pt idx="3065">
                  <c:v>2.6129999000000002</c:v>
                </c:pt>
                <c:pt idx="3066">
                  <c:v>2.6131997</c:v>
                </c:pt>
                <c:pt idx="3067">
                  <c:v>2.6133999999999999</c:v>
                </c:pt>
                <c:pt idx="3068">
                  <c:v>2.6135999999999999</c:v>
                </c:pt>
                <c:pt idx="3069">
                  <c:v>2.6137997999999998</c:v>
                </c:pt>
                <c:pt idx="3070">
                  <c:v>2.6140001000000002</c:v>
                </c:pt>
                <c:pt idx="3071">
                  <c:v>2.6141999</c:v>
                </c:pt>
                <c:pt idx="3072">
                  <c:v>2.6143999</c:v>
                </c:pt>
                <c:pt idx="3073">
                  <c:v>2.6145999</c:v>
                </c:pt>
                <c:pt idx="3074">
                  <c:v>2.6147996999999998</c:v>
                </c:pt>
                <c:pt idx="3075">
                  <c:v>2.6150000000000002</c:v>
                </c:pt>
                <c:pt idx="3076">
                  <c:v>2.6152000000000002</c:v>
                </c:pt>
                <c:pt idx="3077">
                  <c:v>2.6153998000000001</c:v>
                </c:pt>
                <c:pt idx="3078">
                  <c:v>2.6156001</c:v>
                </c:pt>
                <c:pt idx="3079">
                  <c:v>2.6157998999999998</c:v>
                </c:pt>
                <c:pt idx="3080">
                  <c:v>2.6159998999999998</c:v>
                </c:pt>
                <c:pt idx="3081">
                  <c:v>2.6162000000000001</c:v>
                </c:pt>
                <c:pt idx="3082">
                  <c:v>2.6163997999999999</c:v>
                </c:pt>
                <c:pt idx="3083">
                  <c:v>2.6166</c:v>
                </c:pt>
                <c:pt idx="3084">
                  <c:v>2.6167997999999999</c:v>
                </c:pt>
                <c:pt idx="3085">
                  <c:v>2.6169999000000002</c:v>
                </c:pt>
                <c:pt idx="3086">
                  <c:v>2.6172000999999998</c:v>
                </c:pt>
                <c:pt idx="3087">
                  <c:v>2.6173999000000001</c:v>
                </c:pt>
                <c:pt idx="3088">
                  <c:v>2.6175999999999999</c:v>
                </c:pt>
                <c:pt idx="3089">
                  <c:v>2.6177997999999998</c:v>
                </c:pt>
                <c:pt idx="3090">
                  <c:v>2.6179998000000002</c:v>
                </c:pt>
                <c:pt idx="3091">
                  <c:v>2.6182001000000001</c:v>
                </c:pt>
                <c:pt idx="3092">
                  <c:v>2.6183999</c:v>
                </c:pt>
                <c:pt idx="3093">
                  <c:v>2.6185999</c:v>
                </c:pt>
                <c:pt idx="3094">
                  <c:v>2.6188001999999999</c:v>
                </c:pt>
                <c:pt idx="3095">
                  <c:v>2.6190000000000002</c:v>
                </c:pt>
                <c:pt idx="3096">
                  <c:v>2.6192000000000002</c:v>
                </c:pt>
                <c:pt idx="3097">
                  <c:v>2.6193998000000001</c:v>
                </c:pt>
                <c:pt idx="3098">
                  <c:v>2.6195998</c:v>
                </c:pt>
                <c:pt idx="3099">
                  <c:v>2.6198001</c:v>
                </c:pt>
                <c:pt idx="3100">
                  <c:v>2.6199998999999998</c:v>
                </c:pt>
                <c:pt idx="3101">
                  <c:v>2.6201998999999998</c:v>
                </c:pt>
                <c:pt idx="3102">
                  <c:v>2.6204000000000001</c:v>
                </c:pt>
                <c:pt idx="3103">
                  <c:v>2.6206</c:v>
                </c:pt>
                <c:pt idx="3104">
                  <c:v>2.6208</c:v>
                </c:pt>
                <c:pt idx="3105">
                  <c:v>2.6209997999999999</c:v>
                </c:pt>
                <c:pt idx="3106">
                  <c:v>2.6211997999999999</c:v>
                </c:pt>
                <c:pt idx="3107">
                  <c:v>2.6213999000000001</c:v>
                </c:pt>
                <c:pt idx="3108">
                  <c:v>2.6215999000000001</c:v>
                </c:pt>
                <c:pt idx="3109">
                  <c:v>2.6217999000000001</c:v>
                </c:pt>
                <c:pt idx="3110">
                  <c:v>2.6219999999999999</c:v>
                </c:pt>
                <c:pt idx="3111">
                  <c:v>2.6221999999999999</c:v>
                </c:pt>
                <c:pt idx="3112">
                  <c:v>2.6223998000000002</c:v>
                </c:pt>
                <c:pt idx="3113">
                  <c:v>2.6225998000000001</c:v>
                </c:pt>
                <c:pt idx="3114">
                  <c:v>2.6227999</c:v>
                </c:pt>
                <c:pt idx="3115">
                  <c:v>2.6229998999999999</c:v>
                </c:pt>
                <c:pt idx="3116">
                  <c:v>2.6231998999999999</c:v>
                </c:pt>
                <c:pt idx="3117">
                  <c:v>2.6234000000000002</c:v>
                </c:pt>
                <c:pt idx="3118">
                  <c:v>2.6236000000000002</c:v>
                </c:pt>
                <c:pt idx="3119">
                  <c:v>2.6238000000000001</c:v>
                </c:pt>
                <c:pt idx="3120">
                  <c:v>2.6239998</c:v>
                </c:pt>
                <c:pt idx="3121">
                  <c:v>2.6241998999999998</c:v>
                </c:pt>
                <c:pt idx="3122">
                  <c:v>2.6243998999999998</c:v>
                </c:pt>
                <c:pt idx="3123">
                  <c:v>2.6245999000000002</c:v>
                </c:pt>
                <c:pt idx="3124">
                  <c:v>2.6248</c:v>
                </c:pt>
                <c:pt idx="3125">
                  <c:v>2.6249997999999999</c:v>
                </c:pt>
                <c:pt idx="3126">
                  <c:v>2.6252</c:v>
                </c:pt>
                <c:pt idx="3127">
                  <c:v>2.6254000999999998</c:v>
                </c:pt>
                <c:pt idx="3128">
                  <c:v>2.6255999000000001</c:v>
                </c:pt>
                <c:pt idx="3129">
                  <c:v>2.6257999000000001</c:v>
                </c:pt>
                <c:pt idx="3130">
                  <c:v>2.6259996999999999</c:v>
                </c:pt>
                <c:pt idx="3131">
                  <c:v>2.6261999999999999</c:v>
                </c:pt>
                <c:pt idx="3132">
                  <c:v>2.6263999999999998</c:v>
                </c:pt>
                <c:pt idx="3133">
                  <c:v>2.6265998000000002</c:v>
                </c:pt>
                <c:pt idx="3134">
                  <c:v>2.6268001000000001</c:v>
                </c:pt>
                <c:pt idx="3135">
                  <c:v>2.6270001000000001</c:v>
                </c:pt>
                <c:pt idx="3136">
                  <c:v>2.6271998999999999</c:v>
                </c:pt>
                <c:pt idx="3137">
                  <c:v>2.6273998999999999</c:v>
                </c:pt>
                <c:pt idx="3138">
                  <c:v>2.6275997000000002</c:v>
                </c:pt>
                <c:pt idx="3139">
                  <c:v>2.6278000000000001</c:v>
                </c:pt>
                <c:pt idx="3140">
                  <c:v>2.6280000000000001</c:v>
                </c:pt>
                <c:pt idx="3141">
                  <c:v>2.6281998</c:v>
                </c:pt>
                <c:pt idx="3142">
                  <c:v>2.6284000999999999</c:v>
                </c:pt>
                <c:pt idx="3143">
                  <c:v>2.6285999000000002</c:v>
                </c:pt>
                <c:pt idx="3144">
                  <c:v>2.6287999000000002</c:v>
                </c:pt>
                <c:pt idx="3145">
                  <c:v>2.6289999000000002</c:v>
                </c:pt>
                <c:pt idx="3146">
                  <c:v>2.6291997</c:v>
                </c:pt>
                <c:pt idx="3147">
                  <c:v>2.6294</c:v>
                </c:pt>
                <c:pt idx="3148">
                  <c:v>2.6295997999999998</c:v>
                </c:pt>
                <c:pt idx="3149">
                  <c:v>2.6297997999999998</c:v>
                </c:pt>
                <c:pt idx="3150">
                  <c:v>2.6300001000000002</c:v>
                </c:pt>
                <c:pt idx="3151">
                  <c:v>2.6301999</c:v>
                </c:pt>
                <c:pt idx="3152">
                  <c:v>2.6303999</c:v>
                </c:pt>
                <c:pt idx="3153">
                  <c:v>2.6305999999999998</c:v>
                </c:pt>
                <c:pt idx="3154">
                  <c:v>2.6307998000000001</c:v>
                </c:pt>
                <c:pt idx="3155">
                  <c:v>2.6309999999999998</c:v>
                </c:pt>
                <c:pt idx="3156">
                  <c:v>2.6311998000000001</c:v>
                </c:pt>
                <c:pt idx="3157">
                  <c:v>2.6313998999999999</c:v>
                </c:pt>
                <c:pt idx="3158">
                  <c:v>2.6316001</c:v>
                </c:pt>
                <c:pt idx="3159">
                  <c:v>2.6317998999999999</c:v>
                </c:pt>
                <c:pt idx="3160">
                  <c:v>2.6320000000000001</c:v>
                </c:pt>
                <c:pt idx="3161">
                  <c:v>2.6321998</c:v>
                </c:pt>
                <c:pt idx="3162">
                  <c:v>2.6323998</c:v>
                </c:pt>
                <c:pt idx="3163">
                  <c:v>2.6326000999999999</c:v>
                </c:pt>
                <c:pt idx="3164">
                  <c:v>2.6327999000000002</c:v>
                </c:pt>
                <c:pt idx="3165">
                  <c:v>2.6329999000000002</c:v>
                </c:pt>
                <c:pt idx="3166">
                  <c:v>2.6332002000000001</c:v>
                </c:pt>
                <c:pt idx="3167">
                  <c:v>2.6334</c:v>
                </c:pt>
                <c:pt idx="3168">
                  <c:v>2.6335999999999999</c:v>
                </c:pt>
                <c:pt idx="3169">
                  <c:v>2.6337997999999998</c:v>
                </c:pt>
                <c:pt idx="3170">
                  <c:v>2.6339997999999998</c:v>
                </c:pt>
                <c:pt idx="3171">
                  <c:v>2.6342001000000002</c:v>
                </c:pt>
                <c:pt idx="3172">
                  <c:v>2.6343999</c:v>
                </c:pt>
                <c:pt idx="3173">
                  <c:v>2.6345999</c:v>
                </c:pt>
                <c:pt idx="3174">
                  <c:v>2.6347999999999998</c:v>
                </c:pt>
                <c:pt idx="3175">
                  <c:v>2.6349999999999998</c:v>
                </c:pt>
                <c:pt idx="3176">
                  <c:v>2.6352000000000002</c:v>
                </c:pt>
                <c:pt idx="3177">
                  <c:v>2.6353998000000001</c:v>
                </c:pt>
                <c:pt idx="3178">
                  <c:v>2.6355998999999999</c:v>
                </c:pt>
                <c:pt idx="3179">
                  <c:v>2.6357998999999999</c:v>
                </c:pt>
                <c:pt idx="3180">
                  <c:v>2.6359998999999998</c:v>
                </c:pt>
                <c:pt idx="3181">
                  <c:v>2.6362000000000001</c:v>
                </c:pt>
                <c:pt idx="3182">
                  <c:v>2.6364000000000001</c:v>
                </c:pt>
                <c:pt idx="3183">
                  <c:v>2.6366000000000001</c:v>
                </c:pt>
                <c:pt idx="3184">
                  <c:v>2.6367997999999999</c:v>
                </c:pt>
                <c:pt idx="3185">
                  <c:v>2.6369997999999999</c:v>
                </c:pt>
                <c:pt idx="3186">
                  <c:v>2.6371999000000002</c:v>
                </c:pt>
                <c:pt idx="3187">
                  <c:v>2.6373999000000001</c:v>
                </c:pt>
                <c:pt idx="3188">
                  <c:v>2.6375999000000001</c:v>
                </c:pt>
                <c:pt idx="3189">
                  <c:v>2.6377999999999999</c:v>
                </c:pt>
                <c:pt idx="3190">
                  <c:v>2.6379999999999999</c:v>
                </c:pt>
                <c:pt idx="3191">
                  <c:v>2.6381999999999999</c:v>
                </c:pt>
                <c:pt idx="3192">
                  <c:v>2.6383998000000002</c:v>
                </c:pt>
                <c:pt idx="3193">
                  <c:v>2.6385999</c:v>
                </c:pt>
                <c:pt idx="3194">
                  <c:v>2.6387999</c:v>
                </c:pt>
                <c:pt idx="3195">
                  <c:v>2.6389999</c:v>
                </c:pt>
                <c:pt idx="3196">
                  <c:v>2.6392000000000002</c:v>
                </c:pt>
                <c:pt idx="3197">
                  <c:v>2.6393998000000001</c:v>
                </c:pt>
                <c:pt idx="3198">
                  <c:v>2.6396000000000002</c:v>
                </c:pt>
                <c:pt idx="3199">
                  <c:v>2.6398001</c:v>
                </c:pt>
                <c:pt idx="3200">
                  <c:v>2.6399998999999998</c:v>
                </c:pt>
                <c:pt idx="3201">
                  <c:v>2.6401998999999998</c:v>
                </c:pt>
                <c:pt idx="3202">
                  <c:v>2.6403997000000001</c:v>
                </c:pt>
                <c:pt idx="3203">
                  <c:v>2.6406000000000001</c:v>
                </c:pt>
                <c:pt idx="3204">
                  <c:v>2.6408</c:v>
                </c:pt>
                <c:pt idx="3205">
                  <c:v>2.6409997999999999</c:v>
                </c:pt>
                <c:pt idx="3206">
                  <c:v>2.6412000999999998</c:v>
                </c:pt>
                <c:pt idx="3207">
                  <c:v>2.6414000999999998</c:v>
                </c:pt>
                <c:pt idx="3208">
                  <c:v>2.6415999000000001</c:v>
                </c:pt>
                <c:pt idx="3209">
                  <c:v>2.6417999000000001</c:v>
                </c:pt>
                <c:pt idx="3210">
                  <c:v>2.6419997</c:v>
                </c:pt>
                <c:pt idx="3211">
                  <c:v>2.6421999999999999</c:v>
                </c:pt>
                <c:pt idx="3212">
                  <c:v>2.6423999999999999</c:v>
                </c:pt>
                <c:pt idx="3213">
                  <c:v>2.6425998000000002</c:v>
                </c:pt>
                <c:pt idx="3214">
                  <c:v>2.6428001000000001</c:v>
                </c:pt>
                <c:pt idx="3215">
                  <c:v>2.6429999</c:v>
                </c:pt>
                <c:pt idx="3216">
                  <c:v>2.6431998999999999</c:v>
                </c:pt>
                <c:pt idx="3217">
                  <c:v>2.6434000000000002</c:v>
                </c:pt>
                <c:pt idx="3218">
                  <c:v>2.6435997000000002</c:v>
                </c:pt>
                <c:pt idx="3219">
                  <c:v>2.6438000000000001</c:v>
                </c:pt>
                <c:pt idx="3220">
                  <c:v>2.6439998</c:v>
                </c:pt>
                <c:pt idx="3221">
                  <c:v>2.6441998</c:v>
                </c:pt>
                <c:pt idx="3222">
                  <c:v>2.6444000999999999</c:v>
                </c:pt>
                <c:pt idx="3223">
                  <c:v>2.6445998999999998</c:v>
                </c:pt>
                <c:pt idx="3224">
                  <c:v>2.6447999000000002</c:v>
                </c:pt>
                <c:pt idx="3225">
                  <c:v>2.6449997000000001</c:v>
                </c:pt>
                <c:pt idx="3226">
                  <c:v>2.6451997999999999</c:v>
                </c:pt>
                <c:pt idx="3227">
                  <c:v>2.6454</c:v>
                </c:pt>
                <c:pt idx="3228">
                  <c:v>2.6455997999999998</c:v>
                </c:pt>
                <c:pt idx="3229">
                  <c:v>2.6457999000000001</c:v>
                </c:pt>
                <c:pt idx="3230">
                  <c:v>2.6460001000000002</c:v>
                </c:pt>
                <c:pt idx="3231">
                  <c:v>2.6461999</c:v>
                </c:pt>
                <c:pt idx="3232">
                  <c:v>2.6463999999999999</c:v>
                </c:pt>
                <c:pt idx="3233">
                  <c:v>2.6465998000000002</c:v>
                </c:pt>
                <c:pt idx="3234">
                  <c:v>2.6467998000000001</c:v>
                </c:pt>
                <c:pt idx="3235">
                  <c:v>2.6470001000000001</c:v>
                </c:pt>
                <c:pt idx="3236">
                  <c:v>2.6471998999999999</c:v>
                </c:pt>
                <c:pt idx="3237">
                  <c:v>2.6473998999999999</c:v>
                </c:pt>
                <c:pt idx="3238">
                  <c:v>2.6475998999999999</c:v>
                </c:pt>
                <c:pt idx="3239">
                  <c:v>2.6478000000000002</c:v>
                </c:pt>
                <c:pt idx="3240">
                  <c:v>2.6480000000000001</c:v>
                </c:pt>
                <c:pt idx="3241">
                  <c:v>2.6481998</c:v>
                </c:pt>
                <c:pt idx="3242">
                  <c:v>2.6483998</c:v>
                </c:pt>
                <c:pt idx="3243">
                  <c:v>2.6486000999999999</c:v>
                </c:pt>
                <c:pt idx="3244">
                  <c:v>2.6487999000000002</c:v>
                </c:pt>
                <c:pt idx="3245">
                  <c:v>2.6489999000000002</c:v>
                </c:pt>
                <c:pt idx="3246">
                  <c:v>2.6492</c:v>
                </c:pt>
                <c:pt idx="3247">
                  <c:v>2.6494</c:v>
                </c:pt>
                <c:pt idx="3248">
                  <c:v>2.6496</c:v>
                </c:pt>
                <c:pt idx="3249">
                  <c:v>2.6497997999999998</c:v>
                </c:pt>
                <c:pt idx="3250">
                  <c:v>2.6499999000000001</c:v>
                </c:pt>
                <c:pt idx="3251">
                  <c:v>2.6501999000000001</c:v>
                </c:pt>
                <c:pt idx="3252">
                  <c:v>2.6503999</c:v>
                </c:pt>
                <c:pt idx="3253">
                  <c:v>2.6505999999999998</c:v>
                </c:pt>
                <c:pt idx="3254">
                  <c:v>2.6507999999999998</c:v>
                </c:pt>
                <c:pt idx="3255">
                  <c:v>2.6509999999999998</c:v>
                </c:pt>
                <c:pt idx="3256">
                  <c:v>2.6511998000000001</c:v>
                </c:pt>
                <c:pt idx="3257">
                  <c:v>2.6513998999999999</c:v>
                </c:pt>
                <c:pt idx="3258">
                  <c:v>2.6515998999999999</c:v>
                </c:pt>
                <c:pt idx="3259">
                  <c:v>2.6517998999999999</c:v>
                </c:pt>
                <c:pt idx="3260">
                  <c:v>2.6520000000000001</c:v>
                </c:pt>
                <c:pt idx="3261">
                  <c:v>2.6521997000000002</c:v>
                </c:pt>
                <c:pt idx="3262">
                  <c:v>2.6524000000000001</c:v>
                </c:pt>
                <c:pt idx="3263">
                  <c:v>2.6526000000000001</c:v>
                </c:pt>
                <c:pt idx="3264">
                  <c:v>2.6527997999999999</c:v>
                </c:pt>
                <c:pt idx="3265">
                  <c:v>2.6529999000000002</c:v>
                </c:pt>
                <c:pt idx="3266">
                  <c:v>2.6531999000000002</c:v>
                </c:pt>
                <c:pt idx="3267">
                  <c:v>2.6533999000000001</c:v>
                </c:pt>
                <c:pt idx="3268">
                  <c:v>2.6536</c:v>
                </c:pt>
                <c:pt idx="3269">
                  <c:v>2.6537997999999998</c:v>
                </c:pt>
                <c:pt idx="3270">
                  <c:v>2.6539999999999999</c:v>
                </c:pt>
                <c:pt idx="3271">
                  <c:v>2.6542001000000002</c:v>
                </c:pt>
                <c:pt idx="3272">
                  <c:v>2.6543999</c:v>
                </c:pt>
                <c:pt idx="3273">
                  <c:v>2.6545999</c:v>
                </c:pt>
                <c:pt idx="3274">
                  <c:v>2.6547996999999999</c:v>
                </c:pt>
                <c:pt idx="3275">
                  <c:v>2.6549999999999998</c:v>
                </c:pt>
                <c:pt idx="3276">
                  <c:v>2.6551999999999998</c:v>
                </c:pt>
                <c:pt idx="3277">
                  <c:v>2.6553998000000001</c:v>
                </c:pt>
                <c:pt idx="3278">
                  <c:v>2.6556001</c:v>
                </c:pt>
                <c:pt idx="3279">
                  <c:v>2.6558001</c:v>
                </c:pt>
                <c:pt idx="3280">
                  <c:v>2.6559998999999999</c:v>
                </c:pt>
                <c:pt idx="3281">
                  <c:v>2.6561998999999998</c:v>
                </c:pt>
                <c:pt idx="3282">
                  <c:v>2.6563997000000001</c:v>
                </c:pt>
                <c:pt idx="3283">
                  <c:v>2.6566000000000001</c:v>
                </c:pt>
                <c:pt idx="3284">
                  <c:v>2.6568000000000001</c:v>
                </c:pt>
                <c:pt idx="3285">
                  <c:v>2.6569997999999999</c:v>
                </c:pt>
                <c:pt idx="3286">
                  <c:v>2.6572000999999998</c:v>
                </c:pt>
                <c:pt idx="3287">
                  <c:v>2.6573999000000001</c:v>
                </c:pt>
                <c:pt idx="3288">
                  <c:v>2.6575999000000001</c:v>
                </c:pt>
                <c:pt idx="3289">
                  <c:v>2.6577999999999999</c:v>
                </c:pt>
                <c:pt idx="3290">
                  <c:v>2.6579997999999998</c:v>
                </c:pt>
                <c:pt idx="3291">
                  <c:v>2.6581999999999999</c:v>
                </c:pt>
                <c:pt idx="3292">
                  <c:v>2.6583998000000002</c:v>
                </c:pt>
                <c:pt idx="3293">
                  <c:v>2.6585999</c:v>
                </c:pt>
                <c:pt idx="3294">
                  <c:v>2.6588001000000001</c:v>
                </c:pt>
                <c:pt idx="3295">
                  <c:v>2.6589999</c:v>
                </c:pt>
                <c:pt idx="3296">
                  <c:v>2.6591999999999998</c:v>
                </c:pt>
                <c:pt idx="3297">
                  <c:v>2.6593996999999998</c:v>
                </c:pt>
                <c:pt idx="3298">
                  <c:v>2.6595998000000001</c:v>
                </c:pt>
                <c:pt idx="3299">
                  <c:v>2.6598001</c:v>
                </c:pt>
                <c:pt idx="3300">
                  <c:v>2.6599998</c:v>
                </c:pt>
                <c:pt idx="3301">
                  <c:v>2.6601998999999998</c:v>
                </c:pt>
                <c:pt idx="3302">
                  <c:v>2.6604002000000002</c:v>
                </c:pt>
                <c:pt idx="3303">
                  <c:v>2.6605998999999998</c:v>
                </c:pt>
                <c:pt idx="3304">
                  <c:v>2.6608000000000001</c:v>
                </c:pt>
                <c:pt idx="3305">
                  <c:v>2.6609997999999999</c:v>
                </c:pt>
                <c:pt idx="3306">
                  <c:v>2.6611997999999999</c:v>
                </c:pt>
                <c:pt idx="3307">
                  <c:v>2.6614000999999998</c:v>
                </c:pt>
                <c:pt idx="3308">
                  <c:v>2.6615999000000001</c:v>
                </c:pt>
                <c:pt idx="3309">
                  <c:v>2.6617999000000001</c:v>
                </c:pt>
                <c:pt idx="3310">
                  <c:v>2.6619999000000001</c:v>
                </c:pt>
                <c:pt idx="3311">
                  <c:v>2.6621999999999999</c:v>
                </c:pt>
                <c:pt idx="3312">
                  <c:v>2.6623999999999999</c:v>
                </c:pt>
                <c:pt idx="3313">
                  <c:v>2.6625998000000002</c:v>
                </c:pt>
                <c:pt idx="3314">
                  <c:v>2.6627998000000002</c:v>
                </c:pt>
                <c:pt idx="3315">
                  <c:v>2.6630001000000001</c:v>
                </c:pt>
                <c:pt idx="3316">
                  <c:v>2.6631999</c:v>
                </c:pt>
                <c:pt idx="3317">
                  <c:v>2.6633998999999999</c:v>
                </c:pt>
                <c:pt idx="3318">
                  <c:v>2.6636000000000002</c:v>
                </c:pt>
                <c:pt idx="3319">
                  <c:v>2.6638000000000002</c:v>
                </c:pt>
                <c:pt idx="3320">
                  <c:v>2.6640000000000001</c:v>
                </c:pt>
                <c:pt idx="3321">
                  <c:v>2.6641998</c:v>
                </c:pt>
                <c:pt idx="3322">
                  <c:v>2.6643998999999998</c:v>
                </c:pt>
                <c:pt idx="3323">
                  <c:v>2.6645998999999998</c:v>
                </c:pt>
                <c:pt idx="3324">
                  <c:v>2.6647999000000002</c:v>
                </c:pt>
                <c:pt idx="3325">
                  <c:v>2.665</c:v>
                </c:pt>
                <c:pt idx="3326">
                  <c:v>2.6652</c:v>
                </c:pt>
                <c:pt idx="3327">
                  <c:v>2.6654</c:v>
                </c:pt>
                <c:pt idx="3328">
                  <c:v>2.6655997999999999</c:v>
                </c:pt>
                <c:pt idx="3329">
                  <c:v>2.6657999000000001</c:v>
                </c:pt>
                <c:pt idx="3330">
                  <c:v>2.6659999000000001</c:v>
                </c:pt>
                <c:pt idx="3331">
                  <c:v>2.6661999000000001</c:v>
                </c:pt>
                <c:pt idx="3332">
                  <c:v>2.6663999999999999</c:v>
                </c:pt>
                <c:pt idx="3333">
                  <c:v>2.6665998000000002</c:v>
                </c:pt>
                <c:pt idx="3334">
                  <c:v>2.6667999999999998</c:v>
                </c:pt>
                <c:pt idx="3335">
                  <c:v>2.6670001000000001</c:v>
                </c:pt>
                <c:pt idx="3336">
                  <c:v>2.6671999</c:v>
                </c:pt>
                <c:pt idx="3337">
                  <c:v>2.6673998999999999</c:v>
                </c:pt>
                <c:pt idx="3338">
                  <c:v>2.6675996999999998</c:v>
                </c:pt>
                <c:pt idx="3339">
                  <c:v>2.6677998999999999</c:v>
                </c:pt>
                <c:pt idx="3340">
                  <c:v>2.6680000000000001</c:v>
                </c:pt>
                <c:pt idx="3341">
                  <c:v>2.6681998</c:v>
                </c:pt>
                <c:pt idx="3342">
                  <c:v>2.6684000000000001</c:v>
                </c:pt>
                <c:pt idx="3343">
                  <c:v>2.6686000999999999</c:v>
                </c:pt>
                <c:pt idx="3344">
                  <c:v>2.6687998999999998</c:v>
                </c:pt>
                <c:pt idx="3345">
                  <c:v>2.6689999000000002</c:v>
                </c:pt>
                <c:pt idx="3346">
                  <c:v>2.6691997000000001</c:v>
                </c:pt>
                <c:pt idx="3347">
                  <c:v>2.6694</c:v>
                </c:pt>
                <c:pt idx="3348">
                  <c:v>2.6696</c:v>
                </c:pt>
                <c:pt idx="3349">
                  <c:v>2.6697997999999998</c:v>
                </c:pt>
                <c:pt idx="3350">
                  <c:v>2.6700001000000002</c:v>
                </c:pt>
                <c:pt idx="3351">
                  <c:v>2.6701999000000001</c:v>
                </c:pt>
                <c:pt idx="3352">
                  <c:v>2.6703999</c:v>
                </c:pt>
                <c:pt idx="3353">
                  <c:v>2.6705999</c:v>
                </c:pt>
                <c:pt idx="3354">
                  <c:v>2.6707996999999999</c:v>
                </c:pt>
                <c:pt idx="3355">
                  <c:v>2.6709999999999998</c:v>
                </c:pt>
                <c:pt idx="3356">
                  <c:v>2.6711999999999998</c:v>
                </c:pt>
                <c:pt idx="3357">
                  <c:v>2.6713998000000001</c:v>
                </c:pt>
                <c:pt idx="3358">
                  <c:v>2.6716001</c:v>
                </c:pt>
                <c:pt idx="3359">
                  <c:v>2.6717998999999999</c:v>
                </c:pt>
                <c:pt idx="3360">
                  <c:v>2.6719998999999999</c:v>
                </c:pt>
                <c:pt idx="3361">
                  <c:v>2.6722000000000001</c:v>
                </c:pt>
                <c:pt idx="3362">
                  <c:v>2.6723998</c:v>
                </c:pt>
                <c:pt idx="3363">
                  <c:v>2.6726000000000001</c:v>
                </c:pt>
                <c:pt idx="3364">
                  <c:v>2.6727997999999999</c:v>
                </c:pt>
                <c:pt idx="3365">
                  <c:v>2.6729999000000002</c:v>
                </c:pt>
                <c:pt idx="3366">
                  <c:v>2.6732000999999999</c:v>
                </c:pt>
                <c:pt idx="3367">
                  <c:v>2.6733999000000002</c:v>
                </c:pt>
                <c:pt idx="3368">
                  <c:v>2.6736</c:v>
                </c:pt>
                <c:pt idx="3369">
                  <c:v>2.6737997999999998</c:v>
                </c:pt>
                <c:pt idx="3370">
                  <c:v>2.6739997999999998</c:v>
                </c:pt>
                <c:pt idx="3371">
                  <c:v>2.6742001000000002</c:v>
                </c:pt>
                <c:pt idx="3372">
                  <c:v>2.6743999000000001</c:v>
                </c:pt>
                <c:pt idx="3373">
                  <c:v>2.6745999</c:v>
                </c:pt>
                <c:pt idx="3374">
                  <c:v>2.6748002</c:v>
                </c:pt>
                <c:pt idx="3375">
                  <c:v>2.6749999999999998</c:v>
                </c:pt>
                <c:pt idx="3376">
                  <c:v>2.6751999999999998</c:v>
                </c:pt>
                <c:pt idx="3377">
                  <c:v>2.6753998000000001</c:v>
                </c:pt>
                <c:pt idx="3378">
                  <c:v>2.6755998000000001</c:v>
                </c:pt>
                <c:pt idx="3379">
                  <c:v>2.6758001</c:v>
                </c:pt>
                <c:pt idx="3380">
                  <c:v>2.6759998999999999</c:v>
                </c:pt>
                <c:pt idx="3381">
                  <c:v>2.6761998999999999</c:v>
                </c:pt>
                <c:pt idx="3382">
                  <c:v>2.6763998999999998</c:v>
                </c:pt>
                <c:pt idx="3383">
                  <c:v>2.6766000000000001</c:v>
                </c:pt>
                <c:pt idx="3384">
                  <c:v>2.6768000000000001</c:v>
                </c:pt>
                <c:pt idx="3385">
                  <c:v>2.6769997999999999</c:v>
                </c:pt>
                <c:pt idx="3386">
                  <c:v>2.6771997999999999</c:v>
                </c:pt>
                <c:pt idx="3387">
                  <c:v>2.6773999000000002</c:v>
                </c:pt>
                <c:pt idx="3388">
                  <c:v>2.6775999000000001</c:v>
                </c:pt>
                <c:pt idx="3389">
                  <c:v>2.6777999000000001</c:v>
                </c:pt>
                <c:pt idx="3390">
                  <c:v>2.6779999999999999</c:v>
                </c:pt>
                <c:pt idx="3391">
                  <c:v>2.6781999999999999</c:v>
                </c:pt>
                <c:pt idx="3392">
                  <c:v>2.6783999999999999</c:v>
                </c:pt>
                <c:pt idx="3393">
                  <c:v>2.6785998000000002</c:v>
                </c:pt>
                <c:pt idx="3394">
                  <c:v>2.6787999</c:v>
                </c:pt>
                <c:pt idx="3395">
                  <c:v>2.6789999</c:v>
                </c:pt>
                <c:pt idx="3396">
                  <c:v>2.6791999</c:v>
                </c:pt>
                <c:pt idx="3397">
                  <c:v>2.6793999999999998</c:v>
                </c:pt>
                <c:pt idx="3398">
                  <c:v>2.6796000000000002</c:v>
                </c:pt>
                <c:pt idx="3399">
                  <c:v>2.6798000000000002</c:v>
                </c:pt>
                <c:pt idx="3400">
                  <c:v>2.6799998</c:v>
                </c:pt>
                <c:pt idx="3401">
                  <c:v>2.6801998999999999</c:v>
                </c:pt>
                <c:pt idx="3402">
                  <c:v>2.6803998999999998</c:v>
                </c:pt>
                <c:pt idx="3403">
                  <c:v>2.6805998999999998</c:v>
                </c:pt>
                <c:pt idx="3404">
                  <c:v>2.6808000000000001</c:v>
                </c:pt>
                <c:pt idx="3405">
                  <c:v>2.6809997999999999</c:v>
                </c:pt>
                <c:pt idx="3406">
                  <c:v>2.6812</c:v>
                </c:pt>
                <c:pt idx="3407">
                  <c:v>2.6814000999999998</c:v>
                </c:pt>
                <c:pt idx="3408">
                  <c:v>2.6815999000000001</c:v>
                </c:pt>
                <c:pt idx="3409">
                  <c:v>2.6817999000000001</c:v>
                </c:pt>
                <c:pt idx="3410">
                  <c:v>2.6819997</c:v>
                </c:pt>
                <c:pt idx="3411">
                  <c:v>2.6821999999999999</c:v>
                </c:pt>
                <c:pt idx="3412">
                  <c:v>2.6823999999999999</c:v>
                </c:pt>
                <c:pt idx="3413">
                  <c:v>2.6825998000000002</c:v>
                </c:pt>
                <c:pt idx="3414">
                  <c:v>2.6828001000000001</c:v>
                </c:pt>
                <c:pt idx="3415">
                  <c:v>2.6830001000000001</c:v>
                </c:pt>
                <c:pt idx="3416">
                  <c:v>2.6831999</c:v>
                </c:pt>
                <c:pt idx="3417">
                  <c:v>2.6833998999999999</c:v>
                </c:pt>
                <c:pt idx="3418">
                  <c:v>2.6835996999999998</c:v>
                </c:pt>
                <c:pt idx="3419">
                  <c:v>2.6838000000000002</c:v>
                </c:pt>
                <c:pt idx="3420">
                  <c:v>2.6840000000000002</c:v>
                </c:pt>
                <c:pt idx="3421">
                  <c:v>2.6841998</c:v>
                </c:pt>
                <c:pt idx="3422">
                  <c:v>2.6844001</c:v>
                </c:pt>
                <c:pt idx="3423">
                  <c:v>2.6845998999999998</c:v>
                </c:pt>
                <c:pt idx="3424">
                  <c:v>2.6847998999999998</c:v>
                </c:pt>
                <c:pt idx="3425">
                  <c:v>2.6849999000000002</c:v>
                </c:pt>
                <c:pt idx="3426">
                  <c:v>2.6851997000000001</c:v>
                </c:pt>
                <c:pt idx="3427">
                  <c:v>2.6854</c:v>
                </c:pt>
                <c:pt idx="3428">
                  <c:v>2.6856</c:v>
                </c:pt>
                <c:pt idx="3429">
                  <c:v>2.6857997999999998</c:v>
                </c:pt>
                <c:pt idx="3430">
                  <c:v>2.6860000999999998</c:v>
                </c:pt>
                <c:pt idx="3431">
                  <c:v>2.6861999000000001</c:v>
                </c:pt>
                <c:pt idx="3432">
                  <c:v>2.6863999000000001</c:v>
                </c:pt>
                <c:pt idx="3433">
                  <c:v>2.6865999999999999</c:v>
                </c:pt>
                <c:pt idx="3434">
                  <c:v>2.6867998000000002</c:v>
                </c:pt>
                <c:pt idx="3435">
                  <c:v>2.6869999999999998</c:v>
                </c:pt>
                <c:pt idx="3436">
                  <c:v>2.6871998000000001</c:v>
                </c:pt>
                <c:pt idx="3437">
                  <c:v>2.6873999</c:v>
                </c:pt>
                <c:pt idx="3438">
                  <c:v>2.6876001</c:v>
                </c:pt>
                <c:pt idx="3439">
                  <c:v>2.6877998999999999</c:v>
                </c:pt>
                <c:pt idx="3440">
                  <c:v>2.6880000000000002</c:v>
                </c:pt>
                <c:pt idx="3441">
                  <c:v>2.6881998</c:v>
                </c:pt>
                <c:pt idx="3442">
                  <c:v>2.6883998</c:v>
                </c:pt>
                <c:pt idx="3443">
                  <c:v>2.6886000999999999</c:v>
                </c:pt>
                <c:pt idx="3444">
                  <c:v>2.6887998999999998</c:v>
                </c:pt>
                <c:pt idx="3445">
                  <c:v>2.6889999000000002</c:v>
                </c:pt>
                <c:pt idx="3446">
                  <c:v>2.6892002000000002</c:v>
                </c:pt>
                <c:pt idx="3447">
                  <c:v>2.6894</c:v>
                </c:pt>
                <c:pt idx="3448">
                  <c:v>2.6896</c:v>
                </c:pt>
                <c:pt idx="3449">
                  <c:v>2.6897997999999999</c:v>
                </c:pt>
                <c:pt idx="3450">
                  <c:v>2.6899997999999998</c:v>
                </c:pt>
                <c:pt idx="3451">
                  <c:v>2.6902001000000002</c:v>
                </c:pt>
                <c:pt idx="3452">
                  <c:v>2.6903999000000001</c:v>
                </c:pt>
                <c:pt idx="3453">
                  <c:v>2.6905999</c:v>
                </c:pt>
                <c:pt idx="3454">
                  <c:v>2.6907999999999999</c:v>
                </c:pt>
                <c:pt idx="3455">
                  <c:v>2.6909999999999998</c:v>
                </c:pt>
                <c:pt idx="3456">
                  <c:v>2.6911999999999998</c:v>
                </c:pt>
                <c:pt idx="3457">
                  <c:v>2.6913998000000001</c:v>
                </c:pt>
                <c:pt idx="3458">
                  <c:v>2.6915998000000001</c:v>
                </c:pt>
                <c:pt idx="3459">
                  <c:v>2.6917998999999999</c:v>
                </c:pt>
                <c:pt idx="3460">
                  <c:v>2.6919998999999999</c:v>
                </c:pt>
                <c:pt idx="3461">
                  <c:v>2.6921998999999999</c:v>
                </c:pt>
                <c:pt idx="3462">
                  <c:v>2.6924000000000001</c:v>
                </c:pt>
                <c:pt idx="3463">
                  <c:v>2.6926000000000001</c:v>
                </c:pt>
                <c:pt idx="3464">
                  <c:v>2.6927998</c:v>
                </c:pt>
                <c:pt idx="3465">
                  <c:v>2.6929997999999999</c:v>
                </c:pt>
                <c:pt idx="3466">
                  <c:v>2.6931999000000002</c:v>
                </c:pt>
                <c:pt idx="3467">
                  <c:v>2.6933999000000002</c:v>
                </c:pt>
                <c:pt idx="3468">
                  <c:v>2.6935999000000002</c:v>
                </c:pt>
                <c:pt idx="3469">
                  <c:v>2.6938</c:v>
                </c:pt>
                <c:pt idx="3470">
                  <c:v>2.694</c:v>
                </c:pt>
                <c:pt idx="3471">
                  <c:v>2.6941999999999999</c:v>
                </c:pt>
                <c:pt idx="3472">
                  <c:v>2.6943997999999998</c:v>
                </c:pt>
                <c:pt idx="3473">
                  <c:v>2.6945999</c:v>
                </c:pt>
                <c:pt idx="3474">
                  <c:v>2.6947999</c:v>
                </c:pt>
                <c:pt idx="3475">
                  <c:v>2.6949999</c:v>
                </c:pt>
                <c:pt idx="3476">
                  <c:v>2.6951999999999998</c:v>
                </c:pt>
                <c:pt idx="3477">
                  <c:v>2.6953998000000001</c:v>
                </c:pt>
                <c:pt idx="3478">
                  <c:v>2.6956000000000002</c:v>
                </c:pt>
                <c:pt idx="3479">
                  <c:v>2.6958001</c:v>
                </c:pt>
                <c:pt idx="3480">
                  <c:v>2.6959998999999999</c:v>
                </c:pt>
                <c:pt idx="3481">
                  <c:v>2.6961998999999999</c:v>
                </c:pt>
                <c:pt idx="3482">
                  <c:v>2.6963997000000002</c:v>
                </c:pt>
                <c:pt idx="3483">
                  <c:v>2.6966000000000001</c:v>
                </c:pt>
                <c:pt idx="3484">
                  <c:v>2.6968000000000001</c:v>
                </c:pt>
                <c:pt idx="3485">
                  <c:v>2.6969997999999999</c:v>
                </c:pt>
                <c:pt idx="3486">
                  <c:v>2.6972000999999999</c:v>
                </c:pt>
                <c:pt idx="3487">
                  <c:v>2.6974000999999999</c:v>
                </c:pt>
                <c:pt idx="3488">
                  <c:v>2.6975999000000002</c:v>
                </c:pt>
                <c:pt idx="3489">
                  <c:v>2.6977999000000001</c:v>
                </c:pt>
                <c:pt idx="3490">
                  <c:v>2.6979997</c:v>
                </c:pt>
                <c:pt idx="3491">
                  <c:v>2.6981999999999999</c:v>
                </c:pt>
                <c:pt idx="3492">
                  <c:v>2.6983999999999999</c:v>
                </c:pt>
                <c:pt idx="3493">
                  <c:v>2.6985998000000002</c:v>
                </c:pt>
                <c:pt idx="3494">
                  <c:v>2.6988001000000001</c:v>
                </c:pt>
                <c:pt idx="3495">
                  <c:v>2.6989999</c:v>
                </c:pt>
                <c:pt idx="3496">
                  <c:v>2.6991999</c:v>
                </c:pt>
                <c:pt idx="3497">
                  <c:v>2.6993999</c:v>
                </c:pt>
                <c:pt idx="3498">
                  <c:v>2.6995996999999998</c:v>
                </c:pt>
                <c:pt idx="3499">
                  <c:v>2.6998000000000002</c:v>
                </c:pt>
                <c:pt idx="3500">
                  <c:v>2.6999998000000001</c:v>
                </c:pt>
                <c:pt idx="3501">
                  <c:v>2.7001998</c:v>
                </c:pt>
                <c:pt idx="3502">
                  <c:v>2.7004001</c:v>
                </c:pt>
                <c:pt idx="3503">
                  <c:v>2.7005998999999998</c:v>
                </c:pt>
                <c:pt idx="3504">
                  <c:v>2.7007998999999998</c:v>
                </c:pt>
                <c:pt idx="3505">
                  <c:v>2.7010000000000001</c:v>
                </c:pt>
                <c:pt idx="3506">
                  <c:v>2.7011997999999999</c:v>
                </c:pt>
                <c:pt idx="3507">
                  <c:v>2.7014</c:v>
                </c:pt>
                <c:pt idx="3508">
                  <c:v>2.7015997999999999</c:v>
                </c:pt>
                <c:pt idx="3509">
                  <c:v>2.7017999000000001</c:v>
                </c:pt>
                <c:pt idx="3510">
                  <c:v>2.7020000999999998</c:v>
                </c:pt>
                <c:pt idx="3511">
                  <c:v>2.7021999000000001</c:v>
                </c:pt>
                <c:pt idx="3512">
                  <c:v>2.7023999999999999</c:v>
                </c:pt>
                <c:pt idx="3513">
                  <c:v>2.7025998000000002</c:v>
                </c:pt>
                <c:pt idx="3514">
                  <c:v>2.7027998000000002</c:v>
                </c:pt>
                <c:pt idx="3515">
                  <c:v>2.7030001000000001</c:v>
                </c:pt>
                <c:pt idx="3516">
                  <c:v>2.7031999</c:v>
                </c:pt>
                <c:pt idx="3517">
                  <c:v>2.7033999</c:v>
                </c:pt>
                <c:pt idx="3518">
                  <c:v>2.7036001999999999</c:v>
                </c:pt>
                <c:pt idx="3519">
                  <c:v>2.7038000000000002</c:v>
                </c:pt>
                <c:pt idx="3520">
                  <c:v>2.7040000000000002</c:v>
                </c:pt>
                <c:pt idx="3521">
                  <c:v>2.7041998</c:v>
                </c:pt>
                <c:pt idx="3522">
                  <c:v>2.7043998</c:v>
                </c:pt>
                <c:pt idx="3523">
                  <c:v>2.7046001</c:v>
                </c:pt>
                <c:pt idx="3524">
                  <c:v>2.7047998999999998</c:v>
                </c:pt>
                <c:pt idx="3525">
                  <c:v>2.7049998999999998</c:v>
                </c:pt>
                <c:pt idx="3526">
                  <c:v>2.7052</c:v>
                </c:pt>
                <c:pt idx="3527">
                  <c:v>2.7054</c:v>
                </c:pt>
                <c:pt idx="3528">
                  <c:v>2.7056</c:v>
                </c:pt>
                <c:pt idx="3529">
                  <c:v>2.7057997999999999</c:v>
                </c:pt>
                <c:pt idx="3530">
                  <c:v>2.7059999000000001</c:v>
                </c:pt>
                <c:pt idx="3531">
                  <c:v>2.7061999000000001</c:v>
                </c:pt>
                <c:pt idx="3532">
                  <c:v>2.7063999000000001</c:v>
                </c:pt>
                <c:pt idx="3533">
                  <c:v>2.7065999999999999</c:v>
                </c:pt>
                <c:pt idx="3534">
                  <c:v>2.7067999999999999</c:v>
                </c:pt>
                <c:pt idx="3535">
                  <c:v>2.7069999999999999</c:v>
                </c:pt>
                <c:pt idx="3536">
                  <c:v>2.7071998000000002</c:v>
                </c:pt>
                <c:pt idx="3537">
                  <c:v>2.7073998000000001</c:v>
                </c:pt>
                <c:pt idx="3538">
                  <c:v>2.7075998999999999</c:v>
                </c:pt>
                <c:pt idx="3539">
                  <c:v>2.7077998999999999</c:v>
                </c:pt>
                <c:pt idx="3540">
                  <c:v>2.7079998999999999</c:v>
                </c:pt>
                <c:pt idx="3541">
                  <c:v>2.7082000000000002</c:v>
                </c:pt>
                <c:pt idx="3542">
                  <c:v>2.7084000000000001</c:v>
                </c:pt>
                <c:pt idx="3543">
                  <c:v>2.7086000000000001</c:v>
                </c:pt>
                <c:pt idx="3544">
                  <c:v>2.7087998</c:v>
                </c:pt>
                <c:pt idx="3545">
                  <c:v>2.7089998999999998</c:v>
                </c:pt>
                <c:pt idx="3546">
                  <c:v>2.7091999000000002</c:v>
                </c:pt>
                <c:pt idx="3547">
                  <c:v>2.7093999000000002</c:v>
                </c:pt>
                <c:pt idx="3548">
                  <c:v>2.7096</c:v>
                </c:pt>
                <c:pt idx="3549">
                  <c:v>2.7097997999999999</c:v>
                </c:pt>
                <c:pt idx="3550">
                  <c:v>2.71</c:v>
                </c:pt>
                <c:pt idx="3551">
                  <c:v>2.7102000999999998</c:v>
                </c:pt>
                <c:pt idx="3552">
                  <c:v>2.7103999000000001</c:v>
                </c:pt>
                <c:pt idx="3553">
                  <c:v>2.7105999000000001</c:v>
                </c:pt>
                <c:pt idx="3554">
                  <c:v>2.7107996999999999</c:v>
                </c:pt>
                <c:pt idx="3555">
                  <c:v>2.7109999999999999</c:v>
                </c:pt>
                <c:pt idx="3556">
                  <c:v>2.7111999999999998</c:v>
                </c:pt>
                <c:pt idx="3557">
                  <c:v>2.7113998000000001</c:v>
                </c:pt>
                <c:pt idx="3558">
                  <c:v>2.7116001000000001</c:v>
                </c:pt>
                <c:pt idx="3559">
                  <c:v>2.7118001</c:v>
                </c:pt>
                <c:pt idx="3560">
                  <c:v>2.7119998999999999</c:v>
                </c:pt>
                <c:pt idx="3561">
                  <c:v>2.7121998999999999</c:v>
                </c:pt>
                <c:pt idx="3562">
                  <c:v>2.7123997000000002</c:v>
                </c:pt>
                <c:pt idx="3563">
                  <c:v>2.7126000000000001</c:v>
                </c:pt>
                <c:pt idx="3564">
                  <c:v>2.7128000000000001</c:v>
                </c:pt>
                <c:pt idx="3565">
                  <c:v>2.7129998</c:v>
                </c:pt>
                <c:pt idx="3566">
                  <c:v>2.7132000999999999</c:v>
                </c:pt>
                <c:pt idx="3567">
                  <c:v>2.7133999000000002</c:v>
                </c:pt>
                <c:pt idx="3568">
                  <c:v>2.7135999000000002</c:v>
                </c:pt>
                <c:pt idx="3569">
                  <c:v>2.7138</c:v>
                </c:pt>
                <c:pt idx="3570">
                  <c:v>2.7139997</c:v>
                </c:pt>
                <c:pt idx="3571">
                  <c:v>2.7141999999999999</c:v>
                </c:pt>
                <c:pt idx="3572">
                  <c:v>2.7143997999999998</c:v>
                </c:pt>
                <c:pt idx="3573">
                  <c:v>2.7145997999999998</c:v>
                </c:pt>
                <c:pt idx="3574">
                  <c:v>2.7148001000000002</c:v>
                </c:pt>
                <c:pt idx="3575">
                  <c:v>2.7149999</c:v>
                </c:pt>
                <c:pt idx="3576">
                  <c:v>2.7151999</c:v>
                </c:pt>
                <c:pt idx="3577">
                  <c:v>2.7153996999999999</c:v>
                </c:pt>
                <c:pt idx="3578">
                  <c:v>2.7155998000000001</c:v>
                </c:pt>
                <c:pt idx="3579">
                  <c:v>2.7158000000000002</c:v>
                </c:pt>
                <c:pt idx="3580">
                  <c:v>2.7159998000000001</c:v>
                </c:pt>
                <c:pt idx="3581">
                  <c:v>2.7161998999999999</c:v>
                </c:pt>
                <c:pt idx="3582">
                  <c:v>2.7164001</c:v>
                </c:pt>
                <c:pt idx="3583">
                  <c:v>2.7165998999999998</c:v>
                </c:pt>
                <c:pt idx="3584">
                  <c:v>2.7168000000000001</c:v>
                </c:pt>
                <c:pt idx="3585">
                  <c:v>2.7169998</c:v>
                </c:pt>
                <c:pt idx="3586">
                  <c:v>2.7171997999999999</c:v>
                </c:pt>
                <c:pt idx="3587">
                  <c:v>2.7174000999999999</c:v>
                </c:pt>
                <c:pt idx="3588">
                  <c:v>2.7175999000000002</c:v>
                </c:pt>
                <c:pt idx="3589">
                  <c:v>2.7177999000000002</c:v>
                </c:pt>
                <c:pt idx="3590">
                  <c:v>2.7179999000000001</c:v>
                </c:pt>
                <c:pt idx="3591">
                  <c:v>2.7181999999999999</c:v>
                </c:pt>
                <c:pt idx="3592">
                  <c:v>2.7183999999999999</c:v>
                </c:pt>
                <c:pt idx="3593">
                  <c:v>2.7185997999999998</c:v>
                </c:pt>
                <c:pt idx="3594">
                  <c:v>2.7187998000000002</c:v>
                </c:pt>
                <c:pt idx="3595">
                  <c:v>2.7190001000000001</c:v>
                </c:pt>
                <c:pt idx="3596">
                  <c:v>2.7191999</c:v>
                </c:pt>
                <c:pt idx="3597">
                  <c:v>2.7193999</c:v>
                </c:pt>
                <c:pt idx="3598">
                  <c:v>2.7195999999999998</c:v>
                </c:pt>
                <c:pt idx="3599">
                  <c:v>2.7198000000000002</c:v>
                </c:pt>
                <c:pt idx="3600">
                  <c:v>2.72</c:v>
                </c:pt>
                <c:pt idx="3601">
                  <c:v>2.7201998000000001</c:v>
                </c:pt>
                <c:pt idx="3602">
                  <c:v>2.7203998999999999</c:v>
                </c:pt>
                <c:pt idx="3603">
                  <c:v>2.7205998999999998</c:v>
                </c:pt>
                <c:pt idx="3604">
                  <c:v>2.7207998999999998</c:v>
                </c:pt>
                <c:pt idx="3605">
                  <c:v>2.7210000000000001</c:v>
                </c:pt>
                <c:pt idx="3606">
                  <c:v>2.7212000000000001</c:v>
                </c:pt>
                <c:pt idx="3607">
                  <c:v>2.7214</c:v>
                </c:pt>
                <c:pt idx="3608">
                  <c:v>2.7215997999999999</c:v>
                </c:pt>
                <c:pt idx="3609">
                  <c:v>2.7217999000000002</c:v>
                </c:pt>
                <c:pt idx="3610">
                  <c:v>2.7219999000000001</c:v>
                </c:pt>
                <c:pt idx="3611">
                  <c:v>2.7221999000000001</c:v>
                </c:pt>
                <c:pt idx="3612">
                  <c:v>2.7223999999999999</c:v>
                </c:pt>
                <c:pt idx="3613">
                  <c:v>2.7225997</c:v>
                </c:pt>
                <c:pt idx="3614">
                  <c:v>2.7227999999999999</c:v>
                </c:pt>
                <c:pt idx="3615">
                  <c:v>2.7229999999999999</c:v>
                </c:pt>
                <c:pt idx="3616">
                  <c:v>2.7231998000000002</c:v>
                </c:pt>
                <c:pt idx="3617">
                  <c:v>2.7233999</c:v>
                </c:pt>
                <c:pt idx="3618">
                  <c:v>2.7235999</c:v>
                </c:pt>
                <c:pt idx="3619">
                  <c:v>2.7237998999999999</c:v>
                </c:pt>
                <c:pt idx="3620">
                  <c:v>2.7240000000000002</c:v>
                </c:pt>
                <c:pt idx="3621">
                  <c:v>2.7241998000000001</c:v>
                </c:pt>
                <c:pt idx="3622">
                  <c:v>2.7244000000000002</c:v>
                </c:pt>
                <c:pt idx="3623">
                  <c:v>2.7246001</c:v>
                </c:pt>
                <c:pt idx="3624">
                  <c:v>2.7247998999999998</c:v>
                </c:pt>
                <c:pt idx="3625">
                  <c:v>2.7249998999999998</c:v>
                </c:pt>
                <c:pt idx="3626">
                  <c:v>2.7251997000000001</c:v>
                </c:pt>
                <c:pt idx="3627">
                  <c:v>2.7254</c:v>
                </c:pt>
                <c:pt idx="3628">
                  <c:v>2.7256</c:v>
                </c:pt>
                <c:pt idx="3629">
                  <c:v>2.7257997999999999</c:v>
                </c:pt>
                <c:pt idx="3630">
                  <c:v>2.7260000999999998</c:v>
                </c:pt>
                <c:pt idx="3631">
                  <c:v>2.7262000999999998</c:v>
                </c:pt>
                <c:pt idx="3632">
                  <c:v>2.7263999000000001</c:v>
                </c:pt>
                <c:pt idx="3633">
                  <c:v>2.7265999000000001</c:v>
                </c:pt>
                <c:pt idx="3634">
                  <c:v>2.7267996999999999</c:v>
                </c:pt>
                <c:pt idx="3635">
                  <c:v>2.7269999999999999</c:v>
                </c:pt>
                <c:pt idx="3636">
                  <c:v>2.7271999999999998</c:v>
                </c:pt>
                <c:pt idx="3637">
                  <c:v>2.7273998000000002</c:v>
                </c:pt>
                <c:pt idx="3638">
                  <c:v>2.7276001000000001</c:v>
                </c:pt>
                <c:pt idx="3639">
                  <c:v>2.7277998999999999</c:v>
                </c:pt>
                <c:pt idx="3640">
                  <c:v>2.7279998999999999</c:v>
                </c:pt>
                <c:pt idx="3641">
                  <c:v>2.7282000000000002</c:v>
                </c:pt>
                <c:pt idx="3642">
                  <c:v>2.7283998</c:v>
                </c:pt>
                <c:pt idx="3643">
                  <c:v>2.7286000000000001</c:v>
                </c:pt>
                <c:pt idx="3644">
                  <c:v>2.7287998</c:v>
                </c:pt>
                <c:pt idx="3645">
                  <c:v>2.7289998999999998</c:v>
                </c:pt>
                <c:pt idx="3646">
                  <c:v>2.7292000999999999</c:v>
                </c:pt>
                <c:pt idx="3647">
                  <c:v>2.7293999000000002</c:v>
                </c:pt>
                <c:pt idx="3648">
                  <c:v>2.7296</c:v>
                </c:pt>
                <c:pt idx="3649">
                  <c:v>2.7297997000000001</c:v>
                </c:pt>
                <c:pt idx="3650">
                  <c:v>2.7299997999999999</c:v>
                </c:pt>
                <c:pt idx="3651">
                  <c:v>2.7302000999999998</c:v>
                </c:pt>
                <c:pt idx="3652">
                  <c:v>2.7303997999999998</c:v>
                </c:pt>
                <c:pt idx="3653">
                  <c:v>2.7305999000000001</c:v>
                </c:pt>
                <c:pt idx="3654">
                  <c:v>2.7308002</c:v>
                </c:pt>
                <c:pt idx="3655">
                  <c:v>2.7309999</c:v>
                </c:pt>
                <c:pt idx="3656">
                  <c:v>2.7311999999999999</c:v>
                </c:pt>
                <c:pt idx="3657">
                  <c:v>2.7313998000000002</c:v>
                </c:pt>
                <c:pt idx="3658">
                  <c:v>2.7315998000000001</c:v>
                </c:pt>
                <c:pt idx="3659">
                  <c:v>2.7318001000000001</c:v>
                </c:pt>
                <c:pt idx="3660">
                  <c:v>2.7319998999999999</c:v>
                </c:pt>
                <c:pt idx="3661">
                  <c:v>2.7321998999999999</c:v>
                </c:pt>
                <c:pt idx="3662">
                  <c:v>2.7323998999999999</c:v>
                </c:pt>
                <c:pt idx="3663">
                  <c:v>2.7326000000000001</c:v>
                </c:pt>
                <c:pt idx="3664">
                  <c:v>2.7328000000000001</c:v>
                </c:pt>
                <c:pt idx="3665">
                  <c:v>2.7329998</c:v>
                </c:pt>
                <c:pt idx="3666">
                  <c:v>2.7331998</c:v>
                </c:pt>
                <c:pt idx="3667">
                  <c:v>2.7333999000000002</c:v>
                </c:pt>
                <c:pt idx="3668">
                  <c:v>2.7335999000000002</c:v>
                </c:pt>
                <c:pt idx="3669">
                  <c:v>2.7337999000000002</c:v>
                </c:pt>
                <c:pt idx="3670">
                  <c:v>2.734</c:v>
                </c:pt>
                <c:pt idx="3671">
                  <c:v>2.7342</c:v>
                </c:pt>
                <c:pt idx="3672">
                  <c:v>2.7343999999999999</c:v>
                </c:pt>
                <c:pt idx="3673">
                  <c:v>2.7345997999999998</c:v>
                </c:pt>
                <c:pt idx="3674">
                  <c:v>2.7347999000000001</c:v>
                </c:pt>
                <c:pt idx="3675">
                  <c:v>2.7349999</c:v>
                </c:pt>
                <c:pt idx="3676">
                  <c:v>2.7351999</c:v>
                </c:pt>
                <c:pt idx="3677">
                  <c:v>2.7353999999999998</c:v>
                </c:pt>
                <c:pt idx="3678">
                  <c:v>2.7355999999999998</c:v>
                </c:pt>
                <c:pt idx="3679">
                  <c:v>2.7357999999999998</c:v>
                </c:pt>
                <c:pt idx="3680">
                  <c:v>2.7359998000000001</c:v>
                </c:pt>
                <c:pt idx="3681">
                  <c:v>2.7361998999999999</c:v>
                </c:pt>
                <c:pt idx="3682">
                  <c:v>2.7363998999999999</c:v>
                </c:pt>
                <c:pt idx="3683">
                  <c:v>2.7365998999999999</c:v>
                </c:pt>
                <c:pt idx="3684">
                  <c:v>2.7368000000000001</c:v>
                </c:pt>
                <c:pt idx="3685">
                  <c:v>2.7369998</c:v>
                </c:pt>
                <c:pt idx="3686">
                  <c:v>2.7372000000000001</c:v>
                </c:pt>
                <c:pt idx="3687">
                  <c:v>2.7374000999999999</c:v>
                </c:pt>
                <c:pt idx="3688">
                  <c:v>2.7375997999999999</c:v>
                </c:pt>
                <c:pt idx="3689">
                  <c:v>2.7377999000000002</c:v>
                </c:pt>
                <c:pt idx="3690">
                  <c:v>2.7379997</c:v>
                </c:pt>
                <c:pt idx="3691">
                  <c:v>2.7381999000000001</c:v>
                </c:pt>
                <c:pt idx="3692">
                  <c:v>2.7383999999999999</c:v>
                </c:pt>
                <c:pt idx="3693">
                  <c:v>2.7385997999999998</c:v>
                </c:pt>
                <c:pt idx="3694">
                  <c:v>2.7387999999999999</c:v>
                </c:pt>
                <c:pt idx="3695">
                  <c:v>2.7390001000000002</c:v>
                </c:pt>
                <c:pt idx="3696">
                  <c:v>2.7391999</c:v>
                </c:pt>
                <c:pt idx="3697">
                  <c:v>2.7393999</c:v>
                </c:pt>
                <c:pt idx="3698">
                  <c:v>2.7395996999999999</c:v>
                </c:pt>
                <c:pt idx="3699">
                  <c:v>2.7397999999999998</c:v>
                </c:pt>
                <c:pt idx="3700">
                  <c:v>2.74</c:v>
                </c:pt>
                <c:pt idx="3701">
                  <c:v>2.7401998000000001</c:v>
                </c:pt>
                <c:pt idx="3702">
                  <c:v>2.7404001</c:v>
                </c:pt>
                <c:pt idx="3703">
                  <c:v>2.7405998999999999</c:v>
                </c:pt>
                <c:pt idx="3704">
                  <c:v>2.7407998999999998</c:v>
                </c:pt>
                <c:pt idx="3705">
                  <c:v>2.7409998999999998</c:v>
                </c:pt>
                <c:pt idx="3706">
                  <c:v>2.7411997000000001</c:v>
                </c:pt>
                <c:pt idx="3707">
                  <c:v>2.7414000000000001</c:v>
                </c:pt>
                <c:pt idx="3708">
                  <c:v>2.7416</c:v>
                </c:pt>
                <c:pt idx="3709">
                  <c:v>2.7417997999999999</c:v>
                </c:pt>
                <c:pt idx="3710">
                  <c:v>2.7420000999999998</c:v>
                </c:pt>
                <c:pt idx="3711">
                  <c:v>2.7421999000000001</c:v>
                </c:pt>
                <c:pt idx="3712">
                  <c:v>2.7423999000000001</c:v>
                </c:pt>
                <c:pt idx="3713">
                  <c:v>2.7425999999999999</c:v>
                </c:pt>
                <c:pt idx="3714">
                  <c:v>2.7427997999999998</c:v>
                </c:pt>
                <c:pt idx="3715">
                  <c:v>2.7429999999999999</c:v>
                </c:pt>
                <c:pt idx="3716">
                  <c:v>2.7431998000000002</c:v>
                </c:pt>
                <c:pt idx="3717">
                  <c:v>2.7433999</c:v>
                </c:pt>
                <c:pt idx="3718">
                  <c:v>2.7436001000000001</c:v>
                </c:pt>
                <c:pt idx="3719">
                  <c:v>2.7437999</c:v>
                </c:pt>
                <c:pt idx="3720">
                  <c:v>2.7440000000000002</c:v>
                </c:pt>
                <c:pt idx="3721">
                  <c:v>2.7441998000000001</c:v>
                </c:pt>
                <c:pt idx="3722">
                  <c:v>2.7443998000000001</c:v>
                </c:pt>
                <c:pt idx="3723">
                  <c:v>2.7446001</c:v>
                </c:pt>
                <c:pt idx="3724">
                  <c:v>2.7447998999999998</c:v>
                </c:pt>
                <c:pt idx="3725">
                  <c:v>2.7449998999999998</c:v>
                </c:pt>
                <c:pt idx="3726">
                  <c:v>2.7452002000000002</c:v>
                </c:pt>
                <c:pt idx="3727">
                  <c:v>2.7454000000000001</c:v>
                </c:pt>
                <c:pt idx="3728">
                  <c:v>2.7456</c:v>
                </c:pt>
                <c:pt idx="3729">
                  <c:v>2.7457997999999999</c:v>
                </c:pt>
                <c:pt idx="3730">
                  <c:v>2.7459997999999999</c:v>
                </c:pt>
                <c:pt idx="3731">
                  <c:v>2.7462000999999998</c:v>
                </c:pt>
                <c:pt idx="3732">
                  <c:v>2.7463999000000001</c:v>
                </c:pt>
                <c:pt idx="3733">
                  <c:v>2.7465999000000001</c:v>
                </c:pt>
                <c:pt idx="3734">
                  <c:v>2.7467999000000001</c:v>
                </c:pt>
                <c:pt idx="3735">
                  <c:v>2.7469999999999999</c:v>
                </c:pt>
                <c:pt idx="3736">
                  <c:v>2.7471999999999999</c:v>
                </c:pt>
                <c:pt idx="3737">
                  <c:v>2.7473998000000002</c:v>
                </c:pt>
                <c:pt idx="3738">
                  <c:v>2.7475998000000001</c:v>
                </c:pt>
                <c:pt idx="3739">
                  <c:v>2.7477999</c:v>
                </c:pt>
                <c:pt idx="3740">
                  <c:v>2.7479998999999999</c:v>
                </c:pt>
                <c:pt idx="3741">
                  <c:v>2.7481998999999999</c:v>
                </c:pt>
                <c:pt idx="3742">
                  <c:v>2.7484000000000002</c:v>
                </c:pt>
                <c:pt idx="3743">
                  <c:v>2.7486000000000002</c:v>
                </c:pt>
                <c:pt idx="3744">
                  <c:v>2.7488000000000001</c:v>
                </c:pt>
                <c:pt idx="3745">
                  <c:v>2.7489998</c:v>
                </c:pt>
                <c:pt idx="3746">
                  <c:v>2.7491998999999998</c:v>
                </c:pt>
                <c:pt idx="3747">
                  <c:v>2.7493998999999998</c:v>
                </c:pt>
                <c:pt idx="3748">
                  <c:v>2.7495999000000002</c:v>
                </c:pt>
                <c:pt idx="3749">
                  <c:v>2.7498</c:v>
                </c:pt>
                <c:pt idx="3750">
                  <c:v>2.75</c:v>
                </c:pt>
                <c:pt idx="3751">
                  <c:v>2.7502</c:v>
                </c:pt>
                <c:pt idx="3752">
                  <c:v>2.7503997999999998</c:v>
                </c:pt>
                <c:pt idx="3753">
                  <c:v>2.7505999000000001</c:v>
                </c:pt>
                <c:pt idx="3754">
                  <c:v>2.7507999000000001</c:v>
                </c:pt>
                <c:pt idx="3755">
                  <c:v>2.7509999000000001</c:v>
                </c:pt>
                <c:pt idx="3756">
                  <c:v>2.7511999999999999</c:v>
                </c:pt>
                <c:pt idx="3757">
                  <c:v>2.7513998000000002</c:v>
                </c:pt>
                <c:pt idx="3758">
                  <c:v>2.7515999999999998</c:v>
                </c:pt>
                <c:pt idx="3759">
                  <c:v>2.7518001000000001</c:v>
                </c:pt>
                <c:pt idx="3760">
                  <c:v>2.7519998999999999</c:v>
                </c:pt>
                <c:pt idx="3761">
                  <c:v>2.7521998999999999</c:v>
                </c:pt>
                <c:pt idx="3762">
                  <c:v>2.7523996999999998</c:v>
                </c:pt>
                <c:pt idx="3763">
                  <c:v>2.7526000000000002</c:v>
                </c:pt>
                <c:pt idx="3764">
                  <c:v>2.7528000000000001</c:v>
                </c:pt>
                <c:pt idx="3765">
                  <c:v>2.7529998</c:v>
                </c:pt>
                <c:pt idx="3766">
                  <c:v>2.7532000999999999</c:v>
                </c:pt>
                <c:pt idx="3767">
                  <c:v>2.7534000999999999</c:v>
                </c:pt>
                <c:pt idx="3768">
                  <c:v>2.7535999000000002</c:v>
                </c:pt>
                <c:pt idx="3769">
                  <c:v>2.7537999000000002</c:v>
                </c:pt>
                <c:pt idx="3770">
                  <c:v>2.7539997000000001</c:v>
                </c:pt>
                <c:pt idx="3771">
                  <c:v>2.7542</c:v>
                </c:pt>
                <c:pt idx="3772">
                  <c:v>2.7544</c:v>
                </c:pt>
                <c:pt idx="3773">
                  <c:v>2.7545997999999998</c:v>
                </c:pt>
                <c:pt idx="3774">
                  <c:v>2.7548001000000002</c:v>
                </c:pt>
                <c:pt idx="3775">
                  <c:v>2.7549999000000001</c:v>
                </c:pt>
                <c:pt idx="3776">
                  <c:v>2.7551999</c:v>
                </c:pt>
                <c:pt idx="3777">
                  <c:v>2.7553999</c:v>
                </c:pt>
                <c:pt idx="3778">
                  <c:v>2.7555996999999999</c:v>
                </c:pt>
                <c:pt idx="3779">
                  <c:v>2.7557999999999998</c:v>
                </c:pt>
                <c:pt idx="3780">
                  <c:v>2.7559998000000001</c:v>
                </c:pt>
                <c:pt idx="3781">
                  <c:v>2.7561998000000001</c:v>
                </c:pt>
                <c:pt idx="3782">
                  <c:v>2.7564001</c:v>
                </c:pt>
                <c:pt idx="3783">
                  <c:v>2.7565998999999999</c:v>
                </c:pt>
                <c:pt idx="3784">
                  <c:v>2.7567998999999999</c:v>
                </c:pt>
                <c:pt idx="3785">
                  <c:v>2.7570000000000001</c:v>
                </c:pt>
                <c:pt idx="3786">
                  <c:v>2.7571998</c:v>
                </c:pt>
                <c:pt idx="3787">
                  <c:v>2.7574000000000001</c:v>
                </c:pt>
                <c:pt idx="3788">
                  <c:v>2.7575997999999999</c:v>
                </c:pt>
                <c:pt idx="3789">
                  <c:v>2.7577999000000002</c:v>
                </c:pt>
                <c:pt idx="3790">
                  <c:v>2.7580000999999998</c:v>
                </c:pt>
                <c:pt idx="3791">
                  <c:v>2.7581999000000001</c:v>
                </c:pt>
                <c:pt idx="3792">
                  <c:v>2.7584</c:v>
                </c:pt>
                <c:pt idx="3793">
                  <c:v>2.7585997999999998</c:v>
                </c:pt>
                <c:pt idx="3794">
                  <c:v>2.7587997999999998</c:v>
                </c:pt>
                <c:pt idx="3795">
                  <c:v>2.7590001000000002</c:v>
                </c:pt>
                <c:pt idx="3796">
                  <c:v>2.7591999</c:v>
                </c:pt>
                <c:pt idx="3797">
                  <c:v>2.7593999</c:v>
                </c:pt>
                <c:pt idx="3798">
                  <c:v>2.7596001999999999</c:v>
                </c:pt>
                <c:pt idx="3799">
                  <c:v>2.7597999999999998</c:v>
                </c:pt>
                <c:pt idx="3800">
                  <c:v>2.76</c:v>
                </c:pt>
                <c:pt idx="3801">
                  <c:v>2.7601998000000001</c:v>
                </c:pt>
                <c:pt idx="3802">
                  <c:v>2.7603998000000001</c:v>
                </c:pt>
                <c:pt idx="3803">
                  <c:v>2.7606001</c:v>
                </c:pt>
                <c:pt idx="3804">
                  <c:v>2.7607998999999999</c:v>
                </c:pt>
                <c:pt idx="3805">
                  <c:v>2.7609998999999998</c:v>
                </c:pt>
                <c:pt idx="3806">
                  <c:v>2.7612000000000001</c:v>
                </c:pt>
                <c:pt idx="3807">
                  <c:v>2.7614000000000001</c:v>
                </c:pt>
                <c:pt idx="3808">
                  <c:v>2.7616000000000001</c:v>
                </c:pt>
                <c:pt idx="3809">
                  <c:v>2.7617997999999999</c:v>
                </c:pt>
                <c:pt idx="3810">
                  <c:v>2.7619997999999999</c:v>
                </c:pt>
                <c:pt idx="3811">
                  <c:v>2.7621999000000002</c:v>
                </c:pt>
                <c:pt idx="3812">
                  <c:v>2.7623999000000001</c:v>
                </c:pt>
                <c:pt idx="3813">
                  <c:v>2.7625999000000001</c:v>
                </c:pt>
                <c:pt idx="3814">
                  <c:v>2.7627999999999999</c:v>
                </c:pt>
                <c:pt idx="3815">
                  <c:v>2.7629999999999999</c:v>
                </c:pt>
                <c:pt idx="3816">
                  <c:v>2.7631998000000002</c:v>
                </c:pt>
                <c:pt idx="3817">
                  <c:v>2.7633998000000002</c:v>
                </c:pt>
                <c:pt idx="3818">
                  <c:v>2.7635999</c:v>
                </c:pt>
                <c:pt idx="3819">
                  <c:v>2.7637999</c:v>
                </c:pt>
                <c:pt idx="3820">
                  <c:v>2.7639999</c:v>
                </c:pt>
                <c:pt idx="3821">
                  <c:v>2.7642000000000002</c:v>
                </c:pt>
                <c:pt idx="3822">
                  <c:v>2.7644000000000002</c:v>
                </c:pt>
                <c:pt idx="3823">
                  <c:v>2.7646000000000002</c:v>
                </c:pt>
                <c:pt idx="3824">
                  <c:v>2.7647998</c:v>
                </c:pt>
                <c:pt idx="3825">
                  <c:v>2.7649998999999998</c:v>
                </c:pt>
                <c:pt idx="3826">
                  <c:v>2.7651998999999998</c:v>
                </c:pt>
                <c:pt idx="3827">
                  <c:v>2.7653998999999998</c:v>
                </c:pt>
                <c:pt idx="3828">
                  <c:v>2.7656000000000001</c:v>
                </c:pt>
                <c:pt idx="3829">
                  <c:v>2.7657997999999999</c:v>
                </c:pt>
                <c:pt idx="3830">
                  <c:v>2.766</c:v>
                </c:pt>
                <c:pt idx="3831">
                  <c:v>2.7662000999999998</c:v>
                </c:pt>
                <c:pt idx="3832">
                  <c:v>2.7663999000000001</c:v>
                </c:pt>
                <c:pt idx="3833">
                  <c:v>2.7665999000000001</c:v>
                </c:pt>
                <c:pt idx="3834">
                  <c:v>2.7667997</c:v>
                </c:pt>
                <c:pt idx="3835">
                  <c:v>2.7669999999999999</c:v>
                </c:pt>
                <c:pt idx="3836">
                  <c:v>2.7671999999999999</c:v>
                </c:pt>
                <c:pt idx="3837">
                  <c:v>2.7673998000000002</c:v>
                </c:pt>
                <c:pt idx="3838">
                  <c:v>2.7676001000000001</c:v>
                </c:pt>
                <c:pt idx="3839">
                  <c:v>2.7678001000000001</c:v>
                </c:pt>
                <c:pt idx="3840">
                  <c:v>2.7679999</c:v>
                </c:pt>
                <c:pt idx="3841">
                  <c:v>2.7681998999999999</c:v>
                </c:pt>
                <c:pt idx="3842">
                  <c:v>2.7683996999999998</c:v>
                </c:pt>
                <c:pt idx="3843">
                  <c:v>2.7686000000000002</c:v>
                </c:pt>
                <c:pt idx="3844">
                  <c:v>2.7688000000000001</c:v>
                </c:pt>
                <c:pt idx="3845">
                  <c:v>2.7689998</c:v>
                </c:pt>
                <c:pt idx="3846">
                  <c:v>2.7692000999999999</c:v>
                </c:pt>
                <c:pt idx="3847">
                  <c:v>2.7693998999999998</c:v>
                </c:pt>
                <c:pt idx="3848">
                  <c:v>2.7695998999999998</c:v>
                </c:pt>
                <c:pt idx="3849">
                  <c:v>2.7697999000000002</c:v>
                </c:pt>
                <c:pt idx="3850">
                  <c:v>2.7699997000000001</c:v>
                </c:pt>
                <c:pt idx="3851">
                  <c:v>2.7702</c:v>
                </c:pt>
                <c:pt idx="3852">
                  <c:v>2.7703997999999999</c:v>
                </c:pt>
                <c:pt idx="3853">
                  <c:v>2.7705997999999998</c:v>
                </c:pt>
                <c:pt idx="3854">
                  <c:v>2.7708001000000002</c:v>
                </c:pt>
                <c:pt idx="3855">
                  <c:v>2.7709999000000001</c:v>
                </c:pt>
                <c:pt idx="3856">
                  <c:v>2.7711999</c:v>
                </c:pt>
                <c:pt idx="3857">
                  <c:v>2.7713999999999999</c:v>
                </c:pt>
                <c:pt idx="3858">
                  <c:v>2.7715998000000002</c:v>
                </c:pt>
                <c:pt idx="3859">
                  <c:v>2.7717999999999998</c:v>
                </c:pt>
                <c:pt idx="3860">
                  <c:v>2.7719998000000001</c:v>
                </c:pt>
                <c:pt idx="3861">
                  <c:v>2.7721998999999999</c:v>
                </c:pt>
                <c:pt idx="3862">
                  <c:v>2.7724001</c:v>
                </c:pt>
                <c:pt idx="3863">
                  <c:v>2.7725998999999999</c:v>
                </c:pt>
                <c:pt idx="3864">
                  <c:v>2.7728000000000002</c:v>
                </c:pt>
                <c:pt idx="3865">
                  <c:v>2.7729998</c:v>
                </c:pt>
                <c:pt idx="3866">
                  <c:v>2.7731998</c:v>
                </c:pt>
                <c:pt idx="3867">
                  <c:v>2.7734000999999999</c:v>
                </c:pt>
                <c:pt idx="3868">
                  <c:v>2.7735998999999998</c:v>
                </c:pt>
                <c:pt idx="3869">
                  <c:v>2.7737999000000002</c:v>
                </c:pt>
                <c:pt idx="3870">
                  <c:v>2.7740002000000001</c:v>
                </c:pt>
                <c:pt idx="3871">
                  <c:v>2.7742</c:v>
                </c:pt>
                <c:pt idx="3872">
                  <c:v>2.7744</c:v>
                </c:pt>
                <c:pt idx="3873">
                  <c:v>2.7745997999999998</c:v>
                </c:pt>
                <c:pt idx="3874">
                  <c:v>2.7747997999999998</c:v>
                </c:pt>
                <c:pt idx="3875">
                  <c:v>2.7750001000000002</c:v>
                </c:pt>
                <c:pt idx="3876">
                  <c:v>2.7751999000000001</c:v>
                </c:pt>
                <c:pt idx="3877">
                  <c:v>2.7753999</c:v>
                </c:pt>
                <c:pt idx="3878">
                  <c:v>2.7755999999999998</c:v>
                </c:pt>
                <c:pt idx="3879">
                  <c:v>2.7757999999999998</c:v>
                </c:pt>
                <c:pt idx="3880">
                  <c:v>2.7759999999999998</c:v>
                </c:pt>
                <c:pt idx="3881">
                  <c:v>2.7761998000000001</c:v>
                </c:pt>
                <c:pt idx="3882">
                  <c:v>2.7763998999999999</c:v>
                </c:pt>
                <c:pt idx="3883">
                  <c:v>2.7765998999999999</c:v>
                </c:pt>
                <c:pt idx="3884">
                  <c:v>2.7767998999999999</c:v>
                </c:pt>
                <c:pt idx="3885">
                  <c:v>2.7770000000000001</c:v>
                </c:pt>
                <c:pt idx="3886">
                  <c:v>2.7772000000000001</c:v>
                </c:pt>
                <c:pt idx="3887">
                  <c:v>2.7774000000000001</c:v>
                </c:pt>
                <c:pt idx="3888">
                  <c:v>2.7775998</c:v>
                </c:pt>
                <c:pt idx="3889">
                  <c:v>2.7777997999999999</c:v>
                </c:pt>
                <c:pt idx="3890">
                  <c:v>2.7779999000000002</c:v>
                </c:pt>
                <c:pt idx="3891">
                  <c:v>2.7781999000000002</c:v>
                </c:pt>
                <c:pt idx="3892">
                  <c:v>2.7783999000000001</c:v>
                </c:pt>
                <c:pt idx="3893">
                  <c:v>2.7785997</c:v>
                </c:pt>
                <c:pt idx="3894">
                  <c:v>2.7787999999999999</c:v>
                </c:pt>
                <c:pt idx="3895">
                  <c:v>2.7789999999999999</c:v>
                </c:pt>
                <c:pt idx="3896">
                  <c:v>2.7791998000000002</c:v>
                </c:pt>
                <c:pt idx="3897">
                  <c:v>2.7793999</c:v>
                </c:pt>
                <c:pt idx="3898">
                  <c:v>2.7795999</c:v>
                </c:pt>
                <c:pt idx="3899">
                  <c:v>2.7797999</c:v>
                </c:pt>
                <c:pt idx="3900">
                  <c:v>2.78</c:v>
                </c:pt>
                <c:pt idx="3901">
                  <c:v>2.7801998000000001</c:v>
                </c:pt>
                <c:pt idx="3902">
                  <c:v>2.7804000000000002</c:v>
                </c:pt>
                <c:pt idx="3903">
                  <c:v>2.7806001</c:v>
                </c:pt>
                <c:pt idx="3904">
                  <c:v>2.7807998999999999</c:v>
                </c:pt>
                <c:pt idx="3905">
                  <c:v>2.7809998999999999</c:v>
                </c:pt>
                <c:pt idx="3906">
                  <c:v>2.7811997000000002</c:v>
                </c:pt>
                <c:pt idx="3907">
                  <c:v>2.7814000000000001</c:v>
                </c:pt>
                <c:pt idx="3908">
                  <c:v>2.7816000000000001</c:v>
                </c:pt>
                <c:pt idx="3909">
                  <c:v>2.7817997999999999</c:v>
                </c:pt>
                <c:pt idx="3910">
                  <c:v>2.7820000999999999</c:v>
                </c:pt>
                <c:pt idx="3911">
                  <c:v>2.7822000999999998</c:v>
                </c:pt>
                <c:pt idx="3912">
                  <c:v>2.7823999000000001</c:v>
                </c:pt>
                <c:pt idx="3913">
                  <c:v>2.7825999000000001</c:v>
                </c:pt>
                <c:pt idx="3914">
                  <c:v>2.7827997</c:v>
                </c:pt>
                <c:pt idx="3915">
                  <c:v>2.7829999999999999</c:v>
                </c:pt>
                <c:pt idx="3916">
                  <c:v>2.7831999999999999</c:v>
                </c:pt>
                <c:pt idx="3917">
                  <c:v>2.7833998000000002</c:v>
                </c:pt>
                <c:pt idx="3918">
                  <c:v>2.7836001000000001</c:v>
                </c:pt>
                <c:pt idx="3919">
                  <c:v>2.7837999</c:v>
                </c:pt>
                <c:pt idx="3920">
                  <c:v>2.7839999</c:v>
                </c:pt>
                <c:pt idx="3921">
                  <c:v>2.7841999999999998</c:v>
                </c:pt>
                <c:pt idx="3922">
                  <c:v>2.7843996999999998</c:v>
                </c:pt>
                <c:pt idx="3923">
                  <c:v>2.7846000000000002</c:v>
                </c:pt>
                <c:pt idx="3924">
                  <c:v>2.7847998</c:v>
                </c:pt>
                <c:pt idx="3925">
                  <c:v>2.7849998</c:v>
                </c:pt>
                <c:pt idx="3926">
                  <c:v>2.7852001</c:v>
                </c:pt>
                <c:pt idx="3927">
                  <c:v>2.7853998999999998</c:v>
                </c:pt>
                <c:pt idx="3928">
                  <c:v>2.7855998999999998</c:v>
                </c:pt>
                <c:pt idx="3929">
                  <c:v>2.7857997000000001</c:v>
                </c:pt>
                <c:pt idx="3930">
                  <c:v>2.7859997999999999</c:v>
                </c:pt>
                <c:pt idx="3931">
                  <c:v>2.7862</c:v>
                </c:pt>
                <c:pt idx="3932">
                  <c:v>2.7863997999999999</c:v>
                </c:pt>
                <c:pt idx="3933">
                  <c:v>2.7865999000000001</c:v>
                </c:pt>
                <c:pt idx="3934">
                  <c:v>2.7868000999999998</c:v>
                </c:pt>
                <c:pt idx="3935">
                  <c:v>2.7869999000000001</c:v>
                </c:pt>
                <c:pt idx="3936">
                  <c:v>2.7871999999999999</c:v>
                </c:pt>
                <c:pt idx="3937">
                  <c:v>2.7873998000000002</c:v>
                </c:pt>
                <c:pt idx="3938">
                  <c:v>2.7875998000000002</c:v>
                </c:pt>
                <c:pt idx="3939">
                  <c:v>2.7878001000000001</c:v>
                </c:pt>
                <c:pt idx="3940">
                  <c:v>2.7879999</c:v>
                </c:pt>
                <c:pt idx="3941">
                  <c:v>2.7881999</c:v>
                </c:pt>
                <c:pt idx="3942">
                  <c:v>2.7883998999999999</c:v>
                </c:pt>
                <c:pt idx="3943">
                  <c:v>2.7886000000000002</c:v>
                </c:pt>
                <c:pt idx="3944">
                  <c:v>2.7888000000000002</c:v>
                </c:pt>
                <c:pt idx="3945">
                  <c:v>2.7889998</c:v>
                </c:pt>
                <c:pt idx="3946">
                  <c:v>2.7891998</c:v>
                </c:pt>
                <c:pt idx="3947">
                  <c:v>2.7894000999999999</c:v>
                </c:pt>
                <c:pt idx="3948">
                  <c:v>2.7895998999999998</c:v>
                </c:pt>
                <c:pt idx="3949">
                  <c:v>2.7897999000000002</c:v>
                </c:pt>
                <c:pt idx="3950">
                  <c:v>2.79</c:v>
                </c:pt>
                <c:pt idx="3951">
                  <c:v>2.7902</c:v>
                </c:pt>
                <c:pt idx="3952">
                  <c:v>2.7904</c:v>
                </c:pt>
                <c:pt idx="3953">
                  <c:v>2.7905997999999999</c:v>
                </c:pt>
                <c:pt idx="3954">
                  <c:v>2.7907999000000001</c:v>
                </c:pt>
                <c:pt idx="3955">
                  <c:v>2.7909999000000001</c:v>
                </c:pt>
                <c:pt idx="3956">
                  <c:v>2.7911999000000001</c:v>
                </c:pt>
                <c:pt idx="3957">
                  <c:v>2.7913999999999999</c:v>
                </c:pt>
                <c:pt idx="3958">
                  <c:v>2.7915999999999999</c:v>
                </c:pt>
                <c:pt idx="3959">
                  <c:v>2.7917999999999998</c:v>
                </c:pt>
                <c:pt idx="3960">
                  <c:v>2.7919998000000001</c:v>
                </c:pt>
                <c:pt idx="3961">
                  <c:v>2.7921999</c:v>
                </c:pt>
                <c:pt idx="3962">
                  <c:v>2.7923998999999999</c:v>
                </c:pt>
                <c:pt idx="3963">
                  <c:v>2.7925998999999999</c:v>
                </c:pt>
                <c:pt idx="3964">
                  <c:v>2.7927998999999999</c:v>
                </c:pt>
                <c:pt idx="3965">
                  <c:v>2.7929997000000002</c:v>
                </c:pt>
                <c:pt idx="3966">
                  <c:v>2.7932000000000001</c:v>
                </c:pt>
                <c:pt idx="3967">
                  <c:v>2.7934000000000001</c:v>
                </c:pt>
                <c:pt idx="3968">
                  <c:v>2.7935998</c:v>
                </c:pt>
                <c:pt idx="3969">
                  <c:v>2.7937998999999998</c:v>
                </c:pt>
                <c:pt idx="3970">
                  <c:v>2.7939999000000002</c:v>
                </c:pt>
                <c:pt idx="3971">
                  <c:v>2.7941999000000002</c:v>
                </c:pt>
                <c:pt idx="3972">
                  <c:v>2.7944</c:v>
                </c:pt>
                <c:pt idx="3973">
                  <c:v>2.7945997999999999</c:v>
                </c:pt>
                <c:pt idx="3974">
                  <c:v>2.7948</c:v>
                </c:pt>
                <c:pt idx="3975">
                  <c:v>2.7950001000000002</c:v>
                </c:pt>
                <c:pt idx="3976">
                  <c:v>2.7951999000000001</c:v>
                </c:pt>
                <c:pt idx="3977">
                  <c:v>2.7953999</c:v>
                </c:pt>
                <c:pt idx="3978">
                  <c:v>2.7955996999999999</c:v>
                </c:pt>
                <c:pt idx="3979">
                  <c:v>2.7957999999999998</c:v>
                </c:pt>
                <c:pt idx="3980">
                  <c:v>2.7959999999999998</c:v>
                </c:pt>
                <c:pt idx="3981">
                  <c:v>2.7961998000000001</c:v>
                </c:pt>
                <c:pt idx="3982">
                  <c:v>2.7964001000000001</c:v>
                </c:pt>
                <c:pt idx="3983">
                  <c:v>2.7966001</c:v>
                </c:pt>
                <c:pt idx="3984">
                  <c:v>2.7967998999999999</c:v>
                </c:pt>
                <c:pt idx="3985">
                  <c:v>2.7969998999999999</c:v>
                </c:pt>
                <c:pt idx="3986">
                  <c:v>2.7971997000000002</c:v>
                </c:pt>
                <c:pt idx="3987">
                  <c:v>2.7974000000000001</c:v>
                </c:pt>
                <c:pt idx="3988">
                  <c:v>2.7976000000000001</c:v>
                </c:pt>
                <c:pt idx="3989">
                  <c:v>2.7977997999999999</c:v>
                </c:pt>
                <c:pt idx="3990">
                  <c:v>2.7980000999999999</c:v>
                </c:pt>
                <c:pt idx="3991">
                  <c:v>2.7981999000000002</c:v>
                </c:pt>
                <c:pt idx="3992">
                  <c:v>2.7983999000000002</c:v>
                </c:pt>
                <c:pt idx="3993">
                  <c:v>2.7986</c:v>
                </c:pt>
                <c:pt idx="3994">
                  <c:v>2.7987997999999998</c:v>
                </c:pt>
                <c:pt idx="3995">
                  <c:v>2.7989999999999999</c:v>
                </c:pt>
                <c:pt idx="3996">
                  <c:v>2.7991997999999998</c:v>
                </c:pt>
                <c:pt idx="3997">
                  <c:v>2.7993999000000001</c:v>
                </c:pt>
                <c:pt idx="3998">
                  <c:v>2.7996001000000001</c:v>
                </c:pt>
                <c:pt idx="3999">
                  <c:v>2.7997999</c:v>
                </c:pt>
                <c:pt idx="4000">
                  <c:v>2.8</c:v>
                </c:pt>
                <c:pt idx="4001">
                  <c:v>2.8001996999999998</c:v>
                </c:pt>
                <c:pt idx="4002">
                  <c:v>2.8003998000000001</c:v>
                </c:pt>
                <c:pt idx="4003">
                  <c:v>2.8006001</c:v>
                </c:pt>
                <c:pt idx="4004">
                  <c:v>2.8007998000000001</c:v>
                </c:pt>
                <c:pt idx="4005">
                  <c:v>2.8009998999999999</c:v>
                </c:pt>
                <c:pt idx="4006">
                  <c:v>2.8012001999999998</c:v>
                </c:pt>
                <c:pt idx="4007">
                  <c:v>2.8013998999999998</c:v>
                </c:pt>
                <c:pt idx="4008">
                  <c:v>2.8016000000000001</c:v>
                </c:pt>
                <c:pt idx="4009">
                  <c:v>2.8017998</c:v>
                </c:pt>
                <c:pt idx="4010">
                  <c:v>2.8019997999999999</c:v>
                </c:pt>
                <c:pt idx="4011">
                  <c:v>2.8022000999999999</c:v>
                </c:pt>
                <c:pt idx="4012">
                  <c:v>2.8023999000000002</c:v>
                </c:pt>
                <c:pt idx="4013">
                  <c:v>2.8025999000000001</c:v>
                </c:pt>
                <c:pt idx="4014">
                  <c:v>2.8027999000000001</c:v>
                </c:pt>
                <c:pt idx="4015">
                  <c:v>2.8029999999999999</c:v>
                </c:pt>
                <c:pt idx="4016">
                  <c:v>2.8031999999999999</c:v>
                </c:pt>
                <c:pt idx="4017">
                  <c:v>2.8033998000000002</c:v>
                </c:pt>
                <c:pt idx="4018">
                  <c:v>2.8035998000000002</c:v>
                </c:pt>
                <c:pt idx="4019">
                  <c:v>2.8037999</c:v>
                </c:pt>
                <c:pt idx="4020">
                  <c:v>2.8039999</c:v>
                </c:pt>
                <c:pt idx="4021">
                  <c:v>2.8041999</c:v>
                </c:pt>
                <c:pt idx="4022">
                  <c:v>2.8043999999999998</c:v>
                </c:pt>
                <c:pt idx="4023">
                  <c:v>2.8046000000000002</c:v>
                </c:pt>
                <c:pt idx="4024">
                  <c:v>2.8048000000000002</c:v>
                </c:pt>
                <c:pt idx="4025">
                  <c:v>2.8049998</c:v>
                </c:pt>
                <c:pt idx="4026">
                  <c:v>2.8051998999999999</c:v>
                </c:pt>
                <c:pt idx="4027">
                  <c:v>2.8053998999999998</c:v>
                </c:pt>
                <c:pt idx="4028">
                  <c:v>2.8055998999999998</c:v>
                </c:pt>
                <c:pt idx="4029">
                  <c:v>2.8058000000000001</c:v>
                </c:pt>
                <c:pt idx="4030">
                  <c:v>2.806</c:v>
                </c:pt>
                <c:pt idx="4031">
                  <c:v>2.8062</c:v>
                </c:pt>
                <c:pt idx="4032">
                  <c:v>2.8063997999999999</c:v>
                </c:pt>
                <c:pt idx="4033">
                  <c:v>2.8065999000000001</c:v>
                </c:pt>
                <c:pt idx="4034">
                  <c:v>2.8067999000000001</c:v>
                </c:pt>
                <c:pt idx="4035">
                  <c:v>2.8069999000000001</c:v>
                </c:pt>
                <c:pt idx="4036">
                  <c:v>2.8071999999999999</c:v>
                </c:pt>
                <c:pt idx="4037">
                  <c:v>2.8073996999999999</c:v>
                </c:pt>
                <c:pt idx="4038">
                  <c:v>2.8075999999999999</c:v>
                </c:pt>
                <c:pt idx="4039">
                  <c:v>2.8078001000000001</c:v>
                </c:pt>
                <c:pt idx="4040">
                  <c:v>2.8079998000000002</c:v>
                </c:pt>
                <c:pt idx="4041">
                  <c:v>2.8081999</c:v>
                </c:pt>
                <c:pt idx="4042">
                  <c:v>2.8083996999999998</c:v>
                </c:pt>
                <c:pt idx="4043">
                  <c:v>2.8085998999999999</c:v>
                </c:pt>
                <c:pt idx="4044">
                  <c:v>2.8088000000000002</c:v>
                </c:pt>
                <c:pt idx="4045">
                  <c:v>2.8089998</c:v>
                </c:pt>
                <c:pt idx="4046">
                  <c:v>2.8092000000000001</c:v>
                </c:pt>
                <c:pt idx="4047">
                  <c:v>2.8094001</c:v>
                </c:pt>
                <c:pt idx="4048">
                  <c:v>2.8095998999999998</c:v>
                </c:pt>
                <c:pt idx="4049">
                  <c:v>2.8097998999999998</c:v>
                </c:pt>
                <c:pt idx="4050">
                  <c:v>2.8099997000000001</c:v>
                </c:pt>
                <c:pt idx="4051">
                  <c:v>2.8102</c:v>
                </c:pt>
                <c:pt idx="4052">
                  <c:v>2.8104</c:v>
                </c:pt>
                <c:pt idx="4053">
                  <c:v>2.8105997999999999</c:v>
                </c:pt>
                <c:pt idx="4054">
                  <c:v>2.8108000999999998</c:v>
                </c:pt>
                <c:pt idx="4055">
                  <c:v>2.8109999000000001</c:v>
                </c:pt>
                <c:pt idx="4056">
                  <c:v>2.8111999000000001</c:v>
                </c:pt>
                <c:pt idx="4057">
                  <c:v>2.8113999000000001</c:v>
                </c:pt>
                <c:pt idx="4058">
                  <c:v>2.8115996999999999</c:v>
                </c:pt>
                <c:pt idx="4059">
                  <c:v>2.8117999999999999</c:v>
                </c:pt>
                <c:pt idx="4060">
                  <c:v>2.8119999999999998</c:v>
                </c:pt>
                <c:pt idx="4061">
                  <c:v>2.8121998000000001</c:v>
                </c:pt>
                <c:pt idx="4062">
                  <c:v>2.8124001000000001</c:v>
                </c:pt>
                <c:pt idx="4063">
                  <c:v>2.8125998999999999</c:v>
                </c:pt>
                <c:pt idx="4064">
                  <c:v>2.8127998999999999</c:v>
                </c:pt>
                <c:pt idx="4065">
                  <c:v>2.8130000000000002</c:v>
                </c:pt>
                <c:pt idx="4066">
                  <c:v>2.8131998</c:v>
                </c:pt>
                <c:pt idx="4067">
                  <c:v>2.8134000000000001</c:v>
                </c:pt>
                <c:pt idx="4068">
                  <c:v>2.8135998</c:v>
                </c:pt>
                <c:pt idx="4069">
                  <c:v>2.8137998999999998</c:v>
                </c:pt>
                <c:pt idx="4070">
                  <c:v>2.8140000999999999</c:v>
                </c:pt>
                <c:pt idx="4071">
                  <c:v>2.8141999000000002</c:v>
                </c:pt>
                <c:pt idx="4072">
                  <c:v>2.8144</c:v>
                </c:pt>
                <c:pt idx="4073">
                  <c:v>2.8145997999999999</c:v>
                </c:pt>
                <c:pt idx="4074">
                  <c:v>2.8147997999999999</c:v>
                </c:pt>
                <c:pt idx="4075">
                  <c:v>2.8150000999999998</c:v>
                </c:pt>
                <c:pt idx="4076">
                  <c:v>2.8151999000000001</c:v>
                </c:pt>
                <c:pt idx="4077">
                  <c:v>2.8153999000000001</c:v>
                </c:pt>
                <c:pt idx="4078">
                  <c:v>2.8156002</c:v>
                </c:pt>
                <c:pt idx="4079">
                  <c:v>2.8157999999999999</c:v>
                </c:pt>
                <c:pt idx="4080">
                  <c:v>2.8159999999999998</c:v>
                </c:pt>
                <c:pt idx="4081">
                  <c:v>2.8161998000000001</c:v>
                </c:pt>
                <c:pt idx="4082">
                  <c:v>2.8163998000000001</c:v>
                </c:pt>
                <c:pt idx="4083">
                  <c:v>2.8166001000000001</c:v>
                </c:pt>
                <c:pt idx="4084">
                  <c:v>2.8167998999999999</c:v>
                </c:pt>
                <c:pt idx="4085">
                  <c:v>2.8169998999999999</c:v>
                </c:pt>
                <c:pt idx="4086">
                  <c:v>2.8171998999999999</c:v>
                </c:pt>
                <c:pt idx="4087">
                  <c:v>2.8174000000000001</c:v>
                </c:pt>
                <c:pt idx="4088">
                  <c:v>2.8176000000000001</c:v>
                </c:pt>
                <c:pt idx="4089">
                  <c:v>2.8177998</c:v>
                </c:pt>
                <c:pt idx="4090">
                  <c:v>2.8179997999999999</c:v>
                </c:pt>
                <c:pt idx="4091">
                  <c:v>2.8181999000000002</c:v>
                </c:pt>
                <c:pt idx="4092">
                  <c:v>2.8183999000000002</c:v>
                </c:pt>
                <c:pt idx="4093">
                  <c:v>2.8185999000000002</c:v>
                </c:pt>
                <c:pt idx="4094">
                  <c:v>2.8188</c:v>
                </c:pt>
                <c:pt idx="4095">
                  <c:v>2.819</c:v>
                </c:pt>
                <c:pt idx="4096">
                  <c:v>2.8191999999999999</c:v>
                </c:pt>
                <c:pt idx="4097">
                  <c:v>2.8193997999999998</c:v>
                </c:pt>
                <c:pt idx="4098">
                  <c:v>2.8195999</c:v>
                </c:pt>
                <c:pt idx="4099">
                  <c:v>2.8197999</c:v>
                </c:pt>
                <c:pt idx="4100">
                  <c:v>2.8199999</c:v>
                </c:pt>
                <c:pt idx="4101">
                  <c:v>2.8201999999999998</c:v>
                </c:pt>
                <c:pt idx="4102">
                  <c:v>2.8203999999999998</c:v>
                </c:pt>
                <c:pt idx="4103">
                  <c:v>2.8206000000000002</c:v>
                </c:pt>
                <c:pt idx="4104">
                  <c:v>2.8207998000000001</c:v>
                </c:pt>
                <c:pt idx="4105">
                  <c:v>2.8209998999999999</c:v>
                </c:pt>
                <c:pt idx="4106">
                  <c:v>2.8211998999999999</c:v>
                </c:pt>
                <c:pt idx="4107">
                  <c:v>2.8213998999999998</c:v>
                </c:pt>
                <c:pt idx="4108">
                  <c:v>2.8216000000000001</c:v>
                </c:pt>
                <c:pt idx="4109">
                  <c:v>2.8217998</c:v>
                </c:pt>
                <c:pt idx="4110">
                  <c:v>2.8220000000000001</c:v>
                </c:pt>
                <c:pt idx="4111">
                  <c:v>2.8222000999999999</c:v>
                </c:pt>
                <c:pt idx="4112">
                  <c:v>2.8223999000000002</c:v>
                </c:pt>
                <c:pt idx="4113">
                  <c:v>2.8225999000000002</c:v>
                </c:pt>
                <c:pt idx="4114">
                  <c:v>2.8227997</c:v>
                </c:pt>
                <c:pt idx="4115">
                  <c:v>2.823</c:v>
                </c:pt>
                <c:pt idx="4116">
                  <c:v>2.8231999999999999</c:v>
                </c:pt>
                <c:pt idx="4117">
                  <c:v>2.8233997999999998</c:v>
                </c:pt>
                <c:pt idx="4118">
                  <c:v>2.8236001000000002</c:v>
                </c:pt>
                <c:pt idx="4119">
                  <c:v>2.8238001000000001</c:v>
                </c:pt>
                <c:pt idx="4120">
                  <c:v>2.8239999</c:v>
                </c:pt>
                <c:pt idx="4121">
                  <c:v>2.8241999</c:v>
                </c:pt>
                <c:pt idx="4122">
                  <c:v>2.8243996999999998</c:v>
                </c:pt>
                <c:pt idx="4123">
                  <c:v>2.8246000000000002</c:v>
                </c:pt>
                <c:pt idx="4124">
                  <c:v>2.8248000000000002</c:v>
                </c:pt>
                <c:pt idx="4125">
                  <c:v>2.8249998000000001</c:v>
                </c:pt>
                <c:pt idx="4126">
                  <c:v>2.8252001</c:v>
                </c:pt>
                <c:pt idx="4127">
                  <c:v>2.8253998999999999</c:v>
                </c:pt>
                <c:pt idx="4128">
                  <c:v>2.8255998999999998</c:v>
                </c:pt>
                <c:pt idx="4129">
                  <c:v>2.8257998999999998</c:v>
                </c:pt>
                <c:pt idx="4130">
                  <c:v>2.8259997000000001</c:v>
                </c:pt>
                <c:pt idx="4131">
                  <c:v>2.8262</c:v>
                </c:pt>
                <c:pt idx="4132">
                  <c:v>2.8263997999999999</c:v>
                </c:pt>
                <c:pt idx="4133">
                  <c:v>2.8265997999999999</c:v>
                </c:pt>
                <c:pt idx="4134">
                  <c:v>2.8268000999999998</c:v>
                </c:pt>
                <c:pt idx="4135">
                  <c:v>2.8269999000000001</c:v>
                </c:pt>
                <c:pt idx="4136">
                  <c:v>2.8271999000000001</c:v>
                </c:pt>
                <c:pt idx="4137">
                  <c:v>2.8273999999999999</c:v>
                </c:pt>
                <c:pt idx="4138">
                  <c:v>2.8275998000000002</c:v>
                </c:pt>
                <c:pt idx="4139">
                  <c:v>2.8277999999999999</c:v>
                </c:pt>
                <c:pt idx="4140">
                  <c:v>2.8279998000000002</c:v>
                </c:pt>
                <c:pt idx="4141">
                  <c:v>2.8281999</c:v>
                </c:pt>
                <c:pt idx="4142">
                  <c:v>2.8284001000000001</c:v>
                </c:pt>
                <c:pt idx="4143">
                  <c:v>2.8285998999999999</c:v>
                </c:pt>
                <c:pt idx="4144">
                  <c:v>2.8288000000000002</c:v>
                </c:pt>
                <c:pt idx="4145">
                  <c:v>2.8289998000000001</c:v>
                </c:pt>
                <c:pt idx="4146">
                  <c:v>2.8291998</c:v>
                </c:pt>
                <c:pt idx="4147">
                  <c:v>2.8294001</c:v>
                </c:pt>
                <c:pt idx="4148">
                  <c:v>2.8295998999999998</c:v>
                </c:pt>
                <c:pt idx="4149">
                  <c:v>2.8297998999999998</c:v>
                </c:pt>
                <c:pt idx="4150">
                  <c:v>2.8300002000000002</c:v>
                </c:pt>
                <c:pt idx="4151">
                  <c:v>2.8302</c:v>
                </c:pt>
                <c:pt idx="4152">
                  <c:v>2.8304</c:v>
                </c:pt>
                <c:pt idx="4153">
                  <c:v>2.8305997999999999</c:v>
                </c:pt>
                <c:pt idx="4154">
                  <c:v>2.8307997999999999</c:v>
                </c:pt>
                <c:pt idx="4155">
                  <c:v>2.8310000999999998</c:v>
                </c:pt>
                <c:pt idx="4156">
                  <c:v>2.8311999000000001</c:v>
                </c:pt>
                <c:pt idx="4157">
                  <c:v>2.8313999000000001</c:v>
                </c:pt>
                <c:pt idx="4158">
                  <c:v>2.8315999999999999</c:v>
                </c:pt>
                <c:pt idx="4159">
                  <c:v>2.8317999999999999</c:v>
                </c:pt>
                <c:pt idx="4160">
                  <c:v>2.8319999999999999</c:v>
                </c:pt>
                <c:pt idx="4161">
                  <c:v>2.8321998000000002</c:v>
                </c:pt>
                <c:pt idx="4162">
                  <c:v>2.8323998000000001</c:v>
                </c:pt>
                <c:pt idx="4163">
                  <c:v>2.8325998999999999</c:v>
                </c:pt>
                <c:pt idx="4164">
                  <c:v>2.8327998999999999</c:v>
                </c:pt>
                <c:pt idx="4165">
                  <c:v>2.8329998999999999</c:v>
                </c:pt>
                <c:pt idx="4166">
                  <c:v>2.8332000000000002</c:v>
                </c:pt>
                <c:pt idx="4167">
                  <c:v>2.8334000000000001</c:v>
                </c:pt>
                <c:pt idx="4168">
                  <c:v>2.8335998</c:v>
                </c:pt>
                <c:pt idx="4169">
                  <c:v>2.8337998</c:v>
                </c:pt>
                <c:pt idx="4170">
                  <c:v>2.8339998999999998</c:v>
                </c:pt>
                <c:pt idx="4171">
                  <c:v>2.8341999000000002</c:v>
                </c:pt>
                <c:pt idx="4172">
                  <c:v>2.8343999000000002</c:v>
                </c:pt>
                <c:pt idx="4173">
                  <c:v>2.8346</c:v>
                </c:pt>
                <c:pt idx="4174">
                  <c:v>2.8348</c:v>
                </c:pt>
                <c:pt idx="4175">
                  <c:v>2.835</c:v>
                </c:pt>
                <c:pt idx="4176">
                  <c:v>2.8351997999999998</c:v>
                </c:pt>
                <c:pt idx="4177">
                  <c:v>2.8353999000000001</c:v>
                </c:pt>
                <c:pt idx="4178">
                  <c:v>2.8355999000000001</c:v>
                </c:pt>
                <c:pt idx="4179">
                  <c:v>2.8357999</c:v>
                </c:pt>
                <c:pt idx="4180">
                  <c:v>2.8359999999999999</c:v>
                </c:pt>
                <c:pt idx="4181">
                  <c:v>2.8361998000000002</c:v>
                </c:pt>
                <c:pt idx="4182">
                  <c:v>2.8363999999999998</c:v>
                </c:pt>
                <c:pt idx="4183">
                  <c:v>2.8366001000000001</c:v>
                </c:pt>
                <c:pt idx="4184">
                  <c:v>2.8367998999999999</c:v>
                </c:pt>
                <c:pt idx="4185">
                  <c:v>2.8369998999999999</c:v>
                </c:pt>
                <c:pt idx="4186">
                  <c:v>2.8371997000000002</c:v>
                </c:pt>
                <c:pt idx="4187">
                  <c:v>2.8374000000000001</c:v>
                </c:pt>
                <c:pt idx="4188">
                  <c:v>2.8376000000000001</c:v>
                </c:pt>
                <c:pt idx="4189">
                  <c:v>2.8377998</c:v>
                </c:pt>
                <c:pt idx="4190">
                  <c:v>2.8380000999999999</c:v>
                </c:pt>
                <c:pt idx="4191">
                  <c:v>2.8382000999999999</c:v>
                </c:pt>
                <c:pt idx="4192">
                  <c:v>2.8383999000000002</c:v>
                </c:pt>
                <c:pt idx="4193">
                  <c:v>2.8385999000000002</c:v>
                </c:pt>
                <c:pt idx="4194">
                  <c:v>2.8387997</c:v>
                </c:pt>
                <c:pt idx="4195">
                  <c:v>2.839</c:v>
                </c:pt>
                <c:pt idx="4196">
                  <c:v>2.8391999999999999</c:v>
                </c:pt>
                <c:pt idx="4197">
                  <c:v>2.8393997999999998</c:v>
                </c:pt>
                <c:pt idx="4198">
                  <c:v>2.8396001000000002</c:v>
                </c:pt>
                <c:pt idx="4199">
                  <c:v>2.8397999</c:v>
                </c:pt>
                <c:pt idx="4200">
                  <c:v>2.8399999</c:v>
                </c:pt>
                <c:pt idx="4201">
                  <c:v>2.8401999</c:v>
                </c:pt>
                <c:pt idx="4202">
                  <c:v>2.8403996999999999</c:v>
                </c:pt>
                <c:pt idx="4203">
                  <c:v>2.8405999999999998</c:v>
                </c:pt>
                <c:pt idx="4204">
                  <c:v>2.8407998000000001</c:v>
                </c:pt>
                <c:pt idx="4205">
                  <c:v>2.8409998000000001</c:v>
                </c:pt>
                <c:pt idx="4206">
                  <c:v>2.8412001</c:v>
                </c:pt>
                <c:pt idx="4207">
                  <c:v>2.8413998999999999</c:v>
                </c:pt>
                <c:pt idx="4208">
                  <c:v>2.8415998999999998</c:v>
                </c:pt>
                <c:pt idx="4209">
                  <c:v>2.8418000000000001</c:v>
                </c:pt>
                <c:pt idx="4210">
                  <c:v>2.8419998</c:v>
                </c:pt>
                <c:pt idx="4211">
                  <c:v>2.8422000000000001</c:v>
                </c:pt>
                <c:pt idx="4212">
                  <c:v>2.8423997999999999</c:v>
                </c:pt>
                <c:pt idx="4213">
                  <c:v>2.8425999000000002</c:v>
                </c:pt>
                <c:pt idx="4214">
                  <c:v>2.8428000999999998</c:v>
                </c:pt>
                <c:pt idx="4215">
                  <c:v>2.8429999000000001</c:v>
                </c:pt>
                <c:pt idx="4216">
                  <c:v>2.8431999999999999</c:v>
                </c:pt>
                <c:pt idx="4217">
                  <c:v>2.8433997999999998</c:v>
                </c:pt>
                <c:pt idx="4218">
                  <c:v>2.8435997999999998</c:v>
                </c:pt>
                <c:pt idx="4219">
                  <c:v>2.8438001000000002</c:v>
                </c:pt>
                <c:pt idx="4220">
                  <c:v>2.8439999</c:v>
                </c:pt>
                <c:pt idx="4221">
                  <c:v>2.8441999</c:v>
                </c:pt>
                <c:pt idx="4222">
                  <c:v>2.8443999</c:v>
                </c:pt>
                <c:pt idx="4223">
                  <c:v>2.8445999999999998</c:v>
                </c:pt>
                <c:pt idx="4224">
                  <c:v>2.8448000000000002</c:v>
                </c:pt>
                <c:pt idx="4225">
                  <c:v>2.8449998000000001</c:v>
                </c:pt>
                <c:pt idx="4226">
                  <c:v>2.8451998000000001</c:v>
                </c:pt>
                <c:pt idx="4227">
                  <c:v>2.8454001</c:v>
                </c:pt>
                <c:pt idx="4228">
                  <c:v>2.8455998999999998</c:v>
                </c:pt>
                <c:pt idx="4229">
                  <c:v>2.8457998999999998</c:v>
                </c:pt>
                <c:pt idx="4230">
                  <c:v>2.8460000000000001</c:v>
                </c:pt>
                <c:pt idx="4231">
                  <c:v>2.8462000000000001</c:v>
                </c:pt>
                <c:pt idx="4232">
                  <c:v>2.8464</c:v>
                </c:pt>
                <c:pt idx="4233">
                  <c:v>2.8465997999999999</c:v>
                </c:pt>
                <c:pt idx="4234">
                  <c:v>2.8467999000000002</c:v>
                </c:pt>
                <c:pt idx="4235">
                  <c:v>2.8469999000000001</c:v>
                </c:pt>
                <c:pt idx="4236">
                  <c:v>2.8471999000000001</c:v>
                </c:pt>
                <c:pt idx="4237">
                  <c:v>2.8473999999999999</c:v>
                </c:pt>
                <c:pt idx="4238">
                  <c:v>2.8475999999999999</c:v>
                </c:pt>
                <c:pt idx="4239">
                  <c:v>2.8477999999999999</c:v>
                </c:pt>
                <c:pt idx="4240">
                  <c:v>2.8479998000000002</c:v>
                </c:pt>
                <c:pt idx="4241">
                  <c:v>2.8481998000000002</c:v>
                </c:pt>
                <c:pt idx="4242">
                  <c:v>2.8483999</c:v>
                </c:pt>
                <c:pt idx="4243">
                  <c:v>2.8485999</c:v>
                </c:pt>
                <c:pt idx="4244">
                  <c:v>2.8487998999999999</c:v>
                </c:pt>
                <c:pt idx="4245">
                  <c:v>2.8489996999999998</c:v>
                </c:pt>
                <c:pt idx="4246">
                  <c:v>2.8492000000000002</c:v>
                </c:pt>
                <c:pt idx="4247">
                  <c:v>2.8494000000000002</c:v>
                </c:pt>
                <c:pt idx="4248">
                  <c:v>2.8495998</c:v>
                </c:pt>
                <c:pt idx="4249">
                  <c:v>2.8497998999999998</c:v>
                </c:pt>
                <c:pt idx="4250">
                  <c:v>2.8499998999999998</c:v>
                </c:pt>
                <c:pt idx="4251">
                  <c:v>2.8501998999999998</c:v>
                </c:pt>
                <c:pt idx="4252">
                  <c:v>2.8504</c:v>
                </c:pt>
                <c:pt idx="4253">
                  <c:v>2.8505997999999999</c:v>
                </c:pt>
                <c:pt idx="4254">
                  <c:v>2.8508</c:v>
                </c:pt>
                <c:pt idx="4255">
                  <c:v>2.8510000999999998</c:v>
                </c:pt>
                <c:pt idx="4256">
                  <c:v>2.8511999000000001</c:v>
                </c:pt>
                <c:pt idx="4257">
                  <c:v>2.8513999000000001</c:v>
                </c:pt>
                <c:pt idx="4258">
                  <c:v>2.8515997</c:v>
                </c:pt>
                <c:pt idx="4259">
                  <c:v>2.8517999999999999</c:v>
                </c:pt>
                <c:pt idx="4260">
                  <c:v>2.8519999999999999</c:v>
                </c:pt>
                <c:pt idx="4261">
                  <c:v>2.8521998000000002</c:v>
                </c:pt>
                <c:pt idx="4262">
                  <c:v>2.8524001000000001</c:v>
                </c:pt>
                <c:pt idx="4263">
                  <c:v>2.8526001000000001</c:v>
                </c:pt>
                <c:pt idx="4264">
                  <c:v>2.8527998999999999</c:v>
                </c:pt>
                <c:pt idx="4265">
                  <c:v>2.8529998999999999</c:v>
                </c:pt>
                <c:pt idx="4266">
                  <c:v>2.8531996999999998</c:v>
                </c:pt>
                <c:pt idx="4267">
                  <c:v>2.8534000000000002</c:v>
                </c:pt>
                <c:pt idx="4268">
                  <c:v>2.8536000000000001</c:v>
                </c:pt>
                <c:pt idx="4269">
                  <c:v>2.8537998</c:v>
                </c:pt>
                <c:pt idx="4270">
                  <c:v>2.8540000999999999</c:v>
                </c:pt>
                <c:pt idx="4271">
                  <c:v>2.8541998999999998</c:v>
                </c:pt>
                <c:pt idx="4272">
                  <c:v>2.8543999000000002</c:v>
                </c:pt>
                <c:pt idx="4273">
                  <c:v>2.8546</c:v>
                </c:pt>
                <c:pt idx="4274">
                  <c:v>2.8547997000000001</c:v>
                </c:pt>
                <c:pt idx="4275">
                  <c:v>2.855</c:v>
                </c:pt>
                <c:pt idx="4276">
                  <c:v>2.8551997999999998</c:v>
                </c:pt>
                <c:pt idx="4277">
                  <c:v>2.8553997999999998</c:v>
                </c:pt>
                <c:pt idx="4278">
                  <c:v>2.8556001000000002</c:v>
                </c:pt>
                <c:pt idx="4279">
                  <c:v>2.8557999000000001</c:v>
                </c:pt>
                <c:pt idx="4280">
                  <c:v>2.8559999</c:v>
                </c:pt>
                <c:pt idx="4281">
                  <c:v>2.8561996999999999</c:v>
                </c:pt>
                <c:pt idx="4282">
                  <c:v>2.8563998000000002</c:v>
                </c:pt>
                <c:pt idx="4283">
                  <c:v>2.8565999999999998</c:v>
                </c:pt>
                <c:pt idx="4284">
                  <c:v>2.8567998000000001</c:v>
                </c:pt>
                <c:pt idx="4285">
                  <c:v>2.8569998999999999</c:v>
                </c:pt>
                <c:pt idx="4286">
                  <c:v>2.8572001</c:v>
                </c:pt>
                <c:pt idx="4287">
                  <c:v>2.8573998999999999</c:v>
                </c:pt>
                <c:pt idx="4288">
                  <c:v>2.8576000000000001</c:v>
                </c:pt>
                <c:pt idx="4289">
                  <c:v>2.8577998</c:v>
                </c:pt>
                <c:pt idx="4290">
                  <c:v>2.8579998</c:v>
                </c:pt>
                <c:pt idx="4291">
                  <c:v>2.8582000999999999</c:v>
                </c:pt>
                <c:pt idx="4292">
                  <c:v>2.8583999000000002</c:v>
                </c:pt>
                <c:pt idx="4293">
                  <c:v>2.8585999000000002</c:v>
                </c:pt>
                <c:pt idx="4294">
                  <c:v>2.8587999000000002</c:v>
                </c:pt>
                <c:pt idx="4295">
                  <c:v>2.859</c:v>
                </c:pt>
                <c:pt idx="4296">
                  <c:v>2.8592</c:v>
                </c:pt>
                <c:pt idx="4297">
                  <c:v>2.8593997999999998</c:v>
                </c:pt>
                <c:pt idx="4298">
                  <c:v>2.8595997999999998</c:v>
                </c:pt>
                <c:pt idx="4299">
                  <c:v>2.8598001000000002</c:v>
                </c:pt>
                <c:pt idx="4300">
                  <c:v>2.8599999</c:v>
                </c:pt>
                <c:pt idx="4301">
                  <c:v>2.8601999</c:v>
                </c:pt>
                <c:pt idx="4302">
                  <c:v>2.8603999999999998</c:v>
                </c:pt>
                <c:pt idx="4303">
                  <c:v>2.8605999999999998</c:v>
                </c:pt>
                <c:pt idx="4304">
                  <c:v>2.8607999999999998</c:v>
                </c:pt>
                <c:pt idx="4305">
                  <c:v>2.8609998000000001</c:v>
                </c:pt>
                <c:pt idx="4306">
                  <c:v>2.8611998999999999</c:v>
                </c:pt>
                <c:pt idx="4307">
                  <c:v>2.8613998999999999</c:v>
                </c:pt>
                <c:pt idx="4308">
                  <c:v>2.8615998999999999</c:v>
                </c:pt>
                <c:pt idx="4309">
                  <c:v>2.8618000000000001</c:v>
                </c:pt>
                <c:pt idx="4310">
                  <c:v>2.8620000000000001</c:v>
                </c:pt>
                <c:pt idx="4311">
                  <c:v>2.8622000000000001</c:v>
                </c:pt>
                <c:pt idx="4312">
                  <c:v>2.8623997999999999</c:v>
                </c:pt>
                <c:pt idx="4313">
                  <c:v>2.8625997999999999</c:v>
                </c:pt>
                <c:pt idx="4314">
                  <c:v>2.8627999000000002</c:v>
                </c:pt>
                <c:pt idx="4315">
                  <c:v>2.8629999000000002</c:v>
                </c:pt>
                <c:pt idx="4316">
                  <c:v>2.8631999000000001</c:v>
                </c:pt>
                <c:pt idx="4317">
                  <c:v>2.8633997</c:v>
                </c:pt>
                <c:pt idx="4318">
                  <c:v>2.8635999999999999</c:v>
                </c:pt>
                <c:pt idx="4319">
                  <c:v>2.8637999999999999</c:v>
                </c:pt>
                <c:pt idx="4320">
                  <c:v>2.8639998000000002</c:v>
                </c:pt>
                <c:pt idx="4321">
                  <c:v>2.8641999</c:v>
                </c:pt>
                <c:pt idx="4322">
                  <c:v>2.8643999</c:v>
                </c:pt>
                <c:pt idx="4323">
                  <c:v>2.8645999</c:v>
                </c:pt>
                <c:pt idx="4324">
                  <c:v>2.8647999999999998</c:v>
                </c:pt>
                <c:pt idx="4325">
                  <c:v>2.8649998000000001</c:v>
                </c:pt>
                <c:pt idx="4326">
                  <c:v>2.8652000000000002</c:v>
                </c:pt>
                <c:pt idx="4327">
                  <c:v>2.8654001</c:v>
                </c:pt>
                <c:pt idx="4328">
                  <c:v>2.8655998999999999</c:v>
                </c:pt>
                <c:pt idx="4329">
                  <c:v>2.8657998999999998</c:v>
                </c:pt>
                <c:pt idx="4330">
                  <c:v>2.8659997000000001</c:v>
                </c:pt>
                <c:pt idx="4331">
                  <c:v>2.8662000000000001</c:v>
                </c:pt>
                <c:pt idx="4332">
                  <c:v>2.8664000000000001</c:v>
                </c:pt>
                <c:pt idx="4333">
                  <c:v>2.8665997999999999</c:v>
                </c:pt>
                <c:pt idx="4334">
                  <c:v>2.8668000999999999</c:v>
                </c:pt>
                <c:pt idx="4335">
                  <c:v>2.8669999000000002</c:v>
                </c:pt>
                <c:pt idx="4336">
                  <c:v>2.8671999000000001</c:v>
                </c:pt>
                <c:pt idx="4337">
                  <c:v>2.8673999000000001</c:v>
                </c:pt>
                <c:pt idx="4338">
                  <c:v>2.8675997</c:v>
                </c:pt>
                <c:pt idx="4339">
                  <c:v>2.8677999999999999</c:v>
                </c:pt>
                <c:pt idx="4340">
                  <c:v>2.8679999999999999</c:v>
                </c:pt>
                <c:pt idx="4341">
                  <c:v>2.8681998000000002</c:v>
                </c:pt>
                <c:pt idx="4342">
                  <c:v>2.8684001000000001</c:v>
                </c:pt>
                <c:pt idx="4343">
                  <c:v>2.8685999</c:v>
                </c:pt>
                <c:pt idx="4344">
                  <c:v>2.8687999</c:v>
                </c:pt>
                <c:pt idx="4345">
                  <c:v>2.8690000000000002</c:v>
                </c:pt>
                <c:pt idx="4346">
                  <c:v>2.8691998000000001</c:v>
                </c:pt>
                <c:pt idx="4347">
                  <c:v>2.8694000000000002</c:v>
                </c:pt>
                <c:pt idx="4348">
                  <c:v>2.8695998</c:v>
                </c:pt>
                <c:pt idx="4349">
                  <c:v>2.8697998999999998</c:v>
                </c:pt>
                <c:pt idx="4350">
                  <c:v>2.8700000999999999</c:v>
                </c:pt>
                <c:pt idx="4351">
                  <c:v>2.8701998999999998</c:v>
                </c:pt>
                <c:pt idx="4352">
                  <c:v>2.8704000000000001</c:v>
                </c:pt>
                <c:pt idx="4353">
                  <c:v>2.8705997000000001</c:v>
                </c:pt>
                <c:pt idx="4354">
                  <c:v>2.8707997999999999</c:v>
                </c:pt>
                <c:pt idx="4355">
                  <c:v>2.8710000999999998</c:v>
                </c:pt>
                <c:pt idx="4356">
                  <c:v>2.8711997999999999</c:v>
                </c:pt>
                <c:pt idx="4357">
                  <c:v>2.8713999000000001</c:v>
                </c:pt>
                <c:pt idx="4358">
                  <c:v>2.8716002</c:v>
                </c:pt>
                <c:pt idx="4359">
                  <c:v>2.8717999000000001</c:v>
                </c:pt>
                <c:pt idx="4360">
                  <c:v>2.8719999999999999</c:v>
                </c:pt>
                <c:pt idx="4361">
                  <c:v>2.8721998000000002</c:v>
                </c:pt>
                <c:pt idx="4362">
                  <c:v>2.8723998000000002</c:v>
                </c:pt>
                <c:pt idx="4363">
                  <c:v>2.8726001000000001</c:v>
                </c:pt>
                <c:pt idx="4364">
                  <c:v>2.8727999</c:v>
                </c:pt>
                <c:pt idx="4365">
                  <c:v>2.8729998999999999</c:v>
                </c:pt>
                <c:pt idx="4366">
                  <c:v>2.8731998999999999</c:v>
                </c:pt>
                <c:pt idx="4367">
                  <c:v>2.8734000000000002</c:v>
                </c:pt>
                <c:pt idx="4368">
                  <c:v>2.8736000000000002</c:v>
                </c:pt>
                <c:pt idx="4369">
                  <c:v>2.8737998</c:v>
                </c:pt>
                <c:pt idx="4370">
                  <c:v>2.8739998</c:v>
                </c:pt>
                <c:pt idx="4371">
                  <c:v>2.8741998999999998</c:v>
                </c:pt>
                <c:pt idx="4372">
                  <c:v>2.8743998999999998</c:v>
                </c:pt>
                <c:pt idx="4373">
                  <c:v>2.8745999000000002</c:v>
                </c:pt>
                <c:pt idx="4374">
                  <c:v>2.8748</c:v>
                </c:pt>
                <c:pt idx="4375">
                  <c:v>2.875</c:v>
                </c:pt>
                <c:pt idx="4376">
                  <c:v>2.8752</c:v>
                </c:pt>
                <c:pt idx="4377">
                  <c:v>2.8753997999999998</c:v>
                </c:pt>
                <c:pt idx="4378">
                  <c:v>2.8755999000000001</c:v>
                </c:pt>
                <c:pt idx="4379">
                  <c:v>2.8757999000000001</c:v>
                </c:pt>
                <c:pt idx="4380">
                  <c:v>2.8759999000000001</c:v>
                </c:pt>
                <c:pt idx="4381">
                  <c:v>2.8761999999999999</c:v>
                </c:pt>
                <c:pt idx="4382">
                  <c:v>2.8763999999999998</c:v>
                </c:pt>
                <c:pt idx="4383">
                  <c:v>2.8765999999999998</c:v>
                </c:pt>
                <c:pt idx="4384">
                  <c:v>2.8767998000000001</c:v>
                </c:pt>
                <c:pt idx="4385">
                  <c:v>2.8769998999999999</c:v>
                </c:pt>
                <c:pt idx="4386">
                  <c:v>2.8771998999999999</c:v>
                </c:pt>
                <c:pt idx="4387">
                  <c:v>2.8773998999999999</c:v>
                </c:pt>
                <c:pt idx="4388">
                  <c:v>2.8776000000000002</c:v>
                </c:pt>
                <c:pt idx="4389">
                  <c:v>2.8777997000000002</c:v>
                </c:pt>
                <c:pt idx="4390">
                  <c:v>2.8780000000000001</c:v>
                </c:pt>
                <c:pt idx="4391">
                  <c:v>2.8782000999999999</c:v>
                </c:pt>
                <c:pt idx="4392">
                  <c:v>2.8783998</c:v>
                </c:pt>
                <c:pt idx="4393">
                  <c:v>2.8785999000000002</c:v>
                </c:pt>
                <c:pt idx="4394">
                  <c:v>2.8787997000000001</c:v>
                </c:pt>
                <c:pt idx="4395">
                  <c:v>2.8789999000000002</c:v>
                </c:pt>
                <c:pt idx="4396">
                  <c:v>2.8792</c:v>
                </c:pt>
                <c:pt idx="4397">
                  <c:v>2.8793997999999998</c:v>
                </c:pt>
                <c:pt idx="4398">
                  <c:v>2.8795999999999999</c:v>
                </c:pt>
                <c:pt idx="4399">
                  <c:v>2.8798001000000002</c:v>
                </c:pt>
                <c:pt idx="4400">
                  <c:v>2.8799999000000001</c:v>
                </c:pt>
                <c:pt idx="4401">
                  <c:v>2.8801999</c:v>
                </c:pt>
                <c:pt idx="4402">
                  <c:v>2.8803996999999999</c:v>
                </c:pt>
                <c:pt idx="4403">
                  <c:v>2.8805999999999998</c:v>
                </c:pt>
                <c:pt idx="4404">
                  <c:v>2.8807999999999998</c:v>
                </c:pt>
                <c:pt idx="4405">
                  <c:v>2.8809998000000001</c:v>
                </c:pt>
                <c:pt idx="4406">
                  <c:v>2.8812001</c:v>
                </c:pt>
                <c:pt idx="4407">
                  <c:v>2.8813998999999999</c:v>
                </c:pt>
                <c:pt idx="4408">
                  <c:v>2.8815998999999999</c:v>
                </c:pt>
                <c:pt idx="4409">
                  <c:v>2.8817998999999999</c:v>
                </c:pt>
                <c:pt idx="4410">
                  <c:v>2.8819997000000002</c:v>
                </c:pt>
                <c:pt idx="4411">
                  <c:v>2.8822000000000001</c:v>
                </c:pt>
                <c:pt idx="4412">
                  <c:v>2.8824000000000001</c:v>
                </c:pt>
                <c:pt idx="4413">
                  <c:v>2.8825997999999999</c:v>
                </c:pt>
                <c:pt idx="4414">
                  <c:v>2.8828000999999999</c:v>
                </c:pt>
                <c:pt idx="4415">
                  <c:v>2.8829999000000002</c:v>
                </c:pt>
                <c:pt idx="4416">
                  <c:v>2.8831999000000001</c:v>
                </c:pt>
                <c:pt idx="4417">
                  <c:v>2.8834</c:v>
                </c:pt>
                <c:pt idx="4418">
                  <c:v>2.8835997999999998</c:v>
                </c:pt>
                <c:pt idx="4419">
                  <c:v>2.8837999999999999</c:v>
                </c:pt>
                <c:pt idx="4420">
                  <c:v>2.8839997999999998</c:v>
                </c:pt>
                <c:pt idx="4421">
                  <c:v>2.8841999</c:v>
                </c:pt>
                <c:pt idx="4422">
                  <c:v>2.8844001000000001</c:v>
                </c:pt>
                <c:pt idx="4423">
                  <c:v>2.8845999</c:v>
                </c:pt>
                <c:pt idx="4424">
                  <c:v>2.8847999999999998</c:v>
                </c:pt>
                <c:pt idx="4425">
                  <c:v>2.8849998000000001</c:v>
                </c:pt>
                <c:pt idx="4426">
                  <c:v>2.8851998000000001</c:v>
                </c:pt>
                <c:pt idx="4427">
                  <c:v>2.8854001</c:v>
                </c:pt>
                <c:pt idx="4428">
                  <c:v>2.8855998999999999</c:v>
                </c:pt>
                <c:pt idx="4429">
                  <c:v>2.8857998999999999</c:v>
                </c:pt>
                <c:pt idx="4430">
                  <c:v>2.8860001999999998</c:v>
                </c:pt>
                <c:pt idx="4431">
                  <c:v>2.8862000000000001</c:v>
                </c:pt>
                <c:pt idx="4432">
                  <c:v>2.8864000000000001</c:v>
                </c:pt>
                <c:pt idx="4433">
                  <c:v>2.8865997999999999</c:v>
                </c:pt>
                <c:pt idx="4434">
                  <c:v>2.8867997999999999</c:v>
                </c:pt>
                <c:pt idx="4435">
                  <c:v>2.8870000999999998</c:v>
                </c:pt>
                <c:pt idx="4436">
                  <c:v>2.8871999000000002</c:v>
                </c:pt>
                <c:pt idx="4437">
                  <c:v>2.8873999000000001</c:v>
                </c:pt>
                <c:pt idx="4438">
                  <c:v>2.8875999000000001</c:v>
                </c:pt>
                <c:pt idx="4439">
                  <c:v>2.8877999999999999</c:v>
                </c:pt>
                <c:pt idx="4440">
                  <c:v>2.8879999999999999</c:v>
                </c:pt>
                <c:pt idx="4441">
                  <c:v>2.8881998000000002</c:v>
                </c:pt>
                <c:pt idx="4442">
                  <c:v>2.8883998000000002</c:v>
                </c:pt>
                <c:pt idx="4443">
                  <c:v>2.8885999</c:v>
                </c:pt>
                <c:pt idx="4444">
                  <c:v>2.8887999</c:v>
                </c:pt>
                <c:pt idx="4445">
                  <c:v>2.8889999</c:v>
                </c:pt>
                <c:pt idx="4446">
                  <c:v>2.8892000000000002</c:v>
                </c:pt>
                <c:pt idx="4447">
                  <c:v>2.8894000000000002</c:v>
                </c:pt>
                <c:pt idx="4448">
                  <c:v>2.8895998000000001</c:v>
                </c:pt>
                <c:pt idx="4449">
                  <c:v>2.8897998</c:v>
                </c:pt>
                <c:pt idx="4450">
                  <c:v>2.8899998999999998</c:v>
                </c:pt>
                <c:pt idx="4451">
                  <c:v>2.8901998999999998</c:v>
                </c:pt>
                <c:pt idx="4452">
                  <c:v>2.8903998999999998</c:v>
                </c:pt>
                <c:pt idx="4453">
                  <c:v>2.8906000000000001</c:v>
                </c:pt>
                <c:pt idx="4454">
                  <c:v>2.8908</c:v>
                </c:pt>
                <c:pt idx="4455">
                  <c:v>2.891</c:v>
                </c:pt>
                <c:pt idx="4456">
                  <c:v>2.8911997999999999</c:v>
                </c:pt>
                <c:pt idx="4457">
                  <c:v>2.8913999000000001</c:v>
                </c:pt>
                <c:pt idx="4458">
                  <c:v>2.8915999000000001</c:v>
                </c:pt>
                <c:pt idx="4459">
                  <c:v>2.8917999000000001</c:v>
                </c:pt>
                <c:pt idx="4460">
                  <c:v>2.8919999999999999</c:v>
                </c:pt>
                <c:pt idx="4461">
                  <c:v>2.8921998000000002</c:v>
                </c:pt>
                <c:pt idx="4462">
                  <c:v>2.8923999999999999</c:v>
                </c:pt>
                <c:pt idx="4463">
                  <c:v>2.8926001000000001</c:v>
                </c:pt>
                <c:pt idx="4464">
                  <c:v>2.8927999</c:v>
                </c:pt>
                <c:pt idx="4465">
                  <c:v>2.8929999</c:v>
                </c:pt>
                <c:pt idx="4466">
                  <c:v>2.8931996999999998</c:v>
                </c:pt>
                <c:pt idx="4467">
                  <c:v>2.8934000000000002</c:v>
                </c:pt>
                <c:pt idx="4468">
                  <c:v>2.8936000000000002</c:v>
                </c:pt>
                <c:pt idx="4469">
                  <c:v>2.8937998</c:v>
                </c:pt>
                <c:pt idx="4470">
                  <c:v>2.8940001</c:v>
                </c:pt>
                <c:pt idx="4471">
                  <c:v>2.8942000999999999</c:v>
                </c:pt>
                <c:pt idx="4472">
                  <c:v>2.8943998999999998</c:v>
                </c:pt>
                <c:pt idx="4473">
                  <c:v>2.8945998999999998</c:v>
                </c:pt>
                <c:pt idx="4474">
                  <c:v>2.8947997000000001</c:v>
                </c:pt>
                <c:pt idx="4475">
                  <c:v>2.895</c:v>
                </c:pt>
                <c:pt idx="4476">
                  <c:v>2.8952</c:v>
                </c:pt>
                <c:pt idx="4477">
                  <c:v>2.8953997999999999</c:v>
                </c:pt>
                <c:pt idx="4478">
                  <c:v>2.8956000999999998</c:v>
                </c:pt>
                <c:pt idx="4479">
                  <c:v>2.8957999000000001</c:v>
                </c:pt>
                <c:pt idx="4480">
                  <c:v>2.8959999000000001</c:v>
                </c:pt>
                <c:pt idx="4481">
                  <c:v>2.8961999</c:v>
                </c:pt>
                <c:pt idx="4482">
                  <c:v>2.8963996999999999</c:v>
                </c:pt>
                <c:pt idx="4483">
                  <c:v>2.8965999999999998</c:v>
                </c:pt>
                <c:pt idx="4484">
                  <c:v>2.8967998000000001</c:v>
                </c:pt>
                <c:pt idx="4485">
                  <c:v>2.8969998000000001</c:v>
                </c:pt>
                <c:pt idx="4486">
                  <c:v>2.8972001000000001</c:v>
                </c:pt>
                <c:pt idx="4487">
                  <c:v>2.8973998999999999</c:v>
                </c:pt>
                <c:pt idx="4488">
                  <c:v>2.8975998999999999</c:v>
                </c:pt>
                <c:pt idx="4489">
                  <c:v>2.8978000000000002</c:v>
                </c:pt>
                <c:pt idx="4490">
                  <c:v>2.8979998</c:v>
                </c:pt>
                <c:pt idx="4491">
                  <c:v>2.8982000000000001</c:v>
                </c:pt>
                <c:pt idx="4492">
                  <c:v>2.8983998</c:v>
                </c:pt>
                <c:pt idx="4493">
                  <c:v>2.8985998999999998</c:v>
                </c:pt>
                <c:pt idx="4494">
                  <c:v>2.8988000999999999</c:v>
                </c:pt>
                <c:pt idx="4495">
                  <c:v>2.8989999000000002</c:v>
                </c:pt>
                <c:pt idx="4496">
                  <c:v>2.8992</c:v>
                </c:pt>
                <c:pt idx="4497">
                  <c:v>2.8993997999999999</c:v>
                </c:pt>
                <c:pt idx="4498">
                  <c:v>2.8995997999999998</c:v>
                </c:pt>
                <c:pt idx="4499">
                  <c:v>2.8998001000000002</c:v>
                </c:pt>
                <c:pt idx="4500">
                  <c:v>2.8999999000000001</c:v>
                </c:pt>
                <c:pt idx="4501">
                  <c:v>2.9001999000000001</c:v>
                </c:pt>
                <c:pt idx="4502">
                  <c:v>2.9004002</c:v>
                </c:pt>
                <c:pt idx="4503">
                  <c:v>2.9005999999999998</c:v>
                </c:pt>
                <c:pt idx="4504">
                  <c:v>2.9007999999999998</c:v>
                </c:pt>
                <c:pt idx="4505">
                  <c:v>2.9009998000000001</c:v>
                </c:pt>
                <c:pt idx="4506">
                  <c:v>2.9011998000000001</c:v>
                </c:pt>
                <c:pt idx="4507">
                  <c:v>2.9014001</c:v>
                </c:pt>
                <c:pt idx="4508">
                  <c:v>2.9015998999999999</c:v>
                </c:pt>
                <c:pt idx="4509">
                  <c:v>2.9017998999999999</c:v>
                </c:pt>
                <c:pt idx="4510">
                  <c:v>2.9020000000000001</c:v>
                </c:pt>
                <c:pt idx="4511">
                  <c:v>2.9022000000000001</c:v>
                </c:pt>
                <c:pt idx="4512">
                  <c:v>2.9024000000000001</c:v>
                </c:pt>
                <c:pt idx="4513">
                  <c:v>2.9025998</c:v>
                </c:pt>
                <c:pt idx="4514">
                  <c:v>2.9027997999999999</c:v>
                </c:pt>
                <c:pt idx="4515">
                  <c:v>2.9029999000000002</c:v>
                </c:pt>
                <c:pt idx="4516">
                  <c:v>2.9031999000000002</c:v>
                </c:pt>
                <c:pt idx="4517">
                  <c:v>2.9033999000000001</c:v>
                </c:pt>
                <c:pt idx="4518">
                  <c:v>2.9036</c:v>
                </c:pt>
                <c:pt idx="4519">
                  <c:v>2.9037999999999999</c:v>
                </c:pt>
                <c:pt idx="4520">
                  <c:v>2.9039997999999998</c:v>
                </c:pt>
                <c:pt idx="4521">
                  <c:v>2.9041998000000002</c:v>
                </c:pt>
                <c:pt idx="4522">
                  <c:v>2.9043999</c:v>
                </c:pt>
                <c:pt idx="4523">
                  <c:v>2.9045999</c:v>
                </c:pt>
                <c:pt idx="4524">
                  <c:v>2.9047999</c:v>
                </c:pt>
                <c:pt idx="4525">
                  <c:v>2.9049999999999998</c:v>
                </c:pt>
                <c:pt idx="4526">
                  <c:v>2.9051999999999998</c:v>
                </c:pt>
                <c:pt idx="4527">
                  <c:v>2.9054000000000002</c:v>
                </c:pt>
                <c:pt idx="4528">
                  <c:v>2.9055998000000001</c:v>
                </c:pt>
                <c:pt idx="4529">
                  <c:v>2.9057998999999999</c:v>
                </c:pt>
                <c:pt idx="4530">
                  <c:v>2.9059998999999999</c:v>
                </c:pt>
                <c:pt idx="4531">
                  <c:v>2.9061998999999998</c:v>
                </c:pt>
                <c:pt idx="4532">
                  <c:v>2.9064000000000001</c:v>
                </c:pt>
                <c:pt idx="4533">
                  <c:v>2.9065998</c:v>
                </c:pt>
                <c:pt idx="4534">
                  <c:v>2.9068000000000001</c:v>
                </c:pt>
                <c:pt idx="4535">
                  <c:v>2.9070000999999999</c:v>
                </c:pt>
                <c:pt idx="4536">
                  <c:v>2.9071999000000002</c:v>
                </c:pt>
                <c:pt idx="4537">
                  <c:v>2.9073999000000001</c:v>
                </c:pt>
                <c:pt idx="4538">
                  <c:v>2.9075997</c:v>
                </c:pt>
                <c:pt idx="4539">
                  <c:v>2.9077999999999999</c:v>
                </c:pt>
                <c:pt idx="4540">
                  <c:v>2.9079999999999999</c:v>
                </c:pt>
                <c:pt idx="4541">
                  <c:v>2.9081997999999998</c:v>
                </c:pt>
                <c:pt idx="4542">
                  <c:v>2.9084001000000002</c:v>
                </c:pt>
                <c:pt idx="4543">
                  <c:v>2.9086001000000001</c:v>
                </c:pt>
                <c:pt idx="4544">
                  <c:v>2.9087999</c:v>
                </c:pt>
                <c:pt idx="4545">
                  <c:v>2.9089999</c:v>
                </c:pt>
                <c:pt idx="4546">
                  <c:v>2.9091996999999998</c:v>
                </c:pt>
                <c:pt idx="4547">
                  <c:v>2.9094000000000002</c:v>
                </c:pt>
                <c:pt idx="4548">
                  <c:v>2.9096000000000002</c:v>
                </c:pt>
                <c:pt idx="4549">
                  <c:v>2.9097998</c:v>
                </c:pt>
                <c:pt idx="4550">
                  <c:v>2.9100001</c:v>
                </c:pt>
                <c:pt idx="4551">
                  <c:v>2.9101998999999998</c:v>
                </c:pt>
                <c:pt idx="4552">
                  <c:v>2.9103998999999998</c:v>
                </c:pt>
                <c:pt idx="4553">
                  <c:v>2.9105998999999998</c:v>
                </c:pt>
                <c:pt idx="4554">
                  <c:v>2.9107997000000001</c:v>
                </c:pt>
                <c:pt idx="4555">
                  <c:v>2.911</c:v>
                </c:pt>
                <c:pt idx="4556">
                  <c:v>2.9111997999999999</c:v>
                </c:pt>
                <c:pt idx="4557">
                  <c:v>2.9113997999999999</c:v>
                </c:pt>
                <c:pt idx="4558">
                  <c:v>2.9116000999999998</c:v>
                </c:pt>
                <c:pt idx="4559">
                  <c:v>2.9117999000000001</c:v>
                </c:pt>
                <c:pt idx="4560">
                  <c:v>2.9119999000000001</c:v>
                </c:pt>
                <c:pt idx="4561">
                  <c:v>2.9121996999999999</c:v>
                </c:pt>
                <c:pt idx="4562">
                  <c:v>2.9123998000000002</c:v>
                </c:pt>
                <c:pt idx="4563">
                  <c:v>2.9125999999999999</c:v>
                </c:pt>
                <c:pt idx="4564">
                  <c:v>2.9127998000000002</c:v>
                </c:pt>
                <c:pt idx="4565">
                  <c:v>2.9129999</c:v>
                </c:pt>
                <c:pt idx="4566">
                  <c:v>2.9132001000000001</c:v>
                </c:pt>
                <c:pt idx="4567">
                  <c:v>2.9133998999999999</c:v>
                </c:pt>
                <c:pt idx="4568">
                  <c:v>2.9136000000000002</c:v>
                </c:pt>
                <c:pt idx="4569">
                  <c:v>2.9137998000000001</c:v>
                </c:pt>
                <c:pt idx="4570">
                  <c:v>2.9139998</c:v>
                </c:pt>
                <c:pt idx="4571">
                  <c:v>2.9142001</c:v>
                </c:pt>
                <c:pt idx="4572">
                  <c:v>2.9143998999999998</c:v>
                </c:pt>
                <c:pt idx="4573">
                  <c:v>2.9145998999999998</c:v>
                </c:pt>
                <c:pt idx="4574">
                  <c:v>2.9147999000000002</c:v>
                </c:pt>
                <c:pt idx="4575">
                  <c:v>2.915</c:v>
                </c:pt>
                <c:pt idx="4576">
                  <c:v>2.9152</c:v>
                </c:pt>
                <c:pt idx="4577">
                  <c:v>2.9153997999999999</c:v>
                </c:pt>
                <c:pt idx="4578">
                  <c:v>2.9155997999999999</c:v>
                </c:pt>
                <c:pt idx="4579">
                  <c:v>2.9158000999999998</c:v>
                </c:pt>
                <c:pt idx="4580">
                  <c:v>2.9159999000000001</c:v>
                </c:pt>
                <c:pt idx="4581">
                  <c:v>2.9161999000000001</c:v>
                </c:pt>
                <c:pt idx="4582">
                  <c:v>2.9163999999999999</c:v>
                </c:pt>
                <c:pt idx="4583">
                  <c:v>2.9165999999999999</c:v>
                </c:pt>
                <c:pt idx="4584">
                  <c:v>2.9167999999999998</c:v>
                </c:pt>
                <c:pt idx="4585">
                  <c:v>2.9169998000000001</c:v>
                </c:pt>
                <c:pt idx="4586">
                  <c:v>2.9171999</c:v>
                </c:pt>
                <c:pt idx="4587">
                  <c:v>2.9173998999999999</c:v>
                </c:pt>
                <c:pt idx="4588">
                  <c:v>2.9175998999999999</c:v>
                </c:pt>
                <c:pt idx="4589">
                  <c:v>2.9177998999999999</c:v>
                </c:pt>
                <c:pt idx="4590">
                  <c:v>2.9180000000000001</c:v>
                </c:pt>
                <c:pt idx="4591">
                  <c:v>2.9182000000000001</c:v>
                </c:pt>
                <c:pt idx="4592">
                  <c:v>2.9183998</c:v>
                </c:pt>
                <c:pt idx="4593">
                  <c:v>2.9185998</c:v>
                </c:pt>
                <c:pt idx="4594">
                  <c:v>2.9187998999999998</c:v>
                </c:pt>
                <c:pt idx="4595">
                  <c:v>2.9189999000000002</c:v>
                </c:pt>
                <c:pt idx="4596">
                  <c:v>2.9191999000000002</c:v>
                </c:pt>
                <c:pt idx="4597">
                  <c:v>2.9193997</c:v>
                </c:pt>
                <c:pt idx="4598">
                  <c:v>2.9196</c:v>
                </c:pt>
                <c:pt idx="4599">
                  <c:v>2.9198</c:v>
                </c:pt>
                <c:pt idx="4600">
                  <c:v>2.9199997999999998</c:v>
                </c:pt>
                <c:pt idx="4601">
                  <c:v>2.9201999000000001</c:v>
                </c:pt>
                <c:pt idx="4602">
                  <c:v>2.9203999</c:v>
                </c:pt>
                <c:pt idx="4603">
                  <c:v>2.9205999</c:v>
                </c:pt>
                <c:pt idx="4604">
                  <c:v>2.9207999999999998</c:v>
                </c:pt>
                <c:pt idx="4605">
                  <c:v>2.9209998000000001</c:v>
                </c:pt>
                <c:pt idx="4606">
                  <c:v>2.9211999999999998</c:v>
                </c:pt>
                <c:pt idx="4607">
                  <c:v>2.9214001000000001</c:v>
                </c:pt>
                <c:pt idx="4608">
                  <c:v>2.9215998999999999</c:v>
                </c:pt>
                <c:pt idx="4609">
                  <c:v>2.9217998999999999</c:v>
                </c:pt>
                <c:pt idx="4610">
                  <c:v>2.9219997000000002</c:v>
                </c:pt>
                <c:pt idx="4611">
                  <c:v>2.9222000000000001</c:v>
                </c:pt>
                <c:pt idx="4612">
                  <c:v>2.9224000000000001</c:v>
                </c:pt>
                <c:pt idx="4613">
                  <c:v>2.9225998</c:v>
                </c:pt>
                <c:pt idx="4614">
                  <c:v>2.9228000999999999</c:v>
                </c:pt>
                <c:pt idx="4615">
                  <c:v>2.9230000999999999</c:v>
                </c:pt>
                <c:pt idx="4616">
                  <c:v>2.9231999000000002</c:v>
                </c:pt>
                <c:pt idx="4617">
                  <c:v>2.9233999000000002</c:v>
                </c:pt>
                <c:pt idx="4618">
                  <c:v>2.9235997</c:v>
                </c:pt>
                <c:pt idx="4619">
                  <c:v>2.9238</c:v>
                </c:pt>
                <c:pt idx="4620">
                  <c:v>2.9239999999999999</c:v>
                </c:pt>
                <c:pt idx="4621">
                  <c:v>2.9241997999999998</c:v>
                </c:pt>
                <c:pt idx="4622">
                  <c:v>2.9244001000000002</c:v>
                </c:pt>
                <c:pt idx="4623">
                  <c:v>2.9245999</c:v>
                </c:pt>
                <c:pt idx="4624">
                  <c:v>2.9247999</c:v>
                </c:pt>
                <c:pt idx="4625">
                  <c:v>2.9249999999999998</c:v>
                </c:pt>
                <c:pt idx="4626">
                  <c:v>2.9251996999999998</c:v>
                </c:pt>
                <c:pt idx="4627">
                  <c:v>2.9253999999999998</c:v>
                </c:pt>
                <c:pt idx="4628">
                  <c:v>2.9255998000000001</c:v>
                </c:pt>
                <c:pt idx="4629">
                  <c:v>2.9257998000000001</c:v>
                </c:pt>
                <c:pt idx="4630">
                  <c:v>2.9260001</c:v>
                </c:pt>
                <c:pt idx="4631">
                  <c:v>2.9261998999999999</c:v>
                </c:pt>
                <c:pt idx="4632">
                  <c:v>2.9263998999999998</c:v>
                </c:pt>
                <c:pt idx="4633">
                  <c:v>2.9265997000000001</c:v>
                </c:pt>
                <c:pt idx="4634">
                  <c:v>2.9267998</c:v>
                </c:pt>
                <c:pt idx="4635">
                  <c:v>2.927</c:v>
                </c:pt>
                <c:pt idx="4636">
                  <c:v>2.9271997999999999</c:v>
                </c:pt>
                <c:pt idx="4637">
                  <c:v>2.9273999000000002</c:v>
                </c:pt>
                <c:pt idx="4638">
                  <c:v>2.9276000999999998</c:v>
                </c:pt>
                <c:pt idx="4639">
                  <c:v>2.9277999000000001</c:v>
                </c:pt>
                <c:pt idx="4640">
                  <c:v>2.9279999999999999</c:v>
                </c:pt>
                <c:pt idx="4641">
                  <c:v>2.9281997999999998</c:v>
                </c:pt>
                <c:pt idx="4642">
                  <c:v>2.9283998000000002</c:v>
                </c:pt>
                <c:pt idx="4643">
                  <c:v>2.9286001000000002</c:v>
                </c:pt>
                <c:pt idx="4644">
                  <c:v>2.9287999</c:v>
                </c:pt>
                <c:pt idx="4645">
                  <c:v>2.9289999</c:v>
                </c:pt>
                <c:pt idx="4646">
                  <c:v>2.9291999</c:v>
                </c:pt>
                <c:pt idx="4647">
                  <c:v>2.9293999999999998</c:v>
                </c:pt>
                <c:pt idx="4648">
                  <c:v>2.9296000000000002</c:v>
                </c:pt>
                <c:pt idx="4649">
                  <c:v>2.9297998000000001</c:v>
                </c:pt>
                <c:pt idx="4650">
                  <c:v>2.9299998</c:v>
                </c:pt>
                <c:pt idx="4651">
                  <c:v>2.9302001</c:v>
                </c:pt>
                <c:pt idx="4652">
                  <c:v>2.9303998999999998</c:v>
                </c:pt>
                <c:pt idx="4653">
                  <c:v>2.9305998999999998</c:v>
                </c:pt>
                <c:pt idx="4654">
                  <c:v>2.9308000000000001</c:v>
                </c:pt>
                <c:pt idx="4655">
                  <c:v>2.931</c:v>
                </c:pt>
                <c:pt idx="4656">
                  <c:v>2.9312</c:v>
                </c:pt>
                <c:pt idx="4657">
                  <c:v>2.9313997999999999</c:v>
                </c:pt>
                <c:pt idx="4658">
                  <c:v>2.9315999000000001</c:v>
                </c:pt>
                <c:pt idx="4659">
                  <c:v>2.9317999000000001</c:v>
                </c:pt>
                <c:pt idx="4660">
                  <c:v>2.9319999000000001</c:v>
                </c:pt>
                <c:pt idx="4661">
                  <c:v>2.9321999999999999</c:v>
                </c:pt>
                <c:pt idx="4662">
                  <c:v>2.9323999999999999</c:v>
                </c:pt>
                <c:pt idx="4663">
                  <c:v>2.9325999999999999</c:v>
                </c:pt>
                <c:pt idx="4664">
                  <c:v>2.9327998000000002</c:v>
                </c:pt>
                <c:pt idx="4665">
                  <c:v>2.9329998000000002</c:v>
                </c:pt>
                <c:pt idx="4666">
                  <c:v>2.9331999</c:v>
                </c:pt>
                <c:pt idx="4667">
                  <c:v>2.9333998999999999</c:v>
                </c:pt>
                <c:pt idx="4668">
                  <c:v>2.9335998999999999</c:v>
                </c:pt>
                <c:pt idx="4669">
                  <c:v>2.9337996999999998</c:v>
                </c:pt>
                <c:pt idx="4670">
                  <c:v>2.9340000000000002</c:v>
                </c:pt>
                <c:pt idx="4671">
                  <c:v>2.9342000000000001</c:v>
                </c:pt>
                <c:pt idx="4672">
                  <c:v>2.9343998</c:v>
                </c:pt>
                <c:pt idx="4673">
                  <c:v>2.9345998999999998</c:v>
                </c:pt>
                <c:pt idx="4674">
                  <c:v>2.9347997000000001</c:v>
                </c:pt>
                <c:pt idx="4675">
                  <c:v>2.9349999000000002</c:v>
                </c:pt>
                <c:pt idx="4676">
                  <c:v>2.9352</c:v>
                </c:pt>
                <c:pt idx="4677">
                  <c:v>2.9353997999999999</c:v>
                </c:pt>
                <c:pt idx="4678">
                  <c:v>2.9356</c:v>
                </c:pt>
                <c:pt idx="4679">
                  <c:v>2.9358000999999998</c:v>
                </c:pt>
                <c:pt idx="4680">
                  <c:v>2.9359999000000001</c:v>
                </c:pt>
                <c:pt idx="4681">
                  <c:v>2.9361999000000001</c:v>
                </c:pt>
                <c:pt idx="4682">
                  <c:v>2.9363996999999999</c:v>
                </c:pt>
                <c:pt idx="4683">
                  <c:v>2.9365999999999999</c:v>
                </c:pt>
                <c:pt idx="4684">
                  <c:v>2.9367999999999999</c:v>
                </c:pt>
                <c:pt idx="4685">
                  <c:v>2.9369998000000002</c:v>
                </c:pt>
                <c:pt idx="4686">
                  <c:v>2.9372001000000001</c:v>
                </c:pt>
                <c:pt idx="4687">
                  <c:v>2.9373999</c:v>
                </c:pt>
                <c:pt idx="4688">
                  <c:v>2.9375998999999999</c:v>
                </c:pt>
                <c:pt idx="4689">
                  <c:v>2.9377998999999999</c:v>
                </c:pt>
                <c:pt idx="4690">
                  <c:v>2.9379997000000002</c:v>
                </c:pt>
                <c:pt idx="4691">
                  <c:v>2.9382000000000001</c:v>
                </c:pt>
                <c:pt idx="4692">
                  <c:v>2.9384000000000001</c:v>
                </c:pt>
                <c:pt idx="4693">
                  <c:v>2.9385998</c:v>
                </c:pt>
                <c:pt idx="4694">
                  <c:v>2.9388000999999999</c:v>
                </c:pt>
                <c:pt idx="4695">
                  <c:v>2.9389999000000002</c:v>
                </c:pt>
                <c:pt idx="4696">
                  <c:v>2.9391999000000002</c:v>
                </c:pt>
                <c:pt idx="4697">
                  <c:v>2.9394</c:v>
                </c:pt>
                <c:pt idx="4698">
                  <c:v>2.9395997999999999</c:v>
                </c:pt>
                <c:pt idx="4699">
                  <c:v>2.9398</c:v>
                </c:pt>
                <c:pt idx="4700">
                  <c:v>2.9399997999999998</c:v>
                </c:pt>
                <c:pt idx="4701">
                  <c:v>2.9401999000000001</c:v>
                </c:pt>
                <c:pt idx="4702">
                  <c:v>2.9404001000000002</c:v>
                </c:pt>
                <c:pt idx="4703">
                  <c:v>2.9405999</c:v>
                </c:pt>
                <c:pt idx="4704">
                  <c:v>2.9407999999999999</c:v>
                </c:pt>
                <c:pt idx="4705">
                  <c:v>2.9409996999999999</c:v>
                </c:pt>
                <c:pt idx="4706">
                  <c:v>2.9411998000000001</c:v>
                </c:pt>
                <c:pt idx="4707">
                  <c:v>2.9414001000000001</c:v>
                </c:pt>
                <c:pt idx="4708">
                  <c:v>2.9415998000000001</c:v>
                </c:pt>
                <c:pt idx="4709">
                  <c:v>2.9417998999999999</c:v>
                </c:pt>
                <c:pt idx="4710">
                  <c:v>2.9420001999999998</c:v>
                </c:pt>
                <c:pt idx="4711">
                  <c:v>2.9421998999999999</c:v>
                </c:pt>
                <c:pt idx="4712">
                  <c:v>2.9424000000000001</c:v>
                </c:pt>
                <c:pt idx="4713">
                  <c:v>2.9425998</c:v>
                </c:pt>
                <c:pt idx="4714">
                  <c:v>2.9427998</c:v>
                </c:pt>
                <c:pt idx="4715">
                  <c:v>2.9430000999999999</c:v>
                </c:pt>
                <c:pt idx="4716">
                  <c:v>2.9431999000000002</c:v>
                </c:pt>
                <c:pt idx="4717">
                  <c:v>2.9433999000000002</c:v>
                </c:pt>
                <c:pt idx="4718">
                  <c:v>2.9435999000000002</c:v>
                </c:pt>
                <c:pt idx="4719">
                  <c:v>2.9438</c:v>
                </c:pt>
                <c:pt idx="4720">
                  <c:v>2.944</c:v>
                </c:pt>
                <c:pt idx="4721">
                  <c:v>2.9441997999999998</c:v>
                </c:pt>
                <c:pt idx="4722">
                  <c:v>2.9443997999999998</c:v>
                </c:pt>
                <c:pt idx="4723">
                  <c:v>2.9445999</c:v>
                </c:pt>
                <c:pt idx="4724">
                  <c:v>2.9447999</c:v>
                </c:pt>
                <c:pt idx="4725">
                  <c:v>2.9449999</c:v>
                </c:pt>
                <c:pt idx="4726">
                  <c:v>2.9451999999999998</c:v>
                </c:pt>
                <c:pt idx="4727">
                  <c:v>2.9453999999999998</c:v>
                </c:pt>
                <c:pt idx="4728">
                  <c:v>2.9456000000000002</c:v>
                </c:pt>
                <c:pt idx="4729">
                  <c:v>2.9457998000000001</c:v>
                </c:pt>
                <c:pt idx="4730">
                  <c:v>2.9459998999999999</c:v>
                </c:pt>
                <c:pt idx="4731">
                  <c:v>2.9461998999999999</c:v>
                </c:pt>
                <c:pt idx="4732">
                  <c:v>2.9463998999999998</c:v>
                </c:pt>
                <c:pt idx="4733">
                  <c:v>2.9466000000000001</c:v>
                </c:pt>
                <c:pt idx="4734">
                  <c:v>2.9468000000000001</c:v>
                </c:pt>
                <c:pt idx="4735">
                  <c:v>2.9470000000000001</c:v>
                </c:pt>
                <c:pt idx="4736">
                  <c:v>2.9471997999999999</c:v>
                </c:pt>
                <c:pt idx="4737">
                  <c:v>2.9473999000000002</c:v>
                </c:pt>
                <c:pt idx="4738">
                  <c:v>2.9475999000000002</c:v>
                </c:pt>
                <c:pt idx="4739">
                  <c:v>2.9477999000000001</c:v>
                </c:pt>
                <c:pt idx="4740">
                  <c:v>2.948</c:v>
                </c:pt>
                <c:pt idx="4741">
                  <c:v>2.9481997</c:v>
                </c:pt>
                <c:pt idx="4742">
                  <c:v>2.9483999999999999</c:v>
                </c:pt>
                <c:pt idx="4743">
                  <c:v>2.9486001000000002</c:v>
                </c:pt>
                <c:pt idx="4744">
                  <c:v>2.9487998000000002</c:v>
                </c:pt>
                <c:pt idx="4745">
                  <c:v>2.9489999</c:v>
                </c:pt>
                <c:pt idx="4746">
                  <c:v>2.9491996999999999</c:v>
                </c:pt>
                <c:pt idx="4747">
                  <c:v>2.9493999</c:v>
                </c:pt>
                <c:pt idx="4748">
                  <c:v>2.9496000000000002</c:v>
                </c:pt>
                <c:pt idx="4749">
                  <c:v>2.9497998000000001</c:v>
                </c:pt>
                <c:pt idx="4750">
                  <c:v>2.95</c:v>
                </c:pt>
                <c:pt idx="4751">
                  <c:v>2.9502001</c:v>
                </c:pt>
                <c:pt idx="4752">
                  <c:v>2.9503998999999999</c:v>
                </c:pt>
                <c:pt idx="4753">
                  <c:v>2.9505998999999998</c:v>
                </c:pt>
                <c:pt idx="4754">
                  <c:v>2.9507997000000001</c:v>
                </c:pt>
                <c:pt idx="4755">
                  <c:v>2.9510000000000001</c:v>
                </c:pt>
                <c:pt idx="4756">
                  <c:v>2.9512</c:v>
                </c:pt>
                <c:pt idx="4757">
                  <c:v>2.9513997999999999</c:v>
                </c:pt>
                <c:pt idx="4758">
                  <c:v>2.9516000999999998</c:v>
                </c:pt>
                <c:pt idx="4759">
                  <c:v>2.9517999000000001</c:v>
                </c:pt>
                <c:pt idx="4760">
                  <c:v>2.9519999000000001</c:v>
                </c:pt>
                <c:pt idx="4761">
                  <c:v>2.9521999000000001</c:v>
                </c:pt>
                <c:pt idx="4762">
                  <c:v>2.9523997</c:v>
                </c:pt>
                <c:pt idx="4763">
                  <c:v>2.9525999999999999</c:v>
                </c:pt>
                <c:pt idx="4764">
                  <c:v>2.9527999999999999</c:v>
                </c:pt>
                <c:pt idx="4765">
                  <c:v>2.9529998000000002</c:v>
                </c:pt>
                <c:pt idx="4766">
                  <c:v>2.9532001000000001</c:v>
                </c:pt>
                <c:pt idx="4767">
                  <c:v>2.9533999</c:v>
                </c:pt>
                <c:pt idx="4768">
                  <c:v>2.9535998999999999</c:v>
                </c:pt>
                <c:pt idx="4769">
                  <c:v>2.9538000000000002</c:v>
                </c:pt>
                <c:pt idx="4770">
                  <c:v>2.9539998000000001</c:v>
                </c:pt>
                <c:pt idx="4771">
                  <c:v>2.9542000000000002</c:v>
                </c:pt>
                <c:pt idx="4772">
                  <c:v>2.9543998</c:v>
                </c:pt>
                <c:pt idx="4773">
                  <c:v>2.9545998999999998</c:v>
                </c:pt>
                <c:pt idx="4774">
                  <c:v>2.9548000999999999</c:v>
                </c:pt>
                <c:pt idx="4775">
                  <c:v>2.9549998999999998</c:v>
                </c:pt>
                <c:pt idx="4776">
                  <c:v>2.9552</c:v>
                </c:pt>
                <c:pt idx="4777">
                  <c:v>2.9553997999999999</c:v>
                </c:pt>
                <c:pt idx="4778">
                  <c:v>2.9555997999999999</c:v>
                </c:pt>
                <c:pt idx="4779">
                  <c:v>2.9558000999999998</c:v>
                </c:pt>
                <c:pt idx="4780">
                  <c:v>2.9559999000000001</c:v>
                </c:pt>
                <c:pt idx="4781">
                  <c:v>2.9561999000000001</c:v>
                </c:pt>
                <c:pt idx="4782">
                  <c:v>2.9564002</c:v>
                </c:pt>
                <c:pt idx="4783">
                  <c:v>2.9565999999999999</c:v>
                </c:pt>
                <c:pt idx="4784">
                  <c:v>2.9567999999999999</c:v>
                </c:pt>
                <c:pt idx="4785">
                  <c:v>2.9569998000000002</c:v>
                </c:pt>
                <c:pt idx="4786">
                  <c:v>2.9571998000000002</c:v>
                </c:pt>
                <c:pt idx="4787">
                  <c:v>2.9574001000000001</c:v>
                </c:pt>
                <c:pt idx="4788">
                  <c:v>2.9575998999999999</c:v>
                </c:pt>
                <c:pt idx="4789">
                  <c:v>2.9577998999999999</c:v>
                </c:pt>
                <c:pt idx="4790">
                  <c:v>2.9579998999999999</c:v>
                </c:pt>
                <c:pt idx="4791">
                  <c:v>2.9582000000000002</c:v>
                </c:pt>
                <c:pt idx="4792">
                  <c:v>2.9584000000000001</c:v>
                </c:pt>
                <c:pt idx="4793">
                  <c:v>2.9585998</c:v>
                </c:pt>
                <c:pt idx="4794">
                  <c:v>2.9587998</c:v>
                </c:pt>
                <c:pt idx="4795">
                  <c:v>2.9589998999999998</c:v>
                </c:pt>
                <c:pt idx="4796">
                  <c:v>2.9591999000000002</c:v>
                </c:pt>
                <c:pt idx="4797">
                  <c:v>2.9593999000000002</c:v>
                </c:pt>
                <c:pt idx="4798">
                  <c:v>2.9596</c:v>
                </c:pt>
                <c:pt idx="4799">
                  <c:v>2.9598</c:v>
                </c:pt>
                <c:pt idx="4800">
                  <c:v>2.9599997999999998</c:v>
                </c:pt>
                <c:pt idx="4801">
                  <c:v>2.9601997999999998</c:v>
                </c:pt>
                <c:pt idx="4802">
                  <c:v>2.9603999000000001</c:v>
                </c:pt>
                <c:pt idx="4803">
                  <c:v>2.9605999000000001</c:v>
                </c:pt>
                <c:pt idx="4804">
                  <c:v>2.9607999</c:v>
                </c:pt>
                <c:pt idx="4805">
                  <c:v>2.9609999999999999</c:v>
                </c:pt>
                <c:pt idx="4806">
                  <c:v>2.9611999999999998</c:v>
                </c:pt>
                <c:pt idx="4807">
                  <c:v>2.9613999999999998</c:v>
                </c:pt>
                <c:pt idx="4808">
                  <c:v>2.9615998000000001</c:v>
                </c:pt>
                <c:pt idx="4809">
                  <c:v>2.9617998999999999</c:v>
                </c:pt>
                <c:pt idx="4810">
                  <c:v>2.9619998999999999</c:v>
                </c:pt>
                <c:pt idx="4811">
                  <c:v>2.9621998999999999</c:v>
                </c:pt>
                <c:pt idx="4812">
                  <c:v>2.9624000000000001</c:v>
                </c:pt>
                <c:pt idx="4813">
                  <c:v>2.9625998</c:v>
                </c:pt>
                <c:pt idx="4814">
                  <c:v>2.9628000000000001</c:v>
                </c:pt>
                <c:pt idx="4815">
                  <c:v>2.9630000999999999</c:v>
                </c:pt>
                <c:pt idx="4816">
                  <c:v>2.9631999000000002</c:v>
                </c:pt>
                <c:pt idx="4817">
                  <c:v>2.9633999000000002</c:v>
                </c:pt>
                <c:pt idx="4818">
                  <c:v>2.9635997000000001</c:v>
                </c:pt>
                <c:pt idx="4819">
                  <c:v>2.9638</c:v>
                </c:pt>
                <c:pt idx="4820">
                  <c:v>2.964</c:v>
                </c:pt>
                <c:pt idx="4821">
                  <c:v>2.9641997999999998</c:v>
                </c:pt>
                <c:pt idx="4822">
                  <c:v>2.9644001000000002</c:v>
                </c:pt>
                <c:pt idx="4823">
                  <c:v>2.9646001000000002</c:v>
                </c:pt>
                <c:pt idx="4824">
                  <c:v>2.9647999</c:v>
                </c:pt>
                <c:pt idx="4825">
                  <c:v>2.9649999</c:v>
                </c:pt>
                <c:pt idx="4826">
                  <c:v>2.9651996999999999</c:v>
                </c:pt>
                <c:pt idx="4827">
                  <c:v>2.9653999999999998</c:v>
                </c:pt>
                <c:pt idx="4828">
                  <c:v>2.9655999999999998</c:v>
                </c:pt>
                <c:pt idx="4829">
                  <c:v>2.9657998000000001</c:v>
                </c:pt>
                <c:pt idx="4830">
                  <c:v>2.9660001</c:v>
                </c:pt>
                <c:pt idx="4831">
                  <c:v>2.9661998999999999</c:v>
                </c:pt>
                <c:pt idx="4832">
                  <c:v>2.9663998999999999</c:v>
                </c:pt>
                <c:pt idx="4833">
                  <c:v>2.9665998999999998</c:v>
                </c:pt>
                <c:pt idx="4834">
                  <c:v>2.9667997000000002</c:v>
                </c:pt>
                <c:pt idx="4835">
                  <c:v>2.9670000000000001</c:v>
                </c:pt>
                <c:pt idx="4836">
                  <c:v>2.9671997999999999</c:v>
                </c:pt>
                <c:pt idx="4837">
                  <c:v>2.9673997999999999</c:v>
                </c:pt>
                <c:pt idx="4838">
                  <c:v>2.9676000999999999</c:v>
                </c:pt>
                <c:pt idx="4839">
                  <c:v>2.9677999000000002</c:v>
                </c:pt>
                <c:pt idx="4840">
                  <c:v>2.9679999000000001</c:v>
                </c:pt>
                <c:pt idx="4841">
                  <c:v>2.9681999999999999</c:v>
                </c:pt>
                <c:pt idx="4842">
                  <c:v>2.9683997999999998</c:v>
                </c:pt>
                <c:pt idx="4843">
                  <c:v>2.9685999999999999</c:v>
                </c:pt>
                <c:pt idx="4844">
                  <c:v>2.9687998000000002</c:v>
                </c:pt>
                <c:pt idx="4845">
                  <c:v>2.9689999</c:v>
                </c:pt>
                <c:pt idx="4846">
                  <c:v>2.9692001000000001</c:v>
                </c:pt>
                <c:pt idx="4847">
                  <c:v>2.9693999</c:v>
                </c:pt>
                <c:pt idx="4848">
                  <c:v>2.9695999999999998</c:v>
                </c:pt>
                <c:pt idx="4849">
                  <c:v>2.9697998000000001</c:v>
                </c:pt>
                <c:pt idx="4850">
                  <c:v>2.9699998000000001</c:v>
                </c:pt>
                <c:pt idx="4851">
                  <c:v>2.9702001</c:v>
                </c:pt>
                <c:pt idx="4852">
                  <c:v>2.9703998999999999</c:v>
                </c:pt>
                <c:pt idx="4853">
                  <c:v>2.9705998999999998</c:v>
                </c:pt>
                <c:pt idx="4854">
                  <c:v>2.9708001999999998</c:v>
                </c:pt>
                <c:pt idx="4855">
                  <c:v>2.9710000000000001</c:v>
                </c:pt>
                <c:pt idx="4856">
                  <c:v>2.9712000000000001</c:v>
                </c:pt>
                <c:pt idx="4857">
                  <c:v>2.9713997999999999</c:v>
                </c:pt>
                <c:pt idx="4858">
                  <c:v>2.9715997999999999</c:v>
                </c:pt>
                <c:pt idx="4859">
                  <c:v>2.9718000999999998</c:v>
                </c:pt>
                <c:pt idx="4860">
                  <c:v>2.9719999000000001</c:v>
                </c:pt>
                <c:pt idx="4861">
                  <c:v>2.9721999000000001</c:v>
                </c:pt>
                <c:pt idx="4862">
                  <c:v>2.9723999999999999</c:v>
                </c:pt>
                <c:pt idx="4863">
                  <c:v>2.9725999999999999</c:v>
                </c:pt>
                <c:pt idx="4864">
                  <c:v>2.9727999999999999</c:v>
                </c:pt>
                <c:pt idx="4865">
                  <c:v>2.9729998000000002</c:v>
                </c:pt>
                <c:pt idx="4866">
                  <c:v>2.9731998000000002</c:v>
                </c:pt>
                <c:pt idx="4867">
                  <c:v>2.9733999</c:v>
                </c:pt>
                <c:pt idx="4868">
                  <c:v>2.9735999</c:v>
                </c:pt>
                <c:pt idx="4869">
                  <c:v>2.9737998999999999</c:v>
                </c:pt>
                <c:pt idx="4870">
                  <c:v>2.9740000000000002</c:v>
                </c:pt>
                <c:pt idx="4871">
                  <c:v>2.9742000000000002</c:v>
                </c:pt>
                <c:pt idx="4872">
                  <c:v>2.9743998</c:v>
                </c:pt>
                <c:pt idx="4873">
                  <c:v>2.9745998</c:v>
                </c:pt>
                <c:pt idx="4874">
                  <c:v>2.9747998999999998</c:v>
                </c:pt>
                <c:pt idx="4875">
                  <c:v>2.9749998999999998</c:v>
                </c:pt>
                <c:pt idx="4876">
                  <c:v>2.9751998999999998</c:v>
                </c:pt>
                <c:pt idx="4877">
                  <c:v>2.9754</c:v>
                </c:pt>
                <c:pt idx="4878">
                  <c:v>2.9756</c:v>
                </c:pt>
                <c:pt idx="4879">
                  <c:v>2.9758</c:v>
                </c:pt>
                <c:pt idx="4880">
                  <c:v>2.9759997999999999</c:v>
                </c:pt>
                <c:pt idx="4881">
                  <c:v>2.9761999000000001</c:v>
                </c:pt>
                <c:pt idx="4882">
                  <c:v>2.9763999000000001</c:v>
                </c:pt>
                <c:pt idx="4883">
                  <c:v>2.9765999000000001</c:v>
                </c:pt>
                <c:pt idx="4884">
                  <c:v>2.9767999999999999</c:v>
                </c:pt>
                <c:pt idx="4885">
                  <c:v>2.9769998000000002</c:v>
                </c:pt>
                <c:pt idx="4886">
                  <c:v>2.9771999999999998</c:v>
                </c:pt>
                <c:pt idx="4887">
                  <c:v>2.9774001000000001</c:v>
                </c:pt>
                <c:pt idx="4888">
                  <c:v>2.9775999</c:v>
                </c:pt>
                <c:pt idx="4889">
                  <c:v>2.9777998999999999</c:v>
                </c:pt>
                <c:pt idx="4890">
                  <c:v>2.9779996999999998</c:v>
                </c:pt>
                <c:pt idx="4891">
                  <c:v>2.9782000000000002</c:v>
                </c:pt>
                <c:pt idx="4892">
                  <c:v>2.9784000000000002</c:v>
                </c:pt>
                <c:pt idx="4893">
                  <c:v>2.9785998</c:v>
                </c:pt>
                <c:pt idx="4894">
                  <c:v>2.9788001</c:v>
                </c:pt>
                <c:pt idx="4895">
                  <c:v>2.9790000999999999</c:v>
                </c:pt>
                <c:pt idx="4896">
                  <c:v>2.9791998999999998</c:v>
                </c:pt>
                <c:pt idx="4897">
                  <c:v>2.9793999000000002</c:v>
                </c:pt>
                <c:pt idx="4898">
                  <c:v>2.9795997000000001</c:v>
                </c:pt>
                <c:pt idx="4899">
                  <c:v>2.9798</c:v>
                </c:pt>
                <c:pt idx="4900">
                  <c:v>2.98</c:v>
                </c:pt>
                <c:pt idx="4901">
                  <c:v>2.9801997999999998</c:v>
                </c:pt>
                <c:pt idx="4902">
                  <c:v>2.9804001000000002</c:v>
                </c:pt>
                <c:pt idx="4903">
                  <c:v>2.9805999000000001</c:v>
                </c:pt>
                <c:pt idx="4904">
                  <c:v>2.9807999000000001</c:v>
                </c:pt>
                <c:pt idx="4905">
                  <c:v>2.9809999</c:v>
                </c:pt>
                <c:pt idx="4906">
                  <c:v>2.9811996999999999</c:v>
                </c:pt>
                <c:pt idx="4907">
                  <c:v>2.9813999999999998</c:v>
                </c:pt>
                <c:pt idx="4908">
                  <c:v>2.9815998000000001</c:v>
                </c:pt>
                <c:pt idx="4909">
                  <c:v>2.9817998000000001</c:v>
                </c:pt>
                <c:pt idx="4910">
                  <c:v>2.9820001</c:v>
                </c:pt>
                <c:pt idx="4911">
                  <c:v>2.9821998999999999</c:v>
                </c:pt>
                <c:pt idx="4912">
                  <c:v>2.9823998999999999</c:v>
                </c:pt>
                <c:pt idx="4913">
                  <c:v>2.9825997000000002</c:v>
                </c:pt>
                <c:pt idx="4914">
                  <c:v>2.9827998</c:v>
                </c:pt>
                <c:pt idx="4915">
                  <c:v>2.9830000000000001</c:v>
                </c:pt>
                <c:pt idx="4916">
                  <c:v>2.9831998</c:v>
                </c:pt>
                <c:pt idx="4917">
                  <c:v>2.9833999000000002</c:v>
                </c:pt>
                <c:pt idx="4918">
                  <c:v>2.9836000999999999</c:v>
                </c:pt>
                <c:pt idx="4919">
                  <c:v>2.9837999000000002</c:v>
                </c:pt>
                <c:pt idx="4920">
                  <c:v>2.984</c:v>
                </c:pt>
                <c:pt idx="4921">
                  <c:v>2.9841997999999998</c:v>
                </c:pt>
                <c:pt idx="4922">
                  <c:v>2.9843997999999998</c:v>
                </c:pt>
                <c:pt idx="4923">
                  <c:v>2.9846001000000002</c:v>
                </c:pt>
                <c:pt idx="4924">
                  <c:v>2.9847999000000001</c:v>
                </c:pt>
                <c:pt idx="4925">
                  <c:v>2.9849999</c:v>
                </c:pt>
                <c:pt idx="4926">
                  <c:v>2.9851999</c:v>
                </c:pt>
                <c:pt idx="4927">
                  <c:v>2.9853999999999998</c:v>
                </c:pt>
                <c:pt idx="4928">
                  <c:v>2.9855999999999998</c:v>
                </c:pt>
                <c:pt idx="4929">
                  <c:v>2.9857998000000001</c:v>
                </c:pt>
                <c:pt idx="4930">
                  <c:v>2.9859998000000001</c:v>
                </c:pt>
                <c:pt idx="4931">
                  <c:v>2.9862001</c:v>
                </c:pt>
                <c:pt idx="4932">
                  <c:v>2.9863998999999999</c:v>
                </c:pt>
                <c:pt idx="4933">
                  <c:v>2.9865998999999999</c:v>
                </c:pt>
                <c:pt idx="4934">
                  <c:v>2.9868000000000001</c:v>
                </c:pt>
                <c:pt idx="4935">
                  <c:v>2.9870000000000001</c:v>
                </c:pt>
                <c:pt idx="4936">
                  <c:v>2.9872000000000001</c:v>
                </c:pt>
                <c:pt idx="4937">
                  <c:v>2.9873997999999999</c:v>
                </c:pt>
                <c:pt idx="4938">
                  <c:v>2.9875997999999999</c:v>
                </c:pt>
                <c:pt idx="4939">
                  <c:v>2.9877999000000002</c:v>
                </c:pt>
                <c:pt idx="4940">
                  <c:v>2.9879999000000002</c:v>
                </c:pt>
                <c:pt idx="4941">
                  <c:v>2.9881999000000001</c:v>
                </c:pt>
                <c:pt idx="4942">
                  <c:v>2.9883999999999999</c:v>
                </c:pt>
                <c:pt idx="4943">
                  <c:v>2.9885999999999999</c:v>
                </c:pt>
                <c:pt idx="4944">
                  <c:v>2.9887997999999998</c:v>
                </c:pt>
                <c:pt idx="4945">
                  <c:v>2.9889998000000002</c:v>
                </c:pt>
                <c:pt idx="4946">
                  <c:v>2.9891999</c:v>
                </c:pt>
                <c:pt idx="4947">
                  <c:v>2.9893999</c:v>
                </c:pt>
                <c:pt idx="4948">
                  <c:v>2.9895999</c:v>
                </c:pt>
                <c:pt idx="4949">
                  <c:v>2.9897996999999998</c:v>
                </c:pt>
                <c:pt idx="4950">
                  <c:v>2.99</c:v>
                </c:pt>
                <c:pt idx="4951">
                  <c:v>2.9902000000000002</c:v>
                </c:pt>
                <c:pt idx="4952">
                  <c:v>2.9903998000000001</c:v>
                </c:pt>
                <c:pt idx="4953">
                  <c:v>2.9905998999999999</c:v>
                </c:pt>
                <c:pt idx="4954">
                  <c:v>2.9907998999999998</c:v>
                </c:pt>
                <c:pt idx="4955">
                  <c:v>2.9909998999999998</c:v>
                </c:pt>
                <c:pt idx="4956">
                  <c:v>2.9912000000000001</c:v>
                </c:pt>
                <c:pt idx="4957">
                  <c:v>2.9913997999999999</c:v>
                </c:pt>
                <c:pt idx="4958">
                  <c:v>2.9916</c:v>
                </c:pt>
                <c:pt idx="4959">
                  <c:v>2.9918000999999999</c:v>
                </c:pt>
                <c:pt idx="4960">
                  <c:v>2.9919999000000002</c:v>
                </c:pt>
                <c:pt idx="4961">
                  <c:v>2.9921999000000001</c:v>
                </c:pt>
                <c:pt idx="4962">
                  <c:v>2.9923997</c:v>
                </c:pt>
                <c:pt idx="4963">
                  <c:v>2.9925999999999999</c:v>
                </c:pt>
                <c:pt idx="4964">
                  <c:v>2.9927999999999999</c:v>
                </c:pt>
                <c:pt idx="4965">
                  <c:v>2.9929998000000002</c:v>
                </c:pt>
                <c:pt idx="4966">
                  <c:v>2.9932001000000001</c:v>
                </c:pt>
                <c:pt idx="4967">
                  <c:v>2.9934001000000001</c:v>
                </c:pt>
                <c:pt idx="4968">
                  <c:v>2.9935999</c:v>
                </c:pt>
                <c:pt idx="4969">
                  <c:v>2.9937999</c:v>
                </c:pt>
                <c:pt idx="4970">
                  <c:v>2.9939996999999998</c:v>
                </c:pt>
                <c:pt idx="4971">
                  <c:v>2.9942000000000002</c:v>
                </c:pt>
                <c:pt idx="4972">
                  <c:v>2.9944000000000002</c:v>
                </c:pt>
                <c:pt idx="4973">
                  <c:v>2.9945998</c:v>
                </c:pt>
                <c:pt idx="4974">
                  <c:v>2.9948001</c:v>
                </c:pt>
                <c:pt idx="4975">
                  <c:v>2.9949998999999998</c:v>
                </c:pt>
                <c:pt idx="4976">
                  <c:v>2.9951998999999998</c:v>
                </c:pt>
                <c:pt idx="4977">
                  <c:v>2.9954000000000001</c:v>
                </c:pt>
                <c:pt idx="4978">
                  <c:v>2.9955997000000001</c:v>
                </c:pt>
                <c:pt idx="4979">
                  <c:v>2.9958</c:v>
                </c:pt>
                <c:pt idx="4980">
                  <c:v>2.9959997999999999</c:v>
                </c:pt>
                <c:pt idx="4981">
                  <c:v>2.9961997999999999</c:v>
                </c:pt>
                <c:pt idx="4982">
                  <c:v>2.9964000999999998</c:v>
                </c:pt>
                <c:pt idx="4983">
                  <c:v>2.9965999000000001</c:v>
                </c:pt>
                <c:pt idx="4984">
                  <c:v>2.9967999000000001</c:v>
                </c:pt>
                <c:pt idx="4985">
                  <c:v>2.9969996999999999</c:v>
                </c:pt>
                <c:pt idx="4986">
                  <c:v>2.9971998000000002</c:v>
                </c:pt>
                <c:pt idx="4987">
                  <c:v>2.9973999999999998</c:v>
                </c:pt>
                <c:pt idx="4988">
                  <c:v>2.9975998000000001</c:v>
                </c:pt>
                <c:pt idx="4989">
                  <c:v>2.9977999</c:v>
                </c:pt>
                <c:pt idx="4990">
                  <c:v>2.9980001000000001</c:v>
                </c:pt>
                <c:pt idx="4991">
                  <c:v>2.9981998999999999</c:v>
                </c:pt>
                <c:pt idx="4992">
                  <c:v>2.9984000000000002</c:v>
                </c:pt>
                <c:pt idx="4993">
                  <c:v>2.9985998</c:v>
                </c:pt>
                <c:pt idx="4994">
                  <c:v>2.9987998</c:v>
                </c:pt>
                <c:pt idx="4995">
                  <c:v>2.9990000999999999</c:v>
                </c:pt>
                <c:pt idx="4996">
                  <c:v>2.9991998999999998</c:v>
                </c:pt>
                <c:pt idx="4997">
                  <c:v>2.9993998999999998</c:v>
                </c:pt>
                <c:pt idx="4998">
                  <c:v>2.9995999000000002</c:v>
                </c:pt>
                <c:pt idx="4999">
                  <c:v>2.9998</c:v>
                </c:pt>
                <c:pt idx="5000">
                  <c:v>3</c:v>
                </c:pt>
                <c:pt idx="5001">
                  <c:v>3.0001997999999999</c:v>
                </c:pt>
                <c:pt idx="5002">
                  <c:v>3.0003997999999998</c:v>
                </c:pt>
                <c:pt idx="5003">
                  <c:v>3.0005999000000001</c:v>
                </c:pt>
                <c:pt idx="5004">
                  <c:v>3.0007999000000001</c:v>
                </c:pt>
                <c:pt idx="5005">
                  <c:v>3.0009999000000001</c:v>
                </c:pt>
                <c:pt idx="5006">
                  <c:v>3.0011999999999999</c:v>
                </c:pt>
                <c:pt idx="5007">
                  <c:v>3.0013999999999998</c:v>
                </c:pt>
                <c:pt idx="5008">
                  <c:v>3.0015999999999998</c:v>
                </c:pt>
                <c:pt idx="5009">
                  <c:v>3.0017998000000001</c:v>
                </c:pt>
                <c:pt idx="5010">
                  <c:v>3.0019998999999999</c:v>
                </c:pt>
                <c:pt idx="5011">
                  <c:v>3.0021998999999999</c:v>
                </c:pt>
                <c:pt idx="5012">
                  <c:v>3.0023998999999999</c:v>
                </c:pt>
                <c:pt idx="5013">
                  <c:v>3.0026000000000002</c:v>
                </c:pt>
                <c:pt idx="5014">
                  <c:v>3.0028000000000001</c:v>
                </c:pt>
                <c:pt idx="5015">
                  <c:v>3.0030000000000001</c:v>
                </c:pt>
                <c:pt idx="5016">
                  <c:v>3.0031998</c:v>
                </c:pt>
                <c:pt idx="5017">
                  <c:v>3.0033998</c:v>
                </c:pt>
                <c:pt idx="5018">
                  <c:v>3.0035999000000002</c:v>
                </c:pt>
                <c:pt idx="5019">
                  <c:v>3.0037999000000002</c:v>
                </c:pt>
                <c:pt idx="5020">
                  <c:v>3.0039999000000002</c:v>
                </c:pt>
                <c:pt idx="5021">
                  <c:v>3.0041997</c:v>
                </c:pt>
                <c:pt idx="5022">
                  <c:v>3.0044</c:v>
                </c:pt>
                <c:pt idx="5023">
                  <c:v>3.0045999999999999</c:v>
                </c:pt>
                <c:pt idx="5024">
                  <c:v>3.0047997999999998</c:v>
                </c:pt>
                <c:pt idx="5025">
                  <c:v>3.0049999000000001</c:v>
                </c:pt>
                <c:pt idx="5026">
                  <c:v>3.0051996999999999</c:v>
                </c:pt>
                <c:pt idx="5027">
                  <c:v>3.0053999</c:v>
                </c:pt>
                <c:pt idx="5028">
                  <c:v>3.0055999999999998</c:v>
                </c:pt>
                <c:pt idx="5029">
                  <c:v>3.0057998000000001</c:v>
                </c:pt>
                <c:pt idx="5030">
                  <c:v>3.0059999999999998</c:v>
                </c:pt>
                <c:pt idx="5031">
                  <c:v>3.0062001</c:v>
                </c:pt>
                <c:pt idx="5032">
                  <c:v>3.0063998999999999</c:v>
                </c:pt>
                <c:pt idx="5033">
                  <c:v>3.0065998999999999</c:v>
                </c:pt>
                <c:pt idx="5034">
                  <c:v>3.0067997000000002</c:v>
                </c:pt>
                <c:pt idx="5035">
                  <c:v>3.0070000000000001</c:v>
                </c:pt>
                <c:pt idx="5036">
                  <c:v>3.0072000000000001</c:v>
                </c:pt>
                <c:pt idx="5037">
                  <c:v>3.0073998</c:v>
                </c:pt>
                <c:pt idx="5038">
                  <c:v>3.0076000999999999</c:v>
                </c:pt>
                <c:pt idx="5039">
                  <c:v>3.0077999000000002</c:v>
                </c:pt>
                <c:pt idx="5040">
                  <c:v>3.0079999000000002</c:v>
                </c:pt>
                <c:pt idx="5041">
                  <c:v>3.0081999000000001</c:v>
                </c:pt>
                <c:pt idx="5042">
                  <c:v>3.0083997</c:v>
                </c:pt>
                <c:pt idx="5043">
                  <c:v>3.0085999999999999</c:v>
                </c:pt>
                <c:pt idx="5044">
                  <c:v>3.0087999999999999</c:v>
                </c:pt>
                <c:pt idx="5045">
                  <c:v>3.0089997999999998</c:v>
                </c:pt>
                <c:pt idx="5046">
                  <c:v>3.0092001000000002</c:v>
                </c:pt>
                <c:pt idx="5047">
                  <c:v>3.0093999</c:v>
                </c:pt>
                <c:pt idx="5048">
                  <c:v>3.0095999</c:v>
                </c:pt>
                <c:pt idx="5049">
                  <c:v>3.0097999999999998</c:v>
                </c:pt>
                <c:pt idx="5050">
                  <c:v>3.0099998000000001</c:v>
                </c:pt>
                <c:pt idx="5051">
                  <c:v>3.0102000000000002</c:v>
                </c:pt>
                <c:pt idx="5052">
                  <c:v>3.0103998000000001</c:v>
                </c:pt>
                <c:pt idx="5053">
                  <c:v>3.0105998999999999</c:v>
                </c:pt>
                <c:pt idx="5054">
                  <c:v>3.0108001</c:v>
                </c:pt>
                <c:pt idx="5055">
                  <c:v>3.0109998999999998</c:v>
                </c:pt>
                <c:pt idx="5056">
                  <c:v>3.0112000000000001</c:v>
                </c:pt>
                <c:pt idx="5057">
                  <c:v>3.0113997000000001</c:v>
                </c:pt>
                <c:pt idx="5058">
                  <c:v>3.0115997999999999</c:v>
                </c:pt>
                <c:pt idx="5059">
                  <c:v>3.0118000999999999</c:v>
                </c:pt>
                <c:pt idx="5060">
                  <c:v>3.0119997999999999</c:v>
                </c:pt>
                <c:pt idx="5061">
                  <c:v>3.0121999000000002</c:v>
                </c:pt>
                <c:pt idx="5062">
                  <c:v>3.0124002000000001</c:v>
                </c:pt>
                <c:pt idx="5063">
                  <c:v>3.0125999000000001</c:v>
                </c:pt>
                <c:pt idx="5064">
                  <c:v>3.0127999999999999</c:v>
                </c:pt>
                <c:pt idx="5065">
                  <c:v>3.0129997999999998</c:v>
                </c:pt>
                <c:pt idx="5066">
                  <c:v>3.0131998000000002</c:v>
                </c:pt>
                <c:pt idx="5067">
                  <c:v>3.0134001000000001</c:v>
                </c:pt>
                <c:pt idx="5068">
                  <c:v>3.0135999</c:v>
                </c:pt>
                <c:pt idx="5069">
                  <c:v>3.0137999</c:v>
                </c:pt>
                <c:pt idx="5070">
                  <c:v>3.0139999</c:v>
                </c:pt>
                <c:pt idx="5071">
                  <c:v>3.0142000000000002</c:v>
                </c:pt>
                <c:pt idx="5072">
                  <c:v>3.0144000000000002</c:v>
                </c:pt>
                <c:pt idx="5073">
                  <c:v>3.0145998000000001</c:v>
                </c:pt>
                <c:pt idx="5074">
                  <c:v>3.0147998</c:v>
                </c:pt>
                <c:pt idx="5075">
                  <c:v>3.0149998999999998</c:v>
                </c:pt>
                <c:pt idx="5076">
                  <c:v>3.0151998999999998</c:v>
                </c:pt>
                <c:pt idx="5077">
                  <c:v>3.0153998999999998</c:v>
                </c:pt>
                <c:pt idx="5078">
                  <c:v>3.0156000000000001</c:v>
                </c:pt>
                <c:pt idx="5079">
                  <c:v>3.0158</c:v>
                </c:pt>
                <c:pt idx="5080">
                  <c:v>3.016</c:v>
                </c:pt>
                <c:pt idx="5081">
                  <c:v>3.0161997999999999</c:v>
                </c:pt>
                <c:pt idx="5082">
                  <c:v>3.0163999000000001</c:v>
                </c:pt>
                <c:pt idx="5083">
                  <c:v>3.0165999000000001</c:v>
                </c:pt>
                <c:pt idx="5084">
                  <c:v>3.0167999000000001</c:v>
                </c:pt>
                <c:pt idx="5085">
                  <c:v>3.0169999999999999</c:v>
                </c:pt>
                <c:pt idx="5086">
                  <c:v>3.0171999999999999</c:v>
                </c:pt>
                <c:pt idx="5087">
                  <c:v>3.0173999999999999</c:v>
                </c:pt>
                <c:pt idx="5088">
                  <c:v>3.0175998000000002</c:v>
                </c:pt>
                <c:pt idx="5089">
                  <c:v>3.0177999</c:v>
                </c:pt>
                <c:pt idx="5090">
                  <c:v>3.0179999</c:v>
                </c:pt>
                <c:pt idx="5091">
                  <c:v>3.0181998999999999</c:v>
                </c:pt>
                <c:pt idx="5092">
                  <c:v>3.0184000000000002</c:v>
                </c:pt>
                <c:pt idx="5093">
                  <c:v>3.0185997000000002</c:v>
                </c:pt>
                <c:pt idx="5094">
                  <c:v>3.0188000000000001</c:v>
                </c:pt>
                <c:pt idx="5095">
                  <c:v>3.0190001</c:v>
                </c:pt>
                <c:pt idx="5096">
                  <c:v>3.0191998</c:v>
                </c:pt>
                <c:pt idx="5097">
                  <c:v>3.0193998999999998</c:v>
                </c:pt>
                <c:pt idx="5098">
                  <c:v>3.0195997000000001</c:v>
                </c:pt>
                <c:pt idx="5099">
                  <c:v>3.0197999000000002</c:v>
                </c:pt>
                <c:pt idx="5100">
                  <c:v>3.02</c:v>
                </c:pt>
                <c:pt idx="5101">
                  <c:v>3.0201997999999999</c:v>
                </c:pt>
                <c:pt idx="5102">
                  <c:v>3.0204</c:v>
                </c:pt>
                <c:pt idx="5103">
                  <c:v>3.0206000999999998</c:v>
                </c:pt>
                <c:pt idx="5104">
                  <c:v>3.0207999000000001</c:v>
                </c:pt>
                <c:pt idx="5105">
                  <c:v>3.0209999000000001</c:v>
                </c:pt>
                <c:pt idx="5106">
                  <c:v>3.0211996999999999</c:v>
                </c:pt>
                <c:pt idx="5107">
                  <c:v>3.0213999999999999</c:v>
                </c:pt>
                <c:pt idx="5108">
                  <c:v>3.0215999999999998</c:v>
                </c:pt>
                <c:pt idx="5109">
                  <c:v>3.0217998000000001</c:v>
                </c:pt>
                <c:pt idx="5110">
                  <c:v>3.0220001000000001</c:v>
                </c:pt>
                <c:pt idx="5111">
                  <c:v>3.0221998999999999</c:v>
                </c:pt>
                <c:pt idx="5112">
                  <c:v>3.0223998999999999</c:v>
                </c:pt>
                <c:pt idx="5113">
                  <c:v>3.0225998999999999</c:v>
                </c:pt>
                <c:pt idx="5114">
                  <c:v>3.0227997000000002</c:v>
                </c:pt>
                <c:pt idx="5115">
                  <c:v>3.0230000000000001</c:v>
                </c:pt>
                <c:pt idx="5116">
                  <c:v>3.0231998</c:v>
                </c:pt>
                <c:pt idx="5117">
                  <c:v>3.0233998</c:v>
                </c:pt>
                <c:pt idx="5118">
                  <c:v>3.0236000999999999</c:v>
                </c:pt>
                <c:pt idx="5119">
                  <c:v>3.0237999000000002</c:v>
                </c:pt>
                <c:pt idx="5120">
                  <c:v>3.0239999000000002</c:v>
                </c:pt>
                <c:pt idx="5121">
                  <c:v>3.0242</c:v>
                </c:pt>
                <c:pt idx="5122">
                  <c:v>3.0243997999999999</c:v>
                </c:pt>
                <c:pt idx="5123">
                  <c:v>3.0246</c:v>
                </c:pt>
                <c:pt idx="5124">
                  <c:v>3.0247997999999998</c:v>
                </c:pt>
                <c:pt idx="5125">
                  <c:v>3.0249999000000001</c:v>
                </c:pt>
                <c:pt idx="5126">
                  <c:v>3.0252001000000002</c:v>
                </c:pt>
                <c:pt idx="5127">
                  <c:v>3.0253999</c:v>
                </c:pt>
                <c:pt idx="5128">
                  <c:v>3.0255999999999998</c:v>
                </c:pt>
                <c:pt idx="5129">
                  <c:v>3.0257998000000002</c:v>
                </c:pt>
                <c:pt idx="5130">
                  <c:v>3.0259998000000001</c:v>
                </c:pt>
                <c:pt idx="5131">
                  <c:v>3.0262001000000001</c:v>
                </c:pt>
                <c:pt idx="5132">
                  <c:v>3.0263998999999999</c:v>
                </c:pt>
                <c:pt idx="5133">
                  <c:v>3.0265998999999999</c:v>
                </c:pt>
                <c:pt idx="5134">
                  <c:v>3.0268001999999998</c:v>
                </c:pt>
                <c:pt idx="5135">
                  <c:v>3.0270000000000001</c:v>
                </c:pt>
                <c:pt idx="5136">
                  <c:v>3.0272000000000001</c:v>
                </c:pt>
                <c:pt idx="5137">
                  <c:v>3.0273998</c:v>
                </c:pt>
                <c:pt idx="5138">
                  <c:v>3.0275998</c:v>
                </c:pt>
                <c:pt idx="5139">
                  <c:v>3.0278000999999999</c:v>
                </c:pt>
                <c:pt idx="5140">
                  <c:v>3.0279999000000002</c:v>
                </c:pt>
                <c:pt idx="5141">
                  <c:v>3.0281999000000002</c:v>
                </c:pt>
                <c:pt idx="5142">
                  <c:v>3.0283999000000001</c:v>
                </c:pt>
                <c:pt idx="5143">
                  <c:v>3.0286</c:v>
                </c:pt>
                <c:pt idx="5144">
                  <c:v>3.0287999999999999</c:v>
                </c:pt>
                <c:pt idx="5145">
                  <c:v>3.0289997999999998</c:v>
                </c:pt>
                <c:pt idx="5146">
                  <c:v>3.0291998000000002</c:v>
                </c:pt>
                <c:pt idx="5147">
                  <c:v>3.0293999</c:v>
                </c:pt>
                <c:pt idx="5148">
                  <c:v>3.0295999</c:v>
                </c:pt>
                <c:pt idx="5149">
                  <c:v>3.0297999</c:v>
                </c:pt>
                <c:pt idx="5150">
                  <c:v>3.03</c:v>
                </c:pt>
                <c:pt idx="5151">
                  <c:v>3.0301999999999998</c:v>
                </c:pt>
                <c:pt idx="5152">
                  <c:v>3.0303998000000001</c:v>
                </c:pt>
                <c:pt idx="5153">
                  <c:v>3.0305998000000001</c:v>
                </c:pt>
                <c:pt idx="5154">
                  <c:v>3.0307998999999999</c:v>
                </c:pt>
                <c:pt idx="5155">
                  <c:v>3.0309998999999999</c:v>
                </c:pt>
                <c:pt idx="5156">
                  <c:v>3.0311998999999998</c:v>
                </c:pt>
                <c:pt idx="5157">
                  <c:v>3.0314000000000001</c:v>
                </c:pt>
                <c:pt idx="5158">
                  <c:v>3.0316000000000001</c:v>
                </c:pt>
                <c:pt idx="5159">
                  <c:v>3.0318000000000001</c:v>
                </c:pt>
                <c:pt idx="5160">
                  <c:v>3.0319997999999999</c:v>
                </c:pt>
                <c:pt idx="5161">
                  <c:v>3.0321999000000002</c:v>
                </c:pt>
                <c:pt idx="5162">
                  <c:v>3.0323999000000001</c:v>
                </c:pt>
                <c:pt idx="5163">
                  <c:v>3.0325999000000001</c:v>
                </c:pt>
                <c:pt idx="5164">
                  <c:v>3.0327999999999999</c:v>
                </c:pt>
                <c:pt idx="5165">
                  <c:v>3.0329997999999998</c:v>
                </c:pt>
                <c:pt idx="5166">
                  <c:v>3.0331999999999999</c:v>
                </c:pt>
                <c:pt idx="5167">
                  <c:v>3.0334001000000002</c:v>
                </c:pt>
                <c:pt idx="5168">
                  <c:v>3.0335999</c:v>
                </c:pt>
                <c:pt idx="5169">
                  <c:v>3.0337999</c:v>
                </c:pt>
                <c:pt idx="5170">
                  <c:v>3.0339996999999999</c:v>
                </c:pt>
                <c:pt idx="5171">
                  <c:v>3.0341999999999998</c:v>
                </c:pt>
                <c:pt idx="5172">
                  <c:v>3.0344000000000002</c:v>
                </c:pt>
                <c:pt idx="5173">
                  <c:v>3.0345998000000001</c:v>
                </c:pt>
                <c:pt idx="5174">
                  <c:v>3.0348001</c:v>
                </c:pt>
                <c:pt idx="5175">
                  <c:v>3.0350001</c:v>
                </c:pt>
                <c:pt idx="5176">
                  <c:v>3.0351998999999998</c:v>
                </c:pt>
                <c:pt idx="5177">
                  <c:v>3.0353998999999998</c:v>
                </c:pt>
                <c:pt idx="5178">
                  <c:v>3.0355997000000001</c:v>
                </c:pt>
                <c:pt idx="5179">
                  <c:v>3.0358000000000001</c:v>
                </c:pt>
                <c:pt idx="5180">
                  <c:v>3.036</c:v>
                </c:pt>
                <c:pt idx="5181">
                  <c:v>3.0361997999999999</c:v>
                </c:pt>
                <c:pt idx="5182">
                  <c:v>3.0364000999999998</c:v>
                </c:pt>
                <c:pt idx="5183">
                  <c:v>3.0365999000000001</c:v>
                </c:pt>
                <c:pt idx="5184">
                  <c:v>3.0367999000000001</c:v>
                </c:pt>
                <c:pt idx="5185">
                  <c:v>3.0369999000000001</c:v>
                </c:pt>
                <c:pt idx="5186">
                  <c:v>3.0371996999999999</c:v>
                </c:pt>
                <c:pt idx="5187">
                  <c:v>3.0373999999999999</c:v>
                </c:pt>
                <c:pt idx="5188">
                  <c:v>3.0375998000000002</c:v>
                </c:pt>
                <c:pt idx="5189">
                  <c:v>3.0377998000000002</c:v>
                </c:pt>
                <c:pt idx="5190">
                  <c:v>3.0380001000000001</c:v>
                </c:pt>
                <c:pt idx="5191">
                  <c:v>3.0381999</c:v>
                </c:pt>
                <c:pt idx="5192">
                  <c:v>3.0383998999999999</c:v>
                </c:pt>
                <c:pt idx="5193">
                  <c:v>3.0386000000000002</c:v>
                </c:pt>
                <c:pt idx="5194">
                  <c:v>3.0387998000000001</c:v>
                </c:pt>
                <c:pt idx="5195">
                  <c:v>3.0390000000000001</c:v>
                </c:pt>
                <c:pt idx="5196">
                  <c:v>3.0391998</c:v>
                </c:pt>
                <c:pt idx="5197">
                  <c:v>3.0393998999999998</c:v>
                </c:pt>
                <c:pt idx="5198">
                  <c:v>3.0396000999999999</c:v>
                </c:pt>
                <c:pt idx="5199">
                  <c:v>3.0397999000000002</c:v>
                </c:pt>
                <c:pt idx="5200">
                  <c:v>3.04</c:v>
                </c:pt>
                <c:pt idx="5201">
                  <c:v>3.0401997999999999</c:v>
                </c:pt>
                <c:pt idx="5202">
                  <c:v>3.0403997999999999</c:v>
                </c:pt>
                <c:pt idx="5203">
                  <c:v>3.0406000999999998</c:v>
                </c:pt>
                <c:pt idx="5204">
                  <c:v>3.0407999000000001</c:v>
                </c:pt>
                <c:pt idx="5205">
                  <c:v>3.0409999000000001</c:v>
                </c:pt>
                <c:pt idx="5206">
                  <c:v>3.0412002</c:v>
                </c:pt>
                <c:pt idx="5207">
                  <c:v>3.0413999999999999</c:v>
                </c:pt>
                <c:pt idx="5208">
                  <c:v>3.0415999999999999</c:v>
                </c:pt>
                <c:pt idx="5209">
                  <c:v>3.0417998000000002</c:v>
                </c:pt>
                <c:pt idx="5210">
                  <c:v>3.0419998000000001</c:v>
                </c:pt>
                <c:pt idx="5211">
                  <c:v>3.0422001000000001</c:v>
                </c:pt>
                <c:pt idx="5212">
                  <c:v>3.0423998999999999</c:v>
                </c:pt>
                <c:pt idx="5213">
                  <c:v>3.0425998999999999</c:v>
                </c:pt>
                <c:pt idx="5214">
                  <c:v>3.0427998999999999</c:v>
                </c:pt>
                <c:pt idx="5215">
                  <c:v>3.0430000000000001</c:v>
                </c:pt>
                <c:pt idx="5216">
                  <c:v>3.0432000000000001</c:v>
                </c:pt>
                <c:pt idx="5217">
                  <c:v>3.0433998</c:v>
                </c:pt>
                <c:pt idx="5218">
                  <c:v>3.0435998</c:v>
                </c:pt>
                <c:pt idx="5219">
                  <c:v>3.0437998999999998</c:v>
                </c:pt>
                <c:pt idx="5220">
                  <c:v>3.0439999000000002</c:v>
                </c:pt>
                <c:pt idx="5221">
                  <c:v>3.0441999000000002</c:v>
                </c:pt>
                <c:pt idx="5222">
                  <c:v>3.0444</c:v>
                </c:pt>
                <c:pt idx="5223">
                  <c:v>3.0446</c:v>
                </c:pt>
                <c:pt idx="5224">
                  <c:v>3.0447997999999998</c:v>
                </c:pt>
                <c:pt idx="5225">
                  <c:v>3.0449997999999998</c:v>
                </c:pt>
                <c:pt idx="5226">
                  <c:v>3.0451999000000001</c:v>
                </c:pt>
                <c:pt idx="5227">
                  <c:v>3.0453999</c:v>
                </c:pt>
                <c:pt idx="5228">
                  <c:v>3.0455999</c:v>
                </c:pt>
                <c:pt idx="5229">
                  <c:v>3.0457996999999999</c:v>
                </c:pt>
                <c:pt idx="5230">
                  <c:v>3.0459999999999998</c:v>
                </c:pt>
                <c:pt idx="5231">
                  <c:v>3.0461999999999998</c:v>
                </c:pt>
                <c:pt idx="5232">
                  <c:v>3.0463998000000001</c:v>
                </c:pt>
                <c:pt idx="5233">
                  <c:v>3.0465998999999999</c:v>
                </c:pt>
                <c:pt idx="5234">
                  <c:v>3.0467998999999999</c:v>
                </c:pt>
                <c:pt idx="5235">
                  <c:v>3.0469998999999999</c:v>
                </c:pt>
                <c:pt idx="5236">
                  <c:v>3.0472000000000001</c:v>
                </c:pt>
                <c:pt idx="5237">
                  <c:v>3.0473998</c:v>
                </c:pt>
                <c:pt idx="5238">
                  <c:v>3.0476000000000001</c:v>
                </c:pt>
                <c:pt idx="5239">
                  <c:v>3.0478000999999999</c:v>
                </c:pt>
                <c:pt idx="5240">
                  <c:v>3.0479999000000002</c:v>
                </c:pt>
                <c:pt idx="5241">
                  <c:v>3.0481999000000002</c:v>
                </c:pt>
                <c:pt idx="5242">
                  <c:v>3.0483997</c:v>
                </c:pt>
                <c:pt idx="5243">
                  <c:v>3.0486</c:v>
                </c:pt>
                <c:pt idx="5244">
                  <c:v>3.0488</c:v>
                </c:pt>
                <c:pt idx="5245">
                  <c:v>3.0489997999999998</c:v>
                </c:pt>
                <c:pt idx="5246">
                  <c:v>3.0492001000000002</c:v>
                </c:pt>
                <c:pt idx="5247">
                  <c:v>3.0494001000000002</c:v>
                </c:pt>
                <c:pt idx="5248">
                  <c:v>3.0495999</c:v>
                </c:pt>
                <c:pt idx="5249">
                  <c:v>3.0497999</c:v>
                </c:pt>
                <c:pt idx="5250">
                  <c:v>3.0499996999999999</c:v>
                </c:pt>
                <c:pt idx="5251">
                  <c:v>3.0501999999999998</c:v>
                </c:pt>
                <c:pt idx="5252">
                  <c:v>3.0503999999999998</c:v>
                </c:pt>
                <c:pt idx="5253">
                  <c:v>3.0505998000000001</c:v>
                </c:pt>
                <c:pt idx="5254">
                  <c:v>3.0508001</c:v>
                </c:pt>
                <c:pt idx="5255">
                  <c:v>3.0509998999999999</c:v>
                </c:pt>
                <c:pt idx="5256">
                  <c:v>3.0511998999999999</c:v>
                </c:pt>
                <c:pt idx="5257">
                  <c:v>3.0513998999999998</c:v>
                </c:pt>
                <c:pt idx="5258">
                  <c:v>3.0515997000000001</c:v>
                </c:pt>
                <c:pt idx="5259">
                  <c:v>3.0518000000000001</c:v>
                </c:pt>
                <c:pt idx="5260">
                  <c:v>3.0519997999999999</c:v>
                </c:pt>
                <c:pt idx="5261">
                  <c:v>3.0521997999999999</c:v>
                </c:pt>
                <c:pt idx="5262">
                  <c:v>3.0524000999999998</c:v>
                </c:pt>
                <c:pt idx="5263">
                  <c:v>3.0525999000000001</c:v>
                </c:pt>
                <c:pt idx="5264">
                  <c:v>3.0527999000000001</c:v>
                </c:pt>
                <c:pt idx="5265">
                  <c:v>3.0529997</c:v>
                </c:pt>
                <c:pt idx="5266">
                  <c:v>3.0531997999999998</c:v>
                </c:pt>
                <c:pt idx="5267">
                  <c:v>3.0533999999999999</c:v>
                </c:pt>
                <c:pt idx="5268">
                  <c:v>3.0535998000000002</c:v>
                </c:pt>
                <c:pt idx="5269">
                  <c:v>3.0537999</c:v>
                </c:pt>
                <c:pt idx="5270">
                  <c:v>3.0540001000000001</c:v>
                </c:pt>
                <c:pt idx="5271">
                  <c:v>3.0541999</c:v>
                </c:pt>
                <c:pt idx="5272">
                  <c:v>3.0543999999999998</c:v>
                </c:pt>
                <c:pt idx="5273">
                  <c:v>3.0545998000000001</c:v>
                </c:pt>
                <c:pt idx="5274">
                  <c:v>3.0547998000000001</c:v>
                </c:pt>
                <c:pt idx="5275">
                  <c:v>3.0550001</c:v>
                </c:pt>
                <c:pt idx="5276">
                  <c:v>3.0551998999999999</c:v>
                </c:pt>
                <c:pt idx="5277">
                  <c:v>3.0553998999999998</c:v>
                </c:pt>
                <c:pt idx="5278">
                  <c:v>3.0555998999999998</c:v>
                </c:pt>
                <c:pt idx="5279">
                  <c:v>3.0558000000000001</c:v>
                </c:pt>
                <c:pt idx="5280">
                  <c:v>3.056</c:v>
                </c:pt>
                <c:pt idx="5281">
                  <c:v>3.0561997999999999</c:v>
                </c:pt>
                <c:pt idx="5282">
                  <c:v>3.0563997999999999</c:v>
                </c:pt>
                <c:pt idx="5283">
                  <c:v>3.0566000999999998</c:v>
                </c:pt>
                <c:pt idx="5284">
                  <c:v>3.0567999000000001</c:v>
                </c:pt>
                <c:pt idx="5285">
                  <c:v>3.0569999000000001</c:v>
                </c:pt>
                <c:pt idx="5286">
                  <c:v>3.0571999999999999</c:v>
                </c:pt>
                <c:pt idx="5287">
                  <c:v>3.0573999999999999</c:v>
                </c:pt>
                <c:pt idx="5288">
                  <c:v>3.0575999999999999</c:v>
                </c:pt>
                <c:pt idx="5289">
                  <c:v>3.0577998000000002</c:v>
                </c:pt>
                <c:pt idx="5290">
                  <c:v>3.0579998000000002</c:v>
                </c:pt>
                <c:pt idx="5291">
                  <c:v>3.0581999</c:v>
                </c:pt>
                <c:pt idx="5292">
                  <c:v>3.0583998999999999</c:v>
                </c:pt>
                <c:pt idx="5293">
                  <c:v>3.0585998999999999</c:v>
                </c:pt>
                <c:pt idx="5294">
                  <c:v>3.0588000000000002</c:v>
                </c:pt>
                <c:pt idx="5295">
                  <c:v>3.0590000000000002</c:v>
                </c:pt>
                <c:pt idx="5296">
                  <c:v>3.0591998</c:v>
                </c:pt>
                <c:pt idx="5297">
                  <c:v>3.0593998</c:v>
                </c:pt>
                <c:pt idx="5298">
                  <c:v>3.0595998999999998</c:v>
                </c:pt>
                <c:pt idx="5299">
                  <c:v>3.0597998999999998</c:v>
                </c:pt>
                <c:pt idx="5300">
                  <c:v>3.0599999000000002</c:v>
                </c:pt>
                <c:pt idx="5301">
                  <c:v>3.0601997000000001</c:v>
                </c:pt>
                <c:pt idx="5302">
                  <c:v>3.0604</c:v>
                </c:pt>
                <c:pt idx="5303">
                  <c:v>3.0606</c:v>
                </c:pt>
                <c:pt idx="5304">
                  <c:v>3.0607997999999998</c:v>
                </c:pt>
                <c:pt idx="5305">
                  <c:v>3.0609999000000001</c:v>
                </c:pt>
                <c:pt idx="5306">
                  <c:v>3.0611999000000001</c:v>
                </c:pt>
                <c:pt idx="5307">
                  <c:v>3.0613999000000001</c:v>
                </c:pt>
                <c:pt idx="5308">
                  <c:v>3.0615999999999999</c:v>
                </c:pt>
                <c:pt idx="5309">
                  <c:v>3.0617998000000002</c:v>
                </c:pt>
                <c:pt idx="5310">
                  <c:v>3.0619999999999998</c:v>
                </c:pt>
                <c:pt idx="5311">
                  <c:v>3.0622001000000001</c:v>
                </c:pt>
                <c:pt idx="5312">
                  <c:v>3.0623999</c:v>
                </c:pt>
                <c:pt idx="5313">
                  <c:v>3.0625998999999999</c:v>
                </c:pt>
                <c:pt idx="5314">
                  <c:v>3.0627996999999998</c:v>
                </c:pt>
                <c:pt idx="5315">
                  <c:v>3.0630000000000002</c:v>
                </c:pt>
                <c:pt idx="5316">
                  <c:v>3.0632000000000001</c:v>
                </c:pt>
                <c:pt idx="5317">
                  <c:v>3.0633998</c:v>
                </c:pt>
                <c:pt idx="5318">
                  <c:v>3.0636000999999999</c:v>
                </c:pt>
                <c:pt idx="5319">
                  <c:v>3.0638000999999999</c:v>
                </c:pt>
                <c:pt idx="5320">
                  <c:v>3.0639999000000002</c:v>
                </c:pt>
                <c:pt idx="5321">
                  <c:v>3.0641999000000002</c:v>
                </c:pt>
                <c:pt idx="5322">
                  <c:v>3.0643997000000001</c:v>
                </c:pt>
                <c:pt idx="5323">
                  <c:v>3.0646</c:v>
                </c:pt>
                <c:pt idx="5324">
                  <c:v>3.0648</c:v>
                </c:pt>
                <c:pt idx="5325">
                  <c:v>3.0649997999999998</c:v>
                </c:pt>
                <c:pt idx="5326">
                  <c:v>3.0652001000000002</c:v>
                </c:pt>
                <c:pt idx="5327">
                  <c:v>3.0653999000000001</c:v>
                </c:pt>
                <c:pt idx="5328">
                  <c:v>3.0655999</c:v>
                </c:pt>
                <c:pt idx="5329">
                  <c:v>3.0657999999999999</c:v>
                </c:pt>
                <c:pt idx="5330">
                  <c:v>3.0659996999999999</c:v>
                </c:pt>
                <c:pt idx="5331">
                  <c:v>3.0661999999999998</c:v>
                </c:pt>
                <c:pt idx="5332">
                  <c:v>3.0663998000000001</c:v>
                </c:pt>
                <c:pt idx="5333">
                  <c:v>3.0665998000000001</c:v>
                </c:pt>
                <c:pt idx="5334">
                  <c:v>3.0668001</c:v>
                </c:pt>
                <c:pt idx="5335">
                  <c:v>3.0669998999999999</c:v>
                </c:pt>
                <c:pt idx="5336">
                  <c:v>3.0671998999999999</c:v>
                </c:pt>
                <c:pt idx="5337">
                  <c:v>3.0673997000000002</c:v>
                </c:pt>
                <c:pt idx="5338">
                  <c:v>3.0675998</c:v>
                </c:pt>
                <c:pt idx="5339">
                  <c:v>3.0678000000000001</c:v>
                </c:pt>
                <c:pt idx="5340">
                  <c:v>3.0679997999999999</c:v>
                </c:pt>
                <c:pt idx="5341">
                  <c:v>3.0681999000000002</c:v>
                </c:pt>
                <c:pt idx="5342">
                  <c:v>3.0684000999999999</c:v>
                </c:pt>
                <c:pt idx="5343">
                  <c:v>3.0685999000000002</c:v>
                </c:pt>
                <c:pt idx="5344">
                  <c:v>3.0688</c:v>
                </c:pt>
                <c:pt idx="5345">
                  <c:v>3.0689997999999998</c:v>
                </c:pt>
                <c:pt idx="5346">
                  <c:v>3.0691997999999998</c:v>
                </c:pt>
                <c:pt idx="5347">
                  <c:v>3.0694001000000002</c:v>
                </c:pt>
                <c:pt idx="5348">
                  <c:v>3.0695999</c:v>
                </c:pt>
                <c:pt idx="5349">
                  <c:v>3.0697999</c:v>
                </c:pt>
                <c:pt idx="5350">
                  <c:v>3.0699999</c:v>
                </c:pt>
                <c:pt idx="5351">
                  <c:v>3.0701999999999998</c:v>
                </c:pt>
                <c:pt idx="5352">
                  <c:v>3.0703999999999998</c:v>
                </c:pt>
                <c:pt idx="5353">
                  <c:v>3.0705998000000001</c:v>
                </c:pt>
                <c:pt idx="5354">
                  <c:v>3.0707998000000001</c:v>
                </c:pt>
                <c:pt idx="5355">
                  <c:v>3.0709998999999999</c:v>
                </c:pt>
                <c:pt idx="5356">
                  <c:v>3.0711998999999999</c:v>
                </c:pt>
                <c:pt idx="5357">
                  <c:v>3.0713998999999998</c:v>
                </c:pt>
                <c:pt idx="5358">
                  <c:v>3.0716000000000001</c:v>
                </c:pt>
                <c:pt idx="5359">
                  <c:v>3.0718000000000001</c:v>
                </c:pt>
                <c:pt idx="5360">
                  <c:v>3.0720000000000001</c:v>
                </c:pt>
                <c:pt idx="5361">
                  <c:v>3.0721997999999999</c:v>
                </c:pt>
                <c:pt idx="5362">
                  <c:v>3.0723999000000002</c:v>
                </c:pt>
                <c:pt idx="5363">
                  <c:v>3.0725999000000002</c:v>
                </c:pt>
                <c:pt idx="5364">
                  <c:v>3.0727999000000001</c:v>
                </c:pt>
                <c:pt idx="5365">
                  <c:v>3.073</c:v>
                </c:pt>
                <c:pt idx="5366">
                  <c:v>3.0731999999999999</c:v>
                </c:pt>
                <c:pt idx="5367">
                  <c:v>3.0733999999999999</c:v>
                </c:pt>
                <c:pt idx="5368">
                  <c:v>3.0735998000000002</c:v>
                </c:pt>
                <c:pt idx="5369">
                  <c:v>3.0737998000000002</c:v>
                </c:pt>
                <c:pt idx="5370">
                  <c:v>3.0739999</c:v>
                </c:pt>
                <c:pt idx="5371">
                  <c:v>3.0741999</c:v>
                </c:pt>
                <c:pt idx="5372">
                  <c:v>3.0743999</c:v>
                </c:pt>
                <c:pt idx="5373">
                  <c:v>3.0745996999999998</c:v>
                </c:pt>
                <c:pt idx="5374">
                  <c:v>3.0748000000000002</c:v>
                </c:pt>
                <c:pt idx="5375">
                  <c:v>3.0750000000000002</c:v>
                </c:pt>
                <c:pt idx="5376">
                  <c:v>3.0751998</c:v>
                </c:pt>
                <c:pt idx="5377">
                  <c:v>3.0753998999999999</c:v>
                </c:pt>
                <c:pt idx="5378">
                  <c:v>3.0755997000000002</c:v>
                </c:pt>
                <c:pt idx="5379">
                  <c:v>3.0757998999999998</c:v>
                </c:pt>
                <c:pt idx="5380">
                  <c:v>3.0760000000000001</c:v>
                </c:pt>
                <c:pt idx="5381">
                  <c:v>3.0761997999999999</c:v>
                </c:pt>
                <c:pt idx="5382">
                  <c:v>3.0764</c:v>
                </c:pt>
                <c:pt idx="5383">
                  <c:v>3.0766000999999998</c:v>
                </c:pt>
                <c:pt idx="5384">
                  <c:v>3.0767999000000001</c:v>
                </c:pt>
                <c:pt idx="5385">
                  <c:v>3.0769999000000001</c:v>
                </c:pt>
                <c:pt idx="5386">
                  <c:v>3.0771997</c:v>
                </c:pt>
                <c:pt idx="5387">
                  <c:v>3.0773999999999999</c:v>
                </c:pt>
                <c:pt idx="5388">
                  <c:v>3.0775999999999999</c:v>
                </c:pt>
                <c:pt idx="5389">
                  <c:v>3.0777998000000002</c:v>
                </c:pt>
                <c:pt idx="5390">
                  <c:v>3.0780001000000001</c:v>
                </c:pt>
                <c:pt idx="5391">
                  <c:v>3.0781999</c:v>
                </c:pt>
                <c:pt idx="5392">
                  <c:v>3.0783999</c:v>
                </c:pt>
                <c:pt idx="5393">
                  <c:v>3.0785998999999999</c:v>
                </c:pt>
                <c:pt idx="5394">
                  <c:v>3.0787996999999998</c:v>
                </c:pt>
                <c:pt idx="5395">
                  <c:v>3.0790000000000002</c:v>
                </c:pt>
                <c:pt idx="5396">
                  <c:v>3.0792000000000002</c:v>
                </c:pt>
                <c:pt idx="5397">
                  <c:v>3.0793998</c:v>
                </c:pt>
                <c:pt idx="5398">
                  <c:v>3.0796001</c:v>
                </c:pt>
                <c:pt idx="5399">
                  <c:v>3.0797998999999998</c:v>
                </c:pt>
                <c:pt idx="5400">
                  <c:v>3.0799998999999998</c:v>
                </c:pt>
                <c:pt idx="5401">
                  <c:v>3.0802</c:v>
                </c:pt>
                <c:pt idx="5402">
                  <c:v>3.0803997999999999</c:v>
                </c:pt>
                <c:pt idx="5403">
                  <c:v>3.0806</c:v>
                </c:pt>
                <c:pt idx="5404">
                  <c:v>3.0807997999999999</c:v>
                </c:pt>
                <c:pt idx="5405">
                  <c:v>3.0809999000000001</c:v>
                </c:pt>
                <c:pt idx="5406">
                  <c:v>3.0812001000000002</c:v>
                </c:pt>
                <c:pt idx="5407">
                  <c:v>3.0813999000000001</c:v>
                </c:pt>
                <c:pt idx="5408">
                  <c:v>3.0815999999999999</c:v>
                </c:pt>
                <c:pt idx="5409">
                  <c:v>3.0817996999999999</c:v>
                </c:pt>
                <c:pt idx="5410">
                  <c:v>3.0819998000000002</c:v>
                </c:pt>
                <c:pt idx="5411">
                  <c:v>3.0822001000000001</c:v>
                </c:pt>
                <c:pt idx="5412">
                  <c:v>3.0823998000000001</c:v>
                </c:pt>
                <c:pt idx="5413">
                  <c:v>3.0825998999999999</c:v>
                </c:pt>
                <c:pt idx="5414">
                  <c:v>3.0828001</c:v>
                </c:pt>
                <c:pt idx="5415">
                  <c:v>3.0829998999999999</c:v>
                </c:pt>
                <c:pt idx="5416">
                  <c:v>3.0832000000000002</c:v>
                </c:pt>
                <c:pt idx="5417">
                  <c:v>3.0833998</c:v>
                </c:pt>
                <c:pt idx="5418">
                  <c:v>3.0835998</c:v>
                </c:pt>
                <c:pt idx="5419">
                  <c:v>3.0838000999999999</c:v>
                </c:pt>
                <c:pt idx="5420">
                  <c:v>3.0839998999999998</c:v>
                </c:pt>
                <c:pt idx="5421">
                  <c:v>3.0841999000000002</c:v>
                </c:pt>
                <c:pt idx="5422">
                  <c:v>3.0843999000000002</c:v>
                </c:pt>
                <c:pt idx="5423">
                  <c:v>3.0846</c:v>
                </c:pt>
                <c:pt idx="5424">
                  <c:v>3.0848</c:v>
                </c:pt>
                <c:pt idx="5425">
                  <c:v>3.0849997999999998</c:v>
                </c:pt>
                <c:pt idx="5426">
                  <c:v>3.0851997999999998</c:v>
                </c:pt>
                <c:pt idx="5427">
                  <c:v>3.0853999000000001</c:v>
                </c:pt>
                <c:pt idx="5428">
                  <c:v>3.0855999000000001</c:v>
                </c:pt>
                <c:pt idx="5429">
                  <c:v>3.0857999</c:v>
                </c:pt>
                <c:pt idx="5430">
                  <c:v>3.0859999999999999</c:v>
                </c:pt>
                <c:pt idx="5431">
                  <c:v>3.0861999999999998</c:v>
                </c:pt>
                <c:pt idx="5432">
                  <c:v>3.0863998000000001</c:v>
                </c:pt>
                <c:pt idx="5433">
                  <c:v>3.0865998000000001</c:v>
                </c:pt>
                <c:pt idx="5434">
                  <c:v>3.0867998999999999</c:v>
                </c:pt>
                <c:pt idx="5435">
                  <c:v>3.0869998999999999</c:v>
                </c:pt>
                <c:pt idx="5436">
                  <c:v>3.0871998999999999</c:v>
                </c:pt>
                <c:pt idx="5437">
                  <c:v>3.0874000000000001</c:v>
                </c:pt>
                <c:pt idx="5438">
                  <c:v>3.0876000000000001</c:v>
                </c:pt>
                <c:pt idx="5439">
                  <c:v>3.0878000000000001</c:v>
                </c:pt>
                <c:pt idx="5440">
                  <c:v>3.0879998</c:v>
                </c:pt>
                <c:pt idx="5441">
                  <c:v>3.0881999000000002</c:v>
                </c:pt>
                <c:pt idx="5442">
                  <c:v>3.0883999000000002</c:v>
                </c:pt>
                <c:pt idx="5443">
                  <c:v>3.0885999000000002</c:v>
                </c:pt>
                <c:pt idx="5444">
                  <c:v>3.0888</c:v>
                </c:pt>
                <c:pt idx="5445">
                  <c:v>3.0889997</c:v>
                </c:pt>
                <c:pt idx="5446">
                  <c:v>3.0891999999999999</c:v>
                </c:pt>
                <c:pt idx="5447">
                  <c:v>3.0894001000000002</c:v>
                </c:pt>
                <c:pt idx="5448">
                  <c:v>3.0895997999999998</c:v>
                </c:pt>
                <c:pt idx="5449">
                  <c:v>3.0897999</c:v>
                </c:pt>
                <c:pt idx="5450">
                  <c:v>3.0899996999999999</c:v>
                </c:pt>
                <c:pt idx="5451">
                  <c:v>3.0901999</c:v>
                </c:pt>
                <c:pt idx="5452">
                  <c:v>3.0903999999999998</c:v>
                </c:pt>
                <c:pt idx="5453">
                  <c:v>3.0905998000000001</c:v>
                </c:pt>
                <c:pt idx="5454">
                  <c:v>3.0908000000000002</c:v>
                </c:pt>
                <c:pt idx="5455">
                  <c:v>3.0910001</c:v>
                </c:pt>
                <c:pt idx="5456">
                  <c:v>3.0911998999999999</c:v>
                </c:pt>
                <c:pt idx="5457">
                  <c:v>3.0913998999999999</c:v>
                </c:pt>
                <c:pt idx="5458">
                  <c:v>3.0915997000000002</c:v>
                </c:pt>
                <c:pt idx="5459">
                  <c:v>3.0918000000000001</c:v>
                </c:pt>
                <c:pt idx="5460">
                  <c:v>3.0920000000000001</c:v>
                </c:pt>
                <c:pt idx="5461">
                  <c:v>3.0921997999999999</c:v>
                </c:pt>
                <c:pt idx="5462">
                  <c:v>3.0924000999999999</c:v>
                </c:pt>
                <c:pt idx="5463">
                  <c:v>3.0925999000000002</c:v>
                </c:pt>
                <c:pt idx="5464">
                  <c:v>3.0927999000000002</c:v>
                </c:pt>
                <c:pt idx="5465">
                  <c:v>3.0929999000000001</c:v>
                </c:pt>
                <c:pt idx="5466">
                  <c:v>3.0931997</c:v>
                </c:pt>
                <c:pt idx="5467">
                  <c:v>3.0933999999999999</c:v>
                </c:pt>
                <c:pt idx="5468">
                  <c:v>3.0935997999999998</c:v>
                </c:pt>
                <c:pt idx="5469">
                  <c:v>3.0937998000000002</c:v>
                </c:pt>
                <c:pt idx="5470">
                  <c:v>3.0940001000000001</c:v>
                </c:pt>
                <c:pt idx="5471">
                  <c:v>3.0941999</c:v>
                </c:pt>
                <c:pt idx="5472">
                  <c:v>3.0943999</c:v>
                </c:pt>
                <c:pt idx="5473">
                  <c:v>3.0945999999999998</c:v>
                </c:pt>
                <c:pt idx="5474">
                  <c:v>3.0947998000000001</c:v>
                </c:pt>
                <c:pt idx="5475">
                  <c:v>3.0950000000000002</c:v>
                </c:pt>
                <c:pt idx="5476">
                  <c:v>3.0951998000000001</c:v>
                </c:pt>
                <c:pt idx="5477">
                  <c:v>3.0953998999999999</c:v>
                </c:pt>
                <c:pt idx="5478">
                  <c:v>3.0956001</c:v>
                </c:pt>
                <c:pt idx="5479">
                  <c:v>3.0957998999999998</c:v>
                </c:pt>
                <c:pt idx="5480">
                  <c:v>3.0960000000000001</c:v>
                </c:pt>
                <c:pt idx="5481">
                  <c:v>3.0961997999999999</c:v>
                </c:pt>
                <c:pt idx="5482">
                  <c:v>3.0963997999999999</c:v>
                </c:pt>
                <c:pt idx="5483">
                  <c:v>3.0966000999999999</c:v>
                </c:pt>
                <c:pt idx="5484">
                  <c:v>3.0967999000000002</c:v>
                </c:pt>
                <c:pt idx="5485">
                  <c:v>3.0969999000000001</c:v>
                </c:pt>
                <c:pt idx="5486">
                  <c:v>3.0972002000000001</c:v>
                </c:pt>
                <c:pt idx="5487">
                  <c:v>3.0973999999999999</c:v>
                </c:pt>
                <c:pt idx="5488">
                  <c:v>3.0975999999999999</c:v>
                </c:pt>
                <c:pt idx="5489">
                  <c:v>3.0977998000000002</c:v>
                </c:pt>
                <c:pt idx="5490">
                  <c:v>3.0979998000000002</c:v>
                </c:pt>
                <c:pt idx="5491">
                  <c:v>3.0982001000000001</c:v>
                </c:pt>
                <c:pt idx="5492">
                  <c:v>3.0983999</c:v>
                </c:pt>
                <c:pt idx="5493">
                  <c:v>3.0985999</c:v>
                </c:pt>
                <c:pt idx="5494">
                  <c:v>3.0987998999999999</c:v>
                </c:pt>
                <c:pt idx="5495">
                  <c:v>3.0990000000000002</c:v>
                </c:pt>
                <c:pt idx="5496">
                  <c:v>3.0992000000000002</c:v>
                </c:pt>
                <c:pt idx="5497">
                  <c:v>3.0993998</c:v>
                </c:pt>
                <c:pt idx="5498">
                  <c:v>3.0995998</c:v>
                </c:pt>
                <c:pt idx="5499">
                  <c:v>3.0997998999999998</c:v>
                </c:pt>
                <c:pt idx="5500">
                  <c:v>3.0999998999999998</c:v>
                </c:pt>
                <c:pt idx="5501">
                  <c:v>3.1001998999999998</c:v>
                </c:pt>
                <c:pt idx="5502">
                  <c:v>3.1004</c:v>
                </c:pt>
                <c:pt idx="5503">
                  <c:v>3.1006</c:v>
                </c:pt>
                <c:pt idx="5504">
                  <c:v>3.1007997999999999</c:v>
                </c:pt>
                <c:pt idx="5505">
                  <c:v>3.1009997999999999</c:v>
                </c:pt>
                <c:pt idx="5506">
                  <c:v>3.1011999000000001</c:v>
                </c:pt>
                <c:pt idx="5507">
                  <c:v>3.1013999000000001</c:v>
                </c:pt>
                <c:pt idx="5508">
                  <c:v>3.1015999000000001</c:v>
                </c:pt>
                <c:pt idx="5509">
                  <c:v>3.1017999999999999</c:v>
                </c:pt>
                <c:pt idx="5510">
                  <c:v>3.1019999999999999</c:v>
                </c:pt>
                <c:pt idx="5511">
                  <c:v>3.1021999999999998</c:v>
                </c:pt>
                <c:pt idx="5512">
                  <c:v>3.1023998000000002</c:v>
                </c:pt>
                <c:pt idx="5513">
                  <c:v>3.1025999</c:v>
                </c:pt>
                <c:pt idx="5514">
                  <c:v>3.1027998999999999</c:v>
                </c:pt>
                <c:pt idx="5515">
                  <c:v>3.1029998999999999</c:v>
                </c:pt>
                <c:pt idx="5516">
                  <c:v>3.1032000000000002</c:v>
                </c:pt>
                <c:pt idx="5517">
                  <c:v>3.1033998</c:v>
                </c:pt>
                <c:pt idx="5518">
                  <c:v>3.1036000000000001</c:v>
                </c:pt>
                <c:pt idx="5519">
                  <c:v>3.1038001</c:v>
                </c:pt>
                <c:pt idx="5520">
                  <c:v>3.1039998999999998</c:v>
                </c:pt>
                <c:pt idx="5521">
                  <c:v>3.1041998999999998</c:v>
                </c:pt>
                <c:pt idx="5522">
                  <c:v>3.1043997000000001</c:v>
                </c:pt>
                <c:pt idx="5523">
                  <c:v>3.1046</c:v>
                </c:pt>
                <c:pt idx="5524">
                  <c:v>3.1048</c:v>
                </c:pt>
                <c:pt idx="5525">
                  <c:v>3.1049997999999999</c:v>
                </c:pt>
                <c:pt idx="5526">
                  <c:v>3.1052000999999998</c:v>
                </c:pt>
                <c:pt idx="5527">
                  <c:v>3.1054001000000002</c:v>
                </c:pt>
                <c:pt idx="5528">
                  <c:v>3.1055999000000001</c:v>
                </c:pt>
                <c:pt idx="5529">
                  <c:v>3.1057999000000001</c:v>
                </c:pt>
                <c:pt idx="5530">
                  <c:v>3.1059996999999999</c:v>
                </c:pt>
                <c:pt idx="5531">
                  <c:v>3.1061999999999999</c:v>
                </c:pt>
                <c:pt idx="5532">
                  <c:v>3.1063999999999998</c:v>
                </c:pt>
                <c:pt idx="5533">
                  <c:v>3.1065998000000001</c:v>
                </c:pt>
                <c:pt idx="5534">
                  <c:v>3.1068001000000001</c:v>
                </c:pt>
                <c:pt idx="5535">
                  <c:v>3.1069998999999999</c:v>
                </c:pt>
                <c:pt idx="5536">
                  <c:v>3.1071998999999999</c:v>
                </c:pt>
                <c:pt idx="5537">
                  <c:v>3.1073998999999999</c:v>
                </c:pt>
                <c:pt idx="5538">
                  <c:v>3.1075997000000002</c:v>
                </c:pt>
                <c:pt idx="5539">
                  <c:v>3.1078000000000001</c:v>
                </c:pt>
                <c:pt idx="5540">
                  <c:v>3.1079998</c:v>
                </c:pt>
                <c:pt idx="5541">
                  <c:v>3.1081998</c:v>
                </c:pt>
                <c:pt idx="5542">
                  <c:v>3.1084000999999999</c:v>
                </c:pt>
                <c:pt idx="5543">
                  <c:v>3.1085999000000002</c:v>
                </c:pt>
                <c:pt idx="5544">
                  <c:v>3.1087999000000002</c:v>
                </c:pt>
                <c:pt idx="5545">
                  <c:v>3.1089997</c:v>
                </c:pt>
                <c:pt idx="5546">
                  <c:v>3.1091997999999998</c:v>
                </c:pt>
                <c:pt idx="5547">
                  <c:v>3.1093999999999999</c:v>
                </c:pt>
                <c:pt idx="5548">
                  <c:v>3.1095997999999998</c:v>
                </c:pt>
                <c:pt idx="5549">
                  <c:v>3.1097999000000001</c:v>
                </c:pt>
                <c:pt idx="5550">
                  <c:v>3.1100001000000002</c:v>
                </c:pt>
                <c:pt idx="5551">
                  <c:v>3.1101999</c:v>
                </c:pt>
                <c:pt idx="5552">
                  <c:v>3.1103999999999998</c:v>
                </c:pt>
                <c:pt idx="5553">
                  <c:v>3.1105998000000001</c:v>
                </c:pt>
                <c:pt idx="5554">
                  <c:v>3.1107998000000001</c:v>
                </c:pt>
                <c:pt idx="5555">
                  <c:v>3.1110001</c:v>
                </c:pt>
                <c:pt idx="5556">
                  <c:v>3.1111998999999999</c:v>
                </c:pt>
                <c:pt idx="5557">
                  <c:v>3.1113998999999999</c:v>
                </c:pt>
                <c:pt idx="5558">
                  <c:v>3.1115998999999999</c:v>
                </c:pt>
                <c:pt idx="5559">
                  <c:v>3.1118000000000001</c:v>
                </c:pt>
                <c:pt idx="5560">
                  <c:v>3.1120000000000001</c:v>
                </c:pt>
                <c:pt idx="5561">
                  <c:v>3.1121998</c:v>
                </c:pt>
                <c:pt idx="5562">
                  <c:v>3.1123997999999999</c:v>
                </c:pt>
                <c:pt idx="5563">
                  <c:v>3.1126000999999999</c:v>
                </c:pt>
                <c:pt idx="5564">
                  <c:v>3.1127999000000002</c:v>
                </c:pt>
                <c:pt idx="5565">
                  <c:v>3.1129999000000002</c:v>
                </c:pt>
                <c:pt idx="5566">
                  <c:v>3.1131999000000001</c:v>
                </c:pt>
                <c:pt idx="5567">
                  <c:v>3.1133999999999999</c:v>
                </c:pt>
                <c:pt idx="5568">
                  <c:v>3.1135999999999999</c:v>
                </c:pt>
                <c:pt idx="5569">
                  <c:v>3.1137997999999998</c:v>
                </c:pt>
                <c:pt idx="5570">
                  <c:v>3.1139998000000002</c:v>
                </c:pt>
                <c:pt idx="5571">
                  <c:v>3.1141999</c:v>
                </c:pt>
                <c:pt idx="5572">
                  <c:v>3.1143999</c:v>
                </c:pt>
                <c:pt idx="5573">
                  <c:v>3.1145999</c:v>
                </c:pt>
                <c:pt idx="5574">
                  <c:v>3.1147999999999998</c:v>
                </c:pt>
                <c:pt idx="5575">
                  <c:v>3.1150000000000002</c:v>
                </c:pt>
                <c:pt idx="5576">
                  <c:v>3.1151998000000001</c:v>
                </c:pt>
                <c:pt idx="5577">
                  <c:v>3.1153998000000001</c:v>
                </c:pt>
                <c:pt idx="5578">
                  <c:v>3.1155998999999999</c:v>
                </c:pt>
                <c:pt idx="5579">
                  <c:v>3.1157998999999998</c:v>
                </c:pt>
                <c:pt idx="5580">
                  <c:v>3.1159998999999998</c:v>
                </c:pt>
                <c:pt idx="5581">
                  <c:v>3.1161997000000001</c:v>
                </c:pt>
                <c:pt idx="5582">
                  <c:v>3.1164000000000001</c:v>
                </c:pt>
                <c:pt idx="5583">
                  <c:v>3.1166</c:v>
                </c:pt>
                <c:pt idx="5584">
                  <c:v>3.1167997999999999</c:v>
                </c:pt>
                <c:pt idx="5585">
                  <c:v>3.1169999000000002</c:v>
                </c:pt>
                <c:pt idx="5586">
                  <c:v>3.1171999000000001</c:v>
                </c:pt>
                <c:pt idx="5587">
                  <c:v>3.1173999000000001</c:v>
                </c:pt>
                <c:pt idx="5588">
                  <c:v>3.1175999999999999</c:v>
                </c:pt>
                <c:pt idx="5589">
                  <c:v>3.1177997999999998</c:v>
                </c:pt>
                <c:pt idx="5590">
                  <c:v>3.1179999999999999</c:v>
                </c:pt>
                <c:pt idx="5591">
                  <c:v>3.1182001000000001</c:v>
                </c:pt>
                <c:pt idx="5592">
                  <c:v>3.1183999</c:v>
                </c:pt>
                <c:pt idx="5593">
                  <c:v>3.1185999</c:v>
                </c:pt>
                <c:pt idx="5594">
                  <c:v>3.1187996999999998</c:v>
                </c:pt>
                <c:pt idx="5595">
                  <c:v>3.1190000000000002</c:v>
                </c:pt>
                <c:pt idx="5596">
                  <c:v>3.1192000000000002</c:v>
                </c:pt>
                <c:pt idx="5597">
                  <c:v>3.1193998000000001</c:v>
                </c:pt>
                <c:pt idx="5598">
                  <c:v>3.1196001</c:v>
                </c:pt>
                <c:pt idx="5599">
                  <c:v>3.1198001</c:v>
                </c:pt>
                <c:pt idx="5600">
                  <c:v>3.1199998999999998</c:v>
                </c:pt>
                <c:pt idx="5601">
                  <c:v>3.1201998999999998</c:v>
                </c:pt>
                <c:pt idx="5602">
                  <c:v>3.1203997000000001</c:v>
                </c:pt>
                <c:pt idx="5603">
                  <c:v>3.1206</c:v>
                </c:pt>
                <c:pt idx="5604">
                  <c:v>3.1208</c:v>
                </c:pt>
                <c:pt idx="5605">
                  <c:v>3.1209997999999999</c:v>
                </c:pt>
                <c:pt idx="5606">
                  <c:v>3.1212000999999998</c:v>
                </c:pt>
                <c:pt idx="5607">
                  <c:v>3.1213999000000001</c:v>
                </c:pt>
                <c:pt idx="5608">
                  <c:v>3.1215999000000001</c:v>
                </c:pt>
                <c:pt idx="5609">
                  <c:v>3.1217999000000001</c:v>
                </c:pt>
                <c:pt idx="5610">
                  <c:v>3.1219996999999999</c:v>
                </c:pt>
                <c:pt idx="5611">
                  <c:v>3.1221999999999999</c:v>
                </c:pt>
                <c:pt idx="5612">
                  <c:v>3.1223998000000002</c:v>
                </c:pt>
                <c:pt idx="5613">
                  <c:v>3.1225998000000001</c:v>
                </c:pt>
                <c:pt idx="5614">
                  <c:v>3.1228001000000001</c:v>
                </c:pt>
                <c:pt idx="5615">
                  <c:v>3.1229998999999999</c:v>
                </c:pt>
                <c:pt idx="5616">
                  <c:v>3.1231998999999999</c:v>
                </c:pt>
                <c:pt idx="5617">
                  <c:v>3.1233996999999998</c:v>
                </c:pt>
                <c:pt idx="5618">
                  <c:v>3.1235998</c:v>
                </c:pt>
                <c:pt idx="5619">
                  <c:v>3.1238000000000001</c:v>
                </c:pt>
                <c:pt idx="5620">
                  <c:v>3.1239998</c:v>
                </c:pt>
                <c:pt idx="5621">
                  <c:v>3.1241998999999998</c:v>
                </c:pt>
                <c:pt idx="5622">
                  <c:v>3.1244000999999999</c:v>
                </c:pt>
                <c:pt idx="5623">
                  <c:v>3.1245999000000002</c:v>
                </c:pt>
                <c:pt idx="5624">
                  <c:v>3.1248</c:v>
                </c:pt>
                <c:pt idx="5625">
                  <c:v>3.1249997999999999</c:v>
                </c:pt>
                <c:pt idx="5626">
                  <c:v>3.1251997999999999</c:v>
                </c:pt>
                <c:pt idx="5627">
                  <c:v>3.1254000999999998</c:v>
                </c:pt>
                <c:pt idx="5628">
                  <c:v>3.1255999000000001</c:v>
                </c:pt>
                <c:pt idx="5629">
                  <c:v>3.1257999000000001</c:v>
                </c:pt>
                <c:pt idx="5630">
                  <c:v>3.1259999000000001</c:v>
                </c:pt>
                <c:pt idx="5631">
                  <c:v>3.1261999999999999</c:v>
                </c:pt>
                <c:pt idx="5632">
                  <c:v>3.1263999999999998</c:v>
                </c:pt>
                <c:pt idx="5633">
                  <c:v>3.1265998000000002</c:v>
                </c:pt>
                <c:pt idx="5634">
                  <c:v>3.1267998000000001</c:v>
                </c:pt>
                <c:pt idx="5635">
                  <c:v>3.1270001000000001</c:v>
                </c:pt>
                <c:pt idx="5636">
                  <c:v>3.1271998999999999</c:v>
                </c:pt>
                <c:pt idx="5637">
                  <c:v>3.1273998999999999</c:v>
                </c:pt>
                <c:pt idx="5638">
                  <c:v>3.1276000000000002</c:v>
                </c:pt>
                <c:pt idx="5639">
                  <c:v>3.1278000000000001</c:v>
                </c:pt>
                <c:pt idx="5640">
                  <c:v>3.1280000000000001</c:v>
                </c:pt>
                <c:pt idx="5641">
                  <c:v>3.1281998</c:v>
                </c:pt>
                <c:pt idx="5642">
                  <c:v>3.1283998</c:v>
                </c:pt>
                <c:pt idx="5643">
                  <c:v>3.1285999000000002</c:v>
                </c:pt>
                <c:pt idx="5644">
                  <c:v>3.1287999000000002</c:v>
                </c:pt>
                <c:pt idx="5645">
                  <c:v>3.1289999000000002</c:v>
                </c:pt>
                <c:pt idx="5646">
                  <c:v>3.1292</c:v>
                </c:pt>
                <c:pt idx="5647">
                  <c:v>3.1294</c:v>
                </c:pt>
                <c:pt idx="5648">
                  <c:v>3.1295997999999998</c:v>
                </c:pt>
                <c:pt idx="5649">
                  <c:v>3.1297997999999998</c:v>
                </c:pt>
                <c:pt idx="5650">
                  <c:v>3.1299999000000001</c:v>
                </c:pt>
                <c:pt idx="5651">
                  <c:v>3.1301999</c:v>
                </c:pt>
                <c:pt idx="5652">
                  <c:v>3.1303999</c:v>
                </c:pt>
                <c:pt idx="5653">
                  <c:v>3.1305996999999999</c:v>
                </c:pt>
                <c:pt idx="5654">
                  <c:v>3.1307999999999998</c:v>
                </c:pt>
                <c:pt idx="5655">
                  <c:v>3.1309999999999998</c:v>
                </c:pt>
                <c:pt idx="5656">
                  <c:v>3.1311998000000001</c:v>
                </c:pt>
                <c:pt idx="5657">
                  <c:v>3.1313998999999999</c:v>
                </c:pt>
                <c:pt idx="5658">
                  <c:v>3.1315997000000002</c:v>
                </c:pt>
                <c:pt idx="5659">
                  <c:v>3.1317998999999999</c:v>
                </c:pt>
                <c:pt idx="5660">
                  <c:v>3.1320000000000001</c:v>
                </c:pt>
                <c:pt idx="5661">
                  <c:v>3.1321998</c:v>
                </c:pt>
                <c:pt idx="5662">
                  <c:v>3.1324000000000001</c:v>
                </c:pt>
                <c:pt idx="5663">
                  <c:v>3.1326000999999999</c:v>
                </c:pt>
                <c:pt idx="5664">
                  <c:v>3.1327999000000002</c:v>
                </c:pt>
                <c:pt idx="5665">
                  <c:v>3.1329999000000002</c:v>
                </c:pt>
                <c:pt idx="5666">
                  <c:v>3.1331997</c:v>
                </c:pt>
                <c:pt idx="5667">
                  <c:v>3.1334</c:v>
                </c:pt>
                <c:pt idx="5668">
                  <c:v>3.1335999999999999</c:v>
                </c:pt>
                <c:pt idx="5669">
                  <c:v>3.1337997999999998</c:v>
                </c:pt>
                <c:pt idx="5670">
                  <c:v>3.1340001000000002</c:v>
                </c:pt>
                <c:pt idx="5671">
                  <c:v>3.1341999</c:v>
                </c:pt>
                <c:pt idx="5672">
                  <c:v>3.1343999</c:v>
                </c:pt>
                <c:pt idx="5673">
                  <c:v>3.1345999</c:v>
                </c:pt>
                <c:pt idx="5674">
                  <c:v>3.1347996999999999</c:v>
                </c:pt>
                <c:pt idx="5675">
                  <c:v>3.1349999999999998</c:v>
                </c:pt>
                <c:pt idx="5676">
                  <c:v>3.1352000000000002</c:v>
                </c:pt>
                <c:pt idx="5677">
                  <c:v>3.1353998000000001</c:v>
                </c:pt>
                <c:pt idx="5678">
                  <c:v>3.1356001</c:v>
                </c:pt>
                <c:pt idx="5679">
                  <c:v>3.1357998999999999</c:v>
                </c:pt>
                <c:pt idx="5680">
                  <c:v>3.1359998999999998</c:v>
                </c:pt>
                <c:pt idx="5681">
                  <c:v>3.1362000000000001</c:v>
                </c:pt>
                <c:pt idx="5682">
                  <c:v>3.1363997000000001</c:v>
                </c:pt>
                <c:pt idx="5683">
                  <c:v>3.1366000000000001</c:v>
                </c:pt>
                <c:pt idx="5684">
                  <c:v>3.1367997999999999</c:v>
                </c:pt>
                <c:pt idx="5685">
                  <c:v>3.1369997999999999</c:v>
                </c:pt>
                <c:pt idx="5686">
                  <c:v>3.1372000999999998</c:v>
                </c:pt>
                <c:pt idx="5687">
                  <c:v>3.1373999000000001</c:v>
                </c:pt>
                <c:pt idx="5688">
                  <c:v>3.1375999000000001</c:v>
                </c:pt>
                <c:pt idx="5689">
                  <c:v>3.1377997</c:v>
                </c:pt>
                <c:pt idx="5690">
                  <c:v>3.1379997999999998</c:v>
                </c:pt>
                <c:pt idx="5691">
                  <c:v>3.1381999999999999</c:v>
                </c:pt>
                <c:pt idx="5692">
                  <c:v>3.1383998000000002</c:v>
                </c:pt>
                <c:pt idx="5693">
                  <c:v>3.1385999</c:v>
                </c:pt>
                <c:pt idx="5694">
                  <c:v>3.1388001000000001</c:v>
                </c:pt>
                <c:pt idx="5695">
                  <c:v>3.1389999</c:v>
                </c:pt>
                <c:pt idx="5696">
                  <c:v>3.1392000000000002</c:v>
                </c:pt>
                <c:pt idx="5697">
                  <c:v>3.1393998000000001</c:v>
                </c:pt>
                <c:pt idx="5698">
                  <c:v>3.1395998000000001</c:v>
                </c:pt>
                <c:pt idx="5699">
                  <c:v>3.1398001</c:v>
                </c:pt>
                <c:pt idx="5700">
                  <c:v>3.1399998999999998</c:v>
                </c:pt>
                <c:pt idx="5701">
                  <c:v>3.1401998999999998</c:v>
                </c:pt>
                <c:pt idx="5702">
                  <c:v>3.1403998999999998</c:v>
                </c:pt>
                <c:pt idx="5703">
                  <c:v>3.1406000000000001</c:v>
                </c:pt>
                <c:pt idx="5704">
                  <c:v>3.1408</c:v>
                </c:pt>
                <c:pt idx="5705">
                  <c:v>3.1409997999999999</c:v>
                </c:pt>
                <c:pt idx="5706">
                  <c:v>3.1411997999999999</c:v>
                </c:pt>
                <c:pt idx="5707">
                  <c:v>3.1413999000000001</c:v>
                </c:pt>
                <c:pt idx="5708">
                  <c:v>3.1415999000000001</c:v>
                </c:pt>
                <c:pt idx="5709">
                  <c:v>3.1417999000000001</c:v>
                </c:pt>
                <c:pt idx="5710">
                  <c:v>3.1419999999999999</c:v>
                </c:pt>
                <c:pt idx="5711">
                  <c:v>3.1421999999999999</c:v>
                </c:pt>
                <c:pt idx="5712">
                  <c:v>3.1423999999999999</c:v>
                </c:pt>
                <c:pt idx="5713">
                  <c:v>3.1425998000000002</c:v>
                </c:pt>
                <c:pt idx="5714">
                  <c:v>3.1427999</c:v>
                </c:pt>
                <c:pt idx="5715">
                  <c:v>3.1429999</c:v>
                </c:pt>
                <c:pt idx="5716">
                  <c:v>3.1431998999999999</c:v>
                </c:pt>
                <c:pt idx="5717">
                  <c:v>3.1434000000000002</c:v>
                </c:pt>
                <c:pt idx="5718">
                  <c:v>3.1436000000000002</c:v>
                </c:pt>
                <c:pt idx="5719">
                  <c:v>3.1438000000000001</c:v>
                </c:pt>
                <c:pt idx="5720">
                  <c:v>3.1439998</c:v>
                </c:pt>
                <c:pt idx="5721">
                  <c:v>3.1441998</c:v>
                </c:pt>
                <c:pt idx="5722">
                  <c:v>3.1443998999999998</c:v>
                </c:pt>
                <c:pt idx="5723">
                  <c:v>3.1445998999999998</c:v>
                </c:pt>
                <c:pt idx="5724">
                  <c:v>3.1447999000000002</c:v>
                </c:pt>
                <c:pt idx="5725">
                  <c:v>3.1449997000000001</c:v>
                </c:pt>
                <c:pt idx="5726">
                  <c:v>3.1452</c:v>
                </c:pt>
                <c:pt idx="5727">
                  <c:v>3.1454</c:v>
                </c:pt>
                <c:pt idx="5728">
                  <c:v>3.1455997999999998</c:v>
                </c:pt>
                <c:pt idx="5729">
                  <c:v>3.1457999000000001</c:v>
                </c:pt>
                <c:pt idx="5730">
                  <c:v>3.1459997</c:v>
                </c:pt>
                <c:pt idx="5731">
                  <c:v>3.1461999</c:v>
                </c:pt>
                <c:pt idx="5732">
                  <c:v>3.1463999999999999</c:v>
                </c:pt>
                <c:pt idx="5733">
                  <c:v>3.1465998000000002</c:v>
                </c:pt>
                <c:pt idx="5734">
                  <c:v>3.1467999999999998</c:v>
                </c:pt>
                <c:pt idx="5735">
                  <c:v>3.1470001000000001</c:v>
                </c:pt>
                <c:pt idx="5736">
                  <c:v>3.1471998999999999</c:v>
                </c:pt>
                <c:pt idx="5737">
                  <c:v>3.1473998999999999</c:v>
                </c:pt>
                <c:pt idx="5738">
                  <c:v>3.1475996999999998</c:v>
                </c:pt>
                <c:pt idx="5739">
                  <c:v>3.1478000000000002</c:v>
                </c:pt>
                <c:pt idx="5740">
                  <c:v>3.1480000000000001</c:v>
                </c:pt>
                <c:pt idx="5741">
                  <c:v>3.1481998</c:v>
                </c:pt>
                <c:pt idx="5742">
                  <c:v>3.1484000999999999</c:v>
                </c:pt>
                <c:pt idx="5743">
                  <c:v>3.1485998999999998</c:v>
                </c:pt>
                <c:pt idx="5744">
                  <c:v>3.1487999000000002</c:v>
                </c:pt>
                <c:pt idx="5745">
                  <c:v>3.1489999000000002</c:v>
                </c:pt>
                <c:pt idx="5746">
                  <c:v>3.1491997</c:v>
                </c:pt>
                <c:pt idx="5747">
                  <c:v>3.1494</c:v>
                </c:pt>
                <c:pt idx="5748">
                  <c:v>3.1496</c:v>
                </c:pt>
                <c:pt idx="5749">
                  <c:v>3.1497997999999998</c:v>
                </c:pt>
                <c:pt idx="5750">
                  <c:v>3.1500001000000002</c:v>
                </c:pt>
                <c:pt idx="5751">
                  <c:v>3.1501999000000001</c:v>
                </c:pt>
                <c:pt idx="5752">
                  <c:v>3.1503999</c:v>
                </c:pt>
                <c:pt idx="5753">
                  <c:v>3.1505999999999998</c:v>
                </c:pt>
                <c:pt idx="5754">
                  <c:v>3.1507998000000002</c:v>
                </c:pt>
                <c:pt idx="5755">
                  <c:v>3.1509999999999998</c:v>
                </c:pt>
                <c:pt idx="5756">
                  <c:v>3.1511998000000001</c:v>
                </c:pt>
                <c:pt idx="5757">
                  <c:v>3.1513998999999999</c:v>
                </c:pt>
                <c:pt idx="5758">
                  <c:v>3.1516001</c:v>
                </c:pt>
                <c:pt idx="5759">
                  <c:v>3.1517998999999999</c:v>
                </c:pt>
                <c:pt idx="5760">
                  <c:v>3.1520000000000001</c:v>
                </c:pt>
                <c:pt idx="5761">
                  <c:v>3.1521997000000002</c:v>
                </c:pt>
                <c:pt idx="5762">
                  <c:v>3.1523998</c:v>
                </c:pt>
                <c:pt idx="5763">
                  <c:v>3.1526000000000001</c:v>
                </c:pt>
                <c:pt idx="5764">
                  <c:v>3.1527997999999999</c:v>
                </c:pt>
                <c:pt idx="5765">
                  <c:v>3.1529999000000002</c:v>
                </c:pt>
                <c:pt idx="5766">
                  <c:v>3.1532000999999998</c:v>
                </c:pt>
                <c:pt idx="5767">
                  <c:v>3.1533999000000001</c:v>
                </c:pt>
                <c:pt idx="5768">
                  <c:v>3.1536</c:v>
                </c:pt>
                <c:pt idx="5769">
                  <c:v>3.1537997999999998</c:v>
                </c:pt>
                <c:pt idx="5770">
                  <c:v>3.1539997999999998</c:v>
                </c:pt>
                <c:pt idx="5771">
                  <c:v>3.1542001000000002</c:v>
                </c:pt>
                <c:pt idx="5772">
                  <c:v>3.1543999</c:v>
                </c:pt>
                <c:pt idx="5773">
                  <c:v>3.1545999</c:v>
                </c:pt>
                <c:pt idx="5774">
                  <c:v>3.1547999</c:v>
                </c:pt>
                <c:pt idx="5775">
                  <c:v>3.1549999999999998</c:v>
                </c:pt>
                <c:pt idx="5776">
                  <c:v>3.1551999999999998</c:v>
                </c:pt>
                <c:pt idx="5777">
                  <c:v>3.1553998000000001</c:v>
                </c:pt>
                <c:pt idx="5778">
                  <c:v>3.1555998000000001</c:v>
                </c:pt>
                <c:pt idx="5779">
                  <c:v>3.1557998999999999</c:v>
                </c:pt>
                <c:pt idx="5780">
                  <c:v>3.1559998999999999</c:v>
                </c:pt>
                <c:pt idx="5781">
                  <c:v>3.1561998999999998</c:v>
                </c:pt>
                <c:pt idx="5782">
                  <c:v>3.1564000000000001</c:v>
                </c:pt>
                <c:pt idx="5783">
                  <c:v>3.1566000000000001</c:v>
                </c:pt>
                <c:pt idx="5784">
                  <c:v>3.1567997999999999</c:v>
                </c:pt>
                <c:pt idx="5785">
                  <c:v>3.1569997999999999</c:v>
                </c:pt>
                <c:pt idx="5786">
                  <c:v>3.1571999000000002</c:v>
                </c:pt>
                <c:pt idx="5787">
                  <c:v>3.1573999000000001</c:v>
                </c:pt>
                <c:pt idx="5788">
                  <c:v>3.1575999000000001</c:v>
                </c:pt>
                <c:pt idx="5789">
                  <c:v>3.1577999999999999</c:v>
                </c:pt>
                <c:pt idx="5790">
                  <c:v>3.1579999999999999</c:v>
                </c:pt>
                <c:pt idx="5791">
                  <c:v>3.1581999999999999</c:v>
                </c:pt>
                <c:pt idx="5792">
                  <c:v>3.1583998000000002</c:v>
                </c:pt>
                <c:pt idx="5793">
                  <c:v>3.1585999</c:v>
                </c:pt>
                <c:pt idx="5794">
                  <c:v>3.1587999</c:v>
                </c:pt>
                <c:pt idx="5795">
                  <c:v>3.1589999</c:v>
                </c:pt>
                <c:pt idx="5796">
                  <c:v>3.1591999999999998</c:v>
                </c:pt>
                <c:pt idx="5797">
                  <c:v>3.1593996999999998</c:v>
                </c:pt>
                <c:pt idx="5798">
                  <c:v>3.1596000000000002</c:v>
                </c:pt>
                <c:pt idx="5799">
                  <c:v>3.1598001</c:v>
                </c:pt>
                <c:pt idx="5800">
                  <c:v>3.1599998</c:v>
                </c:pt>
                <c:pt idx="5801">
                  <c:v>3.1601998999999998</c:v>
                </c:pt>
                <c:pt idx="5802">
                  <c:v>3.1603997000000001</c:v>
                </c:pt>
                <c:pt idx="5803">
                  <c:v>3.1605998999999998</c:v>
                </c:pt>
                <c:pt idx="5804">
                  <c:v>3.1608000000000001</c:v>
                </c:pt>
                <c:pt idx="5805">
                  <c:v>3.1609997999999999</c:v>
                </c:pt>
                <c:pt idx="5806">
                  <c:v>3.1612</c:v>
                </c:pt>
                <c:pt idx="5807">
                  <c:v>3.1614000999999998</c:v>
                </c:pt>
                <c:pt idx="5808">
                  <c:v>3.1615999000000001</c:v>
                </c:pt>
                <c:pt idx="5809">
                  <c:v>3.1617999000000001</c:v>
                </c:pt>
                <c:pt idx="5810">
                  <c:v>3.1619997</c:v>
                </c:pt>
                <c:pt idx="5811">
                  <c:v>3.1621999999999999</c:v>
                </c:pt>
                <c:pt idx="5812">
                  <c:v>3.1623999999999999</c:v>
                </c:pt>
                <c:pt idx="5813">
                  <c:v>3.1625998000000002</c:v>
                </c:pt>
                <c:pt idx="5814">
                  <c:v>3.1628001000000001</c:v>
                </c:pt>
                <c:pt idx="5815">
                  <c:v>3.1629999</c:v>
                </c:pt>
                <c:pt idx="5816">
                  <c:v>3.1631999</c:v>
                </c:pt>
                <c:pt idx="5817">
                  <c:v>3.1633998999999999</c:v>
                </c:pt>
                <c:pt idx="5818">
                  <c:v>3.1635996999999998</c:v>
                </c:pt>
                <c:pt idx="5819">
                  <c:v>3.1638000000000002</c:v>
                </c:pt>
                <c:pt idx="5820">
                  <c:v>3.1639998</c:v>
                </c:pt>
                <c:pt idx="5821">
                  <c:v>3.1641998</c:v>
                </c:pt>
                <c:pt idx="5822">
                  <c:v>3.1644000999999999</c:v>
                </c:pt>
                <c:pt idx="5823">
                  <c:v>3.1645998999999998</c:v>
                </c:pt>
                <c:pt idx="5824">
                  <c:v>3.1647999000000002</c:v>
                </c:pt>
                <c:pt idx="5825">
                  <c:v>3.165</c:v>
                </c:pt>
                <c:pt idx="5826">
                  <c:v>3.1651997999999999</c:v>
                </c:pt>
                <c:pt idx="5827">
                  <c:v>3.1654</c:v>
                </c:pt>
                <c:pt idx="5828">
                  <c:v>3.1655997999999999</c:v>
                </c:pt>
                <c:pt idx="5829">
                  <c:v>3.1657999000000001</c:v>
                </c:pt>
                <c:pt idx="5830">
                  <c:v>3.1660001000000002</c:v>
                </c:pt>
                <c:pt idx="5831">
                  <c:v>3.1661999000000001</c:v>
                </c:pt>
                <c:pt idx="5832">
                  <c:v>3.1663999999999999</c:v>
                </c:pt>
                <c:pt idx="5833">
                  <c:v>3.1665998000000002</c:v>
                </c:pt>
                <c:pt idx="5834">
                  <c:v>3.1667998000000002</c:v>
                </c:pt>
                <c:pt idx="5835">
                  <c:v>3.1670001000000001</c:v>
                </c:pt>
                <c:pt idx="5836">
                  <c:v>3.1671999</c:v>
                </c:pt>
                <c:pt idx="5837">
                  <c:v>3.1673998999999999</c:v>
                </c:pt>
                <c:pt idx="5838">
                  <c:v>3.1676001999999999</c:v>
                </c:pt>
                <c:pt idx="5839">
                  <c:v>3.1677998999999999</c:v>
                </c:pt>
                <c:pt idx="5840">
                  <c:v>3.1680000000000001</c:v>
                </c:pt>
                <c:pt idx="5841">
                  <c:v>3.1681998</c:v>
                </c:pt>
                <c:pt idx="5842">
                  <c:v>3.1683998</c:v>
                </c:pt>
                <c:pt idx="5843">
                  <c:v>3.1686000999999999</c:v>
                </c:pt>
                <c:pt idx="5844">
                  <c:v>3.1687998999999998</c:v>
                </c:pt>
                <c:pt idx="5845">
                  <c:v>3.1689999000000002</c:v>
                </c:pt>
                <c:pt idx="5846">
                  <c:v>3.1691999000000002</c:v>
                </c:pt>
                <c:pt idx="5847">
                  <c:v>3.1694</c:v>
                </c:pt>
                <c:pt idx="5848">
                  <c:v>3.1696</c:v>
                </c:pt>
                <c:pt idx="5849">
                  <c:v>3.1697997999999998</c:v>
                </c:pt>
                <c:pt idx="5850">
                  <c:v>3.1699997999999998</c:v>
                </c:pt>
                <c:pt idx="5851">
                  <c:v>3.1701999000000001</c:v>
                </c:pt>
                <c:pt idx="5852">
                  <c:v>3.1703999</c:v>
                </c:pt>
                <c:pt idx="5853">
                  <c:v>3.1705999</c:v>
                </c:pt>
                <c:pt idx="5854">
                  <c:v>3.1707999999999998</c:v>
                </c:pt>
                <c:pt idx="5855">
                  <c:v>3.1709999999999998</c:v>
                </c:pt>
                <c:pt idx="5856">
                  <c:v>3.1711998000000001</c:v>
                </c:pt>
                <c:pt idx="5857">
                  <c:v>3.1713998000000001</c:v>
                </c:pt>
                <c:pt idx="5858">
                  <c:v>3.1715998999999999</c:v>
                </c:pt>
                <c:pt idx="5859">
                  <c:v>3.1717998999999999</c:v>
                </c:pt>
                <c:pt idx="5860">
                  <c:v>3.1719998999999999</c:v>
                </c:pt>
                <c:pt idx="5861">
                  <c:v>3.1722000000000001</c:v>
                </c:pt>
                <c:pt idx="5862">
                  <c:v>3.1724000000000001</c:v>
                </c:pt>
                <c:pt idx="5863">
                  <c:v>3.1726000000000001</c:v>
                </c:pt>
                <c:pt idx="5864">
                  <c:v>3.1727997999999999</c:v>
                </c:pt>
                <c:pt idx="5865">
                  <c:v>3.1729999000000002</c:v>
                </c:pt>
                <c:pt idx="5866">
                  <c:v>3.1731999000000002</c:v>
                </c:pt>
                <c:pt idx="5867">
                  <c:v>3.1733999000000002</c:v>
                </c:pt>
                <c:pt idx="5868">
                  <c:v>3.1736</c:v>
                </c:pt>
                <c:pt idx="5869">
                  <c:v>3.1737997999999998</c:v>
                </c:pt>
                <c:pt idx="5870">
                  <c:v>3.1739999999999999</c:v>
                </c:pt>
                <c:pt idx="5871">
                  <c:v>3.1742001000000002</c:v>
                </c:pt>
                <c:pt idx="5872">
                  <c:v>3.1743999000000001</c:v>
                </c:pt>
                <c:pt idx="5873">
                  <c:v>3.1745999</c:v>
                </c:pt>
                <c:pt idx="5874">
                  <c:v>3.1747996999999999</c:v>
                </c:pt>
                <c:pt idx="5875">
                  <c:v>3.1749999999999998</c:v>
                </c:pt>
                <c:pt idx="5876">
                  <c:v>3.1751999999999998</c:v>
                </c:pt>
                <c:pt idx="5877">
                  <c:v>3.1753998000000001</c:v>
                </c:pt>
                <c:pt idx="5878">
                  <c:v>3.1756001</c:v>
                </c:pt>
                <c:pt idx="5879">
                  <c:v>3.1758001</c:v>
                </c:pt>
                <c:pt idx="5880">
                  <c:v>3.1759998999999999</c:v>
                </c:pt>
                <c:pt idx="5881">
                  <c:v>3.1761998999999999</c:v>
                </c:pt>
                <c:pt idx="5882">
                  <c:v>3.1763997000000002</c:v>
                </c:pt>
                <c:pt idx="5883">
                  <c:v>3.1766000000000001</c:v>
                </c:pt>
                <c:pt idx="5884">
                  <c:v>3.1768000000000001</c:v>
                </c:pt>
                <c:pt idx="5885">
                  <c:v>3.1769997999999999</c:v>
                </c:pt>
                <c:pt idx="5886">
                  <c:v>3.1772000999999999</c:v>
                </c:pt>
                <c:pt idx="5887">
                  <c:v>3.1773999000000002</c:v>
                </c:pt>
                <c:pt idx="5888">
                  <c:v>3.1775999000000001</c:v>
                </c:pt>
                <c:pt idx="5889">
                  <c:v>3.1777999000000001</c:v>
                </c:pt>
                <c:pt idx="5890">
                  <c:v>3.1779997</c:v>
                </c:pt>
                <c:pt idx="5891">
                  <c:v>3.1781999999999999</c:v>
                </c:pt>
                <c:pt idx="5892">
                  <c:v>3.1783998000000002</c:v>
                </c:pt>
                <c:pt idx="5893">
                  <c:v>3.1785998000000002</c:v>
                </c:pt>
                <c:pt idx="5894">
                  <c:v>3.1788001000000001</c:v>
                </c:pt>
                <c:pt idx="5895">
                  <c:v>3.1789999</c:v>
                </c:pt>
                <c:pt idx="5896">
                  <c:v>3.1791999</c:v>
                </c:pt>
                <c:pt idx="5897">
                  <c:v>3.1793996999999998</c:v>
                </c:pt>
                <c:pt idx="5898">
                  <c:v>3.1795998000000001</c:v>
                </c:pt>
                <c:pt idx="5899">
                  <c:v>3.1798000000000002</c:v>
                </c:pt>
                <c:pt idx="5900">
                  <c:v>3.1799998</c:v>
                </c:pt>
                <c:pt idx="5901">
                  <c:v>3.1801998999999999</c:v>
                </c:pt>
                <c:pt idx="5902">
                  <c:v>3.1804001</c:v>
                </c:pt>
                <c:pt idx="5903">
                  <c:v>3.1805998999999998</c:v>
                </c:pt>
                <c:pt idx="5904">
                  <c:v>3.1808000000000001</c:v>
                </c:pt>
                <c:pt idx="5905">
                  <c:v>3.1809997999999999</c:v>
                </c:pt>
                <c:pt idx="5906">
                  <c:v>3.1811997999999999</c:v>
                </c:pt>
                <c:pt idx="5907">
                  <c:v>3.1814000999999998</c:v>
                </c:pt>
                <c:pt idx="5908">
                  <c:v>3.1815999000000001</c:v>
                </c:pt>
                <c:pt idx="5909">
                  <c:v>3.1817999000000001</c:v>
                </c:pt>
                <c:pt idx="5910">
                  <c:v>3.1819999000000001</c:v>
                </c:pt>
                <c:pt idx="5911">
                  <c:v>3.1821999999999999</c:v>
                </c:pt>
                <c:pt idx="5912">
                  <c:v>3.1823999999999999</c:v>
                </c:pt>
                <c:pt idx="5913">
                  <c:v>3.1825998000000002</c:v>
                </c:pt>
                <c:pt idx="5914">
                  <c:v>3.1827998000000002</c:v>
                </c:pt>
                <c:pt idx="5915">
                  <c:v>3.1830001000000001</c:v>
                </c:pt>
                <c:pt idx="5916">
                  <c:v>3.1831999</c:v>
                </c:pt>
                <c:pt idx="5917">
                  <c:v>3.1833998999999999</c:v>
                </c:pt>
                <c:pt idx="5918">
                  <c:v>3.1835998999999999</c:v>
                </c:pt>
                <c:pt idx="5919">
                  <c:v>3.1838000000000002</c:v>
                </c:pt>
                <c:pt idx="5920">
                  <c:v>3.1840000000000002</c:v>
                </c:pt>
                <c:pt idx="5921">
                  <c:v>3.1841998</c:v>
                </c:pt>
                <c:pt idx="5922">
                  <c:v>3.1843998</c:v>
                </c:pt>
                <c:pt idx="5923">
                  <c:v>3.1845998999999998</c:v>
                </c:pt>
                <c:pt idx="5924">
                  <c:v>3.1847998999999998</c:v>
                </c:pt>
                <c:pt idx="5925">
                  <c:v>3.1849999000000002</c:v>
                </c:pt>
                <c:pt idx="5926">
                  <c:v>3.1852</c:v>
                </c:pt>
                <c:pt idx="5927">
                  <c:v>3.1854</c:v>
                </c:pt>
                <c:pt idx="5928">
                  <c:v>3.1855997999999999</c:v>
                </c:pt>
                <c:pt idx="5929">
                  <c:v>3.1857997999999998</c:v>
                </c:pt>
                <c:pt idx="5930">
                  <c:v>3.1859999000000001</c:v>
                </c:pt>
                <c:pt idx="5931">
                  <c:v>3.1861999000000001</c:v>
                </c:pt>
                <c:pt idx="5932">
                  <c:v>3.1863999000000001</c:v>
                </c:pt>
                <c:pt idx="5933">
                  <c:v>3.1865996999999999</c:v>
                </c:pt>
                <c:pt idx="5934">
                  <c:v>3.1867999999999999</c:v>
                </c:pt>
                <c:pt idx="5935">
                  <c:v>3.1869999999999998</c:v>
                </c:pt>
                <c:pt idx="5936">
                  <c:v>3.1871998000000001</c:v>
                </c:pt>
                <c:pt idx="5937">
                  <c:v>3.1873999</c:v>
                </c:pt>
                <c:pt idx="5938">
                  <c:v>3.1875998999999999</c:v>
                </c:pt>
                <c:pt idx="5939">
                  <c:v>3.1877998999999999</c:v>
                </c:pt>
                <c:pt idx="5940">
                  <c:v>3.1880000000000002</c:v>
                </c:pt>
                <c:pt idx="5941">
                  <c:v>3.1881998</c:v>
                </c:pt>
                <c:pt idx="5942">
                  <c:v>3.1884000000000001</c:v>
                </c:pt>
                <c:pt idx="5943">
                  <c:v>3.1886000999999999</c:v>
                </c:pt>
                <c:pt idx="5944">
                  <c:v>3.1887998999999998</c:v>
                </c:pt>
                <c:pt idx="5945">
                  <c:v>3.1889999000000002</c:v>
                </c:pt>
                <c:pt idx="5946">
                  <c:v>3.1891997000000001</c:v>
                </c:pt>
                <c:pt idx="5947">
                  <c:v>3.1894</c:v>
                </c:pt>
                <c:pt idx="5948">
                  <c:v>3.1896</c:v>
                </c:pt>
                <c:pt idx="5949">
                  <c:v>3.1897997999999999</c:v>
                </c:pt>
                <c:pt idx="5950">
                  <c:v>3.1900000999999998</c:v>
                </c:pt>
                <c:pt idx="5951">
                  <c:v>3.1902001000000002</c:v>
                </c:pt>
                <c:pt idx="5952">
                  <c:v>3.1903999000000001</c:v>
                </c:pt>
                <c:pt idx="5953">
                  <c:v>3.1905999</c:v>
                </c:pt>
                <c:pt idx="5954">
                  <c:v>3.1907996999999999</c:v>
                </c:pt>
                <c:pt idx="5955">
                  <c:v>3.1909999999999998</c:v>
                </c:pt>
                <c:pt idx="5956">
                  <c:v>3.1911999999999998</c:v>
                </c:pt>
                <c:pt idx="5957">
                  <c:v>3.1913998000000001</c:v>
                </c:pt>
                <c:pt idx="5958">
                  <c:v>3.1916001000000001</c:v>
                </c:pt>
                <c:pt idx="5959">
                  <c:v>3.1917998999999999</c:v>
                </c:pt>
                <c:pt idx="5960">
                  <c:v>3.1919998999999999</c:v>
                </c:pt>
                <c:pt idx="5961">
                  <c:v>3.1921998999999999</c:v>
                </c:pt>
                <c:pt idx="5962">
                  <c:v>3.1923997000000002</c:v>
                </c:pt>
                <c:pt idx="5963">
                  <c:v>3.1926000000000001</c:v>
                </c:pt>
                <c:pt idx="5964">
                  <c:v>3.1927998</c:v>
                </c:pt>
                <c:pt idx="5965">
                  <c:v>3.1929997999999999</c:v>
                </c:pt>
                <c:pt idx="5966">
                  <c:v>3.1932000999999999</c:v>
                </c:pt>
                <c:pt idx="5967">
                  <c:v>3.1933999000000002</c:v>
                </c:pt>
                <c:pt idx="5968">
                  <c:v>3.1935999000000002</c:v>
                </c:pt>
                <c:pt idx="5969">
                  <c:v>3.1937997</c:v>
                </c:pt>
                <c:pt idx="5970">
                  <c:v>3.1939997999999998</c:v>
                </c:pt>
                <c:pt idx="5971">
                  <c:v>3.1941999999999999</c:v>
                </c:pt>
                <c:pt idx="5972">
                  <c:v>3.1943997999999998</c:v>
                </c:pt>
                <c:pt idx="5973">
                  <c:v>3.1945999</c:v>
                </c:pt>
                <c:pt idx="5974">
                  <c:v>3.1948001000000001</c:v>
                </c:pt>
                <c:pt idx="5975">
                  <c:v>3.1949999</c:v>
                </c:pt>
                <c:pt idx="5976">
                  <c:v>3.1951999999999998</c:v>
                </c:pt>
                <c:pt idx="5977">
                  <c:v>3.1953998000000001</c:v>
                </c:pt>
                <c:pt idx="5978">
                  <c:v>3.1955998000000001</c:v>
                </c:pt>
                <c:pt idx="5979">
                  <c:v>3.1958001</c:v>
                </c:pt>
                <c:pt idx="5980">
                  <c:v>3.1959998999999999</c:v>
                </c:pt>
                <c:pt idx="5981">
                  <c:v>3.1961998999999999</c:v>
                </c:pt>
                <c:pt idx="5982">
                  <c:v>3.1963998999999998</c:v>
                </c:pt>
                <c:pt idx="5983">
                  <c:v>3.1966000000000001</c:v>
                </c:pt>
                <c:pt idx="5984">
                  <c:v>3.1968000000000001</c:v>
                </c:pt>
                <c:pt idx="5985">
                  <c:v>3.1969997999999999</c:v>
                </c:pt>
                <c:pt idx="5986">
                  <c:v>3.1971997999999999</c:v>
                </c:pt>
                <c:pt idx="5987">
                  <c:v>3.1973999000000002</c:v>
                </c:pt>
                <c:pt idx="5988">
                  <c:v>3.1975999000000002</c:v>
                </c:pt>
                <c:pt idx="5989">
                  <c:v>3.1977999000000001</c:v>
                </c:pt>
                <c:pt idx="5990">
                  <c:v>3.198</c:v>
                </c:pt>
                <c:pt idx="5991">
                  <c:v>3.1981999999999999</c:v>
                </c:pt>
                <c:pt idx="5992">
                  <c:v>3.1983999999999999</c:v>
                </c:pt>
                <c:pt idx="5993">
                  <c:v>3.1985998000000002</c:v>
                </c:pt>
                <c:pt idx="5994">
                  <c:v>3.1987998000000002</c:v>
                </c:pt>
                <c:pt idx="5995">
                  <c:v>3.1989999</c:v>
                </c:pt>
                <c:pt idx="5996">
                  <c:v>3.1991999</c:v>
                </c:pt>
                <c:pt idx="5997">
                  <c:v>3.1993999</c:v>
                </c:pt>
                <c:pt idx="5998">
                  <c:v>3.1996000000000002</c:v>
                </c:pt>
                <c:pt idx="5999">
                  <c:v>3.1998000000000002</c:v>
                </c:pt>
                <c:pt idx="6000">
                  <c:v>3.1999998000000001</c:v>
                </c:pt>
                <c:pt idx="6001">
                  <c:v>3.2001998</c:v>
                </c:pt>
                <c:pt idx="6002">
                  <c:v>3.2003998999999999</c:v>
                </c:pt>
                <c:pt idx="6003">
                  <c:v>3.2005998999999998</c:v>
                </c:pt>
                <c:pt idx="6004">
                  <c:v>3.2007998999999998</c:v>
                </c:pt>
                <c:pt idx="6005">
                  <c:v>3.2009997000000001</c:v>
                </c:pt>
                <c:pt idx="6006">
                  <c:v>3.2012</c:v>
                </c:pt>
                <c:pt idx="6007">
                  <c:v>3.2014</c:v>
                </c:pt>
                <c:pt idx="6008">
                  <c:v>3.2015997999999999</c:v>
                </c:pt>
                <c:pt idx="6009">
                  <c:v>3.2017999000000001</c:v>
                </c:pt>
                <c:pt idx="6010">
                  <c:v>3.2019997</c:v>
                </c:pt>
                <c:pt idx="6011">
                  <c:v>3.2021999000000001</c:v>
                </c:pt>
                <c:pt idx="6012">
                  <c:v>3.2023999999999999</c:v>
                </c:pt>
                <c:pt idx="6013">
                  <c:v>3.2025998000000002</c:v>
                </c:pt>
                <c:pt idx="6014">
                  <c:v>3.2027999999999999</c:v>
                </c:pt>
                <c:pt idx="6015">
                  <c:v>3.2030001000000001</c:v>
                </c:pt>
                <c:pt idx="6016">
                  <c:v>3.2031999</c:v>
                </c:pt>
                <c:pt idx="6017">
                  <c:v>3.2033999</c:v>
                </c:pt>
                <c:pt idx="6018">
                  <c:v>3.2035996999999998</c:v>
                </c:pt>
                <c:pt idx="6019">
                  <c:v>3.2038000000000002</c:v>
                </c:pt>
                <c:pt idx="6020">
                  <c:v>3.2040000000000002</c:v>
                </c:pt>
                <c:pt idx="6021">
                  <c:v>3.2041998</c:v>
                </c:pt>
                <c:pt idx="6022">
                  <c:v>3.2044001</c:v>
                </c:pt>
                <c:pt idx="6023">
                  <c:v>3.2045998999999998</c:v>
                </c:pt>
                <c:pt idx="6024">
                  <c:v>3.2047998999999998</c:v>
                </c:pt>
                <c:pt idx="6025">
                  <c:v>3.2049998999999998</c:v>
                </c:pt>
                <c:pt idx="6026">
                  <c:v>3.2051997000000001</c:v>
                </c:pt>
                <c:pt idx="6027">
                  <c:v>3.2054</c:v>
                </c:pt>
                <c:pt idx="6028">
                  <c:v>3.2056</c:v>
                </c:pt>
                <c:pt idx="6029">
                  <c:v>3.2057997999999999</c:v>
                </c:pt>
                <c:pt idx="6030">
                  <c:v>3.2060000999999998</c:v>
                </c:pt>
                <c:pt idx="6031">
                  <c:v>3.2061999000000001</c:v>
                </c:pt>
                <c:pt idx="6032">
                  <c:v>3.2063999000000001</c:v>
                </c:pt>
                <c:pt idx="6033">
                  <c:v>3.2065999999999999</c:v>
                </c:pt>
                <c:pt idx="6034">
                  <c:v>3.2067996999999999</c:v>
                </c:pt>
                <c:pt idx="6035">
                  <c:v>3.2069999999999999</c:v>
                </c:pt>
                <c:pt idx="6036">
                  <c:v>3.2071998000000002</c:v>
                </c:pt>
                <c:pt idx="6037">
                  <c:v>3.2073998000000001</c:v>
                </c:pt>
                <c:pt idx="6038">
                  <c:v>3.2076001000000001</c:v>
                </c:pt>
                <c:pt idx="6039">
                  <c:v>3.2077998999999999</c:v>
                </c:pt>
                <c:pt idx="6040">
                  <c:v>3.2079998999999999</c:v>
                </c:pt>
                <c:pt idx="6041">
                  <c:v>3.2081997000000002</c:v>
                </c:pt>
                <c:pt idx="6042">
                  <c:v>3.2083998</c:v>
                </c:pt>
                <c:pt idx="6043">
                  <c:v>3.2086000000000001</c:v>
                </c:pt>
                <c:pt idx="6044">
                  <c:v>3.2087998</c:v>
                </c:pt>
                <c:pt idx="6045">
                  <c:v>3.2089998999999998</c:v>
                </c:pt>
                <c:pt idx="6046">
                  <c:v>3.2092000999999999</c:v>
                </c:pt>
                <c:pt idx="6047">
                  <c:v>3.2093999000000002</c:v>
                </c:pt>
                <c:pt idx="6048">
                  <c:v>3.2096</c:v>
                </c:pt>
                <c:pt idx="6049">
                  <c:v>3.2097997999999999</c:v>
                </c:pt>
                <c:pt idx="6050">
                  <c:v>3.2099997999999998</c:v>
                </c:pt>
                <c:pt idx="6051">
                  <c:v>3.2102000999999998</c:v>
                </c:pt>
                <c:pt idx="6052">
                  <c:v>3.2103999000000001</c:v>
                </c:pt>
                <c:pt idx="6053">
                  <c:v>3.2105999000000001</c:v>
                </c:pt>
                <c:pt idx="6054">
                  <c:v>3.2107999</c:v>
                </c:pt>
                <c:pt idx="6055">
                  <c:v>3.2109999999999999</c:v>
                </c:pt>
                <c:pt idx="6056">
                  <c:v>3.2111999999999998</c:v>
                </c:pt>
                <c:pt idx="6057">
                  <c:v>3.2113998000000001</c:v>
                </c:pt>
                <c:pt idx="6058">
                  <c:v>3.2115998000000001</c:v>
                </c:pt>
                <c:pt idx="6059">
                  <c:v>3.2117998999999999</c:v>
                </c:pt>
                <c:pt idx="6060">
                  <c:v>3.2119998999999999</c:v>
                </c:pt>
                <c:pt idx="6061">
                  <c:v>3.2121998999999999</c:v>
                </c:pt>
                <c:pt idx="6062">
                  <c:v>3.2124000000000001</c:v>
                </c:pt>
                <c:pt idx="6063">
                  <c:v>3.2126000000000001</c:v>
                </c:pt>
                <c:pt idx="6064">
                  <c:v>3.2128000000000001</c:v>
                </c:pt>
                <c:pt idx="6065">
                  <c:v>3.2129998</c:v>
                </c:pt>
                <c:pt idx="6066">
                  <c:v>3.2131999000000002</c:v>
                </c:pt>
                <c:pt idx="6067">
                  <c:v>3.2133999000000002</c:v>
                </c:pt>
                <c:pt idx="6068">
                  <c:v>3.2135999000000002</c:v>
                </c:pt>
                <c:pt idx="6069">
                  <c:v>3.2138</c:v>
                </c:pt>
                <c:pt idx="6070">
                  <c:v>3.214</c:v>
                </c:pt>
                <c:pt idx="6071">
                  <c:v>3.2141999999999999</c:v>
                </c:pt>
                <c:pt idx="6072">
                  <c:v>3.2143997999999998</c:v>
                </c:pt>
                <c:pt idx="6073">
                  <c:v>3.2145997999999998</c:v>
                </c:pt>
                <c:pt idx="6074">
                  <c:v>3.2147999</c:v>
                </c:pt>
                <c:pt idx="6075">
                  <c:v>3.2149999</c:v>
                </c:pt>
                <c:pt idx="6076">
                  <c:v>3.2151999</c:v>
                </c:pt>
                <c:pt idx="6077">
                  <c:v>3.2153996999999999</c:v>
                </c:pt>
                <c:pt idx="6078">
                  <c:v>3.2155999999999998</c:v>
                </c:pt>
                <c:pt idx="6079">
                  <c:v>3.2158000000000002</c:v>
                </c:pt>
                <c:pt idx="6080">
                  <c:v>3.2159998000000001</c:v>
                </c:pt>
                <c:pt idx="6081">
                  <c:v>3.2161998999999999</c:v>
                </c:pt>
                <c:pt idx="6082">
                  <c:v>3.2163997000000002</c:v>
                </c:pt>
                <c:pt idx="6083">
                  <c:v>3.2165998999999998</c:v>
                </c:pt>
                <c:pt idx="6084">
                  <c:v>3.2168000000000001</c:v>
                </c:pt>
                <c:pt idx="6085">
                  <c:v>3.2169998</c:v>
                </c:pt>
                <c:pt idx="6086">
                  <c:v>3.2172000000000001</c:v>
                </c:pt>
                <c:pt idx="6087">
                  <c:v>3.2174000999999999</c:v>
                </c:pt>
                <c:pt idx="6088">
                  <c:v>3.2175999000000002</c:v>
                </c:pt>
                <c:pt idx="6089">
                  <c:v>3.2177999000000002</c:v>
                </c:pt>
                <c:pt idx="6090">
                  <c:v>3.2179997</c:v>
                </c:pt>
                <c:pt idx="6091">
                  <c:v>3.2181999999999999</c:v>
                </c:pt>
                <c:pt idx="6092">
                  <c:v>3.2183999999999999</c:v>
                </c:pt>
                <c:pt idx="6093">
                  <c:v>3.2185997999999998</c:v>
                </c:pt>
                <c:pt idx="6094">
                  <c:v>3.2188001000000002</c:v>
                </c:pt>
                <c:pt idx="6095">
                  <c:v>3.2189999</c:v>
                </c:pt>
                <c:pt idx="6096">
                  <c:v>3.2191999</c:v>
                </c:pt>
                <c:pt idx="6097">
                  <c:v>3.2193999</c:v>
                </c:pt>
                <c:pt idx="6098">
                  <c:v>3.2195996999999998</c:v>
                </c:pt>
                <c:pt idx="6099">
                  <c:v>3.2198000000000002</c:v>
                </c:pt>
                <c:pt idx="6100">
                  <c:v>3.2199998000000001</c:v>
                </c:pt>
                <c:pt idx="6101">
                  <c:v>3.2201998000000001</c:v>
                </c:pt>
                <c:pt idx="6102">
                  <c:v>3.2204001</c:v>
                </c:pt>
                <c:pt idx="6103">
                  <c:v>3.2205998999999998</c:v>
                </c:pt>
                <c:pt idx="6104">
                  <c:v>3.2207998999999998</c:v>
                </c:pt>
                <c:pt idx="6105">
                  <c:v>3.2210000000000001</c:v>
                </c:pt>
                <c:pt idx="6106">
                  <c:v>3.2211997999999999</c:v>
                </c:pt>
                <c:pt idx="6107">
                  <c:v>3.2214</c:v>
                </c:pt>
                <c:pt idx="6108">
                  <c:v>3.2215997999999999</c:v>
                </c:pt>
                <c:pt idx="6109">
                  <c:v>3.2217999000000002</c:v>
                </c:pt>
                <c:pt idx="6110">
                  <c:v>3.2220000999999998</c:v>
                </c:pt>
                <c:pt idx="6111">
                  <c:v>3.2221999000000001</c:v>
                </c:pt>
                <c:pt idx="6112">
                  <c:v>3.2223999999999999</c:v>
                </c:pt>
                <c:pt idx="6113">
                  <c:v>3.2225997</c:v>
                </c:pt>
                <c:pt idx="6114">
                  <c:v>3.2227998000000002</c:v>
                </c:pt>
                <c:pt idx="6115">
                  <c:v>3.2229999999999999</c:v>
                </c:pt>
                <c:pt idx="6116">
                  <c:v>3.2231998000000002</c:v>
                </c:pt>
                <c:pt idx="6117">
                  <c:v>3.2233999</c:v>
                </c:pt>
                <c:pt idx="6118">
                  <c:v>3.2236001000000001</c:v>
                </c:pt>
                <c:pt idx="6119">
                  <c:v>3.2237998999999999</c:v>
                </c:pt>
                <c:pt idx="6120">
                  <c:v>3.2240000000000002</c:v>
                </c:pt>
                <c:pt idx="6121">
                  <c:v>3.2241998000000001</c:v>
                </c:pt>
                <c:pt idx="6122">
                  <c:v>3.2243998</c:v>
                </c:pt>
                <c:pt idx="6123">
                  <c:v>3.2246001</c:v>
                </c:pt>
                <c:pt idx="6124">
                  <c:v>3.2247998999999998</c:v>
                </c:pt>
                <c:pt idx="6125">
                  <c:v>3.2249998999999998</c:v>
                </c:pt>
                <c:pt idx="6126">
                  <c:v>3.2251998999999998</c:v>
                </c:pt>
                <c:pt idx="6127">
                  <c:v>3.2254</c:v>
                </c:pt>
                <c:pt idx="6128">
                  <c:v>3.2256</c:v>
                </c:pt>
                <c:pt idx="6129">
                  <c:v>3.2257997999999999</c:v>
                </c:pt>
                <c:pt idx="6130">
                  <c:v>3.2259997999999999</c:v>
                </c:pt>
                <c:pt idx="6131">
                  <c:v>3.2261999000000001</c:v>
                </c:pt>
                <c:pt idx="6132">
                  <c:v>3.2263999000000001</c:v>
                </c:pt>
                <c:pt idx="6133">
                  <c:v>3.2265999000000001</c:v>
                </c:pt>
                <c:pt idx="6134">
                  <c:v>3.2267999999999999</c:v>
                </c:pt>
                <c:pt idx="6135">
                  <c:v>3.2269999999999999</c:v>
                </c:pt>
                <c:pt idx="6136">
                  <c:v>3.2271998000000002</c:v>
                </c:pt>
                <c:pt idx="6137">
                  <c:v>3.2273998000000002</c:v>
                </c:pt>
                <c:pt idx="6138">
                  <c:v>3.2275999</c:v>
                </c:pt>
                <c:pt idx="6139">
                  <c:v>3.2277998999999999</c:v>
                </c:pt>
                <c:pt idx="6140">
                  <c:v>3.2279998999999999</c:v>
                </c:pt>
                <c:pt idx="6141">
                  <c:v>3.2282000000000002</c:v>
                </c:pt>
                <c:pt idx="6142">
                  <c:v>3.2284000000000002</c:v>
                </c:pt>
                <c:pt idx="6143">
                  <c:v>3.2286000000000001</c:v>
                </c:pt>
                <c:pt idx="6144">
                  <c:v>3.2287998</c:v>
                </c:pt>
                <c:pt idx="6145">
                  <c:v>3.2289998999999998</c:v>
                </c:pt>
                <c:pt idx="6146">
                  <c:v>3.2291998999999998</c:v>
                </c:pt>
                <c:pt idx="6147">
                  <c:v>3.2293999000000002</c:v>
                </c:pt>
                <c:pt idx="6148">
                  <c:v>3.2296</c:v>
                </c:pt>
                <c:pt idx="6149">
                  <c:v>3.2297997000000001</c:v>
                </c:pt>
                <c:pt idx="6150">
                  <c:v>3.23</c:v>
                </c:pt>
                <c:pt idx="6151">
                  <c:v>3.2302000999999998</c:v>
                </c:pt>
                <c:pt idx="6152">
                  <c:v>3.2303997999999998</c:v>
                </c:pt>
                <c:pt idx="6153">
                  <c:v>3.2305999000000001</c:v>
                </c:pt>
                <c:pt idx="6154">
                  <c:v>3.2307996999999999</c:v>
                </c:pt>
                <c:pt idx="6155">
                  <c:v>3.2309999</c:v>
                </c:pt>
                <c:pt idx="6156">
                  <c:v>3.2311999999999999</c:v>
                </c:pt>
                <c:pt idx="6157">
                  <c:v>3.2313998000000002</c:v>
                </c:pt>
                <c:pt idx="6158">
                  <c:v>3.2315999999999998</c:v>
                </c:pt>
                <c:pt idx="6159">
                  <c:v>3.2318001000000001</c:v>
                </c:pt>
                <c:pt idx="6160">
                  <c:v>3.2319998999999999</c:v>
                </c:pt>
                <c:pt idx="6161">
                  <c:v>3.2321998999999999</c:v>
                </c:pt>
                <c:pt idx="6162">
                  <c:v>3.2323997000000002</c:v>
                </c:pt>
                <c:pt idx="6163">
                  <c:v>3.2326000000000001</c:v>
                </c:pt>
                <c:pt idx="6164">
                  <c:v>3.2328000000000001</c:v>
                </c:pt>
                <c:pt idx="6165">
                  <c:v>3.2329998</c:v>
                </c:pt>
                <c:pt idx="6166">
                  <c:v>3.2332000999999999</c:v>
                </c:pt>
                <c:pt idx="6167">
                  <c:v>3.2333999000000002</c:v>
                </c:pt>
                <c:pt idx="6168">
                  <c:v>3.2335999000000002</c:v>
                </c:pt>
                <c:pt idx="6169">
                  <c:v>3.2337999000000002</c:v>
                </c:pt>
                <c:pt idx="6170">
                  <c:v>3.2339997</c:v>
                </c:pt>
                <c:pt idx="6171">
                  <c:v>3.2342</c:v>
                </c:pt>
                <c:pt idx="6172">
                  <c:v>3.2343997999999998</c:v>
                </c:pt>
                <c:pt idx="6173">
                  <c:v>3.2345997999999998</c:v>
                </c:pt>
                <c:pt idx="6174">
                  <c:v>3.2348001000000002</c:v>
                </c:pt>
                <c:pt idx="6175">
                  <c:v>3.2349999</c:v>
                </c:pt>
                <c:pt idx="6176">
                  <c:v>3.2351999</c:v>
                </c:pt>
                <c:pt idx="6177">
                  <c:v>3.2353999999999998</c:v>
                </c:pt>
                <c:pt idx="6178">
                  <c:v>3.2355998000000001</c:v>
                </c:pt>
                <c:pt idx="6179">
                  <c:v>3.2357999999999998</c:v>
                </c:pt>
                <c:pt idx="6180">
                  <c:v>3.2359998000000001</c:v>
                </c:pt>
                <c:pt idx="6181">
                  <c:v>3.2361998999999999</c:v>
                </c:pt>
                <c:pt idx="6182">
                  <c:v>3.2364001</c:v>
                </c:pt>
                <c:pt idx="6183">
                  <c:v>3.2365998999999999</c:v>
                </c:pt>
                <c:pt idx="6184">
                  <c:v>3.2368000000000001</c:v>
                </c:pt>
                <c:pt idx="6185">
                  <c:v>3.2369998</c:v>
                </c:pt>
                <c:pt idx="6186">
                  <c:v>3.2371998</c:v>
                </c:pt>
                <c:pt idx="6187">
                  <c:v>3.2374000999999999</c:v>
                </c:pt>
                <c:pt idx="6188">
                  <c:v>3.2375997999999999</c:v>
                </c:pt>
                <c:pt idx="6189">
                  <c:v>3.2377999000000002</c:v>
                </c:pt>
                <c:pt idx="6190">
                  <c:v>3.2380002000000001</c:v>
                </c:pt>
                <c:pt idx="6191">
                  <c:v>3.2381999000000001</c:v>
                </c:pt>
                <c:pt idx="6192">
                  <c:v>3.2383999999999999</c:v>
                </c:pt>
                <c:pt idx="6193">
                  <c:v>3.2385997999999998</c:v>
                </c:pt>
                <c:pt idx="6194">
                  <c:v>3.2387997999999998</c:v>
                </c:pt>
                <c:pt idx="6195">
                  <c:v>3.2390001000000002</c:v>
                </c:pt>
                <c:pt idx="6196">
                  <c:v>3.2391999</c:v>
                </c:pt>
                <c:pt idx="6197">
                  <c:v>3.2393999</c:v>
                </c:pt>
                <c:pt idx="6198">
                  <c:v>3.2395999</c:v>
                </c:pt>
                <c:pt idx="6199">
                  <c:v>3.2397999999999998</c:v>
                </c:pt>
                <c:pt idx="6200">
                  <c:v>3.24</c:v>
                </c:pt>
                <c:pt idx="6201">
                  <c:v>3.2401998000000001</c:v>
                </c:pt>
                <c:pt idx="6202">
                  <c:v>3.2403998000000001</c:v>
                </c:pt>
                <c:pt idx="6203">
                  <c:v>3.2405998999999999</c:v>
                </c:pt>
                <c:pt idx="6204">
                  <c:v>3.2407998999999998</c:v>
                </c:pt>
                <c:pt idx="6205">
                  <c:v>3.2409998999999998</c:v>
                </c:pt>
                <c:pt idx="6206">
                  <c:v>3.2412000000000001</c:v>
                </c:pt>
                <c:pt idx="6207">
                  <c:v>3.2414000000000001</c:v>
                </c:pt>
                <c:pt idx="6208">
                  <c:v>3.2415997999999999</c:v>
                </c:pt>
                <c:pt idx="6209">
                  <c:v>3.2417997999999999</c:v>
                </c:pt>
                <c:pt idx="6210">
                  <c:v>3.2419999000000002</c:v>
                </c:pt>
                <c:pt idx="6211">
                  <c:v>3.2421999000000001</c:v>
                </c:pt>
                <c:pt idx="6212">
                  <c:v>3.2423999000000001</c:v>
                </c:pt>
                <c:pt idx="6213">
                  <c:v>3.2425997</c:v>
                </c:pt>
                <c:pt idx="6214">
                  <c:v>3.2427999999999999</c:v>
                </c:pt>
                <c:pt idx="6215">
                  <c:v>3.2429999999999999</c:v>
                </c:pt>
                <c:pt idx="6216">
                  <c:v>3.2431998000000002</c:v>
                </c:pt>
                <c:pt idx="6217">
                  <c:v>3.2433999</c:v>
                </c:pt>
                <c:pt idx="6218">
                  <c:v>3.2435999</c:v>
                </c:pt>
                <c:pt idx="6219">
                  <c:v>3.2437999</c:v>
                </c:pt>
                <c:pt idx="6220">
                  <c:v>3.2440000000000002</c:v>
                </c:pt>
                <c:pt idx="6221">
                  <c:v>3.2441998000000001</c:v>
                </c:pt>
                <c:pt idx="6222">
                  <c:v>3.2444000000000002</c:v>
                </c:pt>
                <c:pt idx="6223">
                  <c:v>3.2446001</c:v>
                </c:pt>
                <c:pt idx="6224">
                  <c:v>3.2447998999999998</c:v>
                </c:pt>
                <c:pt idx="6225">
                  <c:v>3.2449998999999998</c:v>
                </c:pt>
                <c:pt idx="6226">
                  <c:v>3.2451997000000001</c:v>
                </c:pt>
                <c:pt idx="6227">
                  <c:v>3.2454000000000001</c:v>
                </c:pt>
                <c:pt idx="6228">
                  <c:v>3.2456</c:v>
                </c:pt>
                <c:pt idx="6229">
                  <c:v>3.2457997999999999</c:v>
                </c:pt>
                <c:pt idx="6230">
                  <c:v>3.2460000999999998</c:v>
                </c:pt>
                <c:pt idx="6231">
                  <c:v>3.2462000999999998</c:v>
                </c:pt>
                <c:pt idx="6232">
                  <c:v>3.2463999000000001</c:v>
                </c:pt>
                <c:pt idx="6233">
                  <c:v>3.2465999000000001</c:v>
                </c:pt>
                <c:pt idx="6234">
                  <c:v>3.2467997</c:v>
                </c:pt>
                <c:pt idx="6235">
                  <c:v>3.2469999999999999</c:v>
                </c:pt>
                <c:pt idx="6236">
                  <c:v>3.2471999999999999</c:v>
                </c:pt>
                <c:pt idx="6237">
                  <c:v>3.2473998000000002</c:v>
                </c:pt>
                <c:pt idx="6238">
                  <c:v>3.2476001000000001</c:v>
                </c:pt>
                <c:pt idx="6239">
                  <c:v>3.2477999</c:v>
                </c:pt>
                <c:pt idx="6240">
                  <c:v>3.2479998999999999</c:v>
                </c:pt>
                <c:pt idx="6241">
                  <c:v>3.2481998999999999</c:v>
                </c:pt>
                <c:pt idx="6242">
                  <c:v>3.2483996999999998</c:v>
                </c:pt>
                <c:pt idx="6243">
                  <c:v>3.2486000000000002</c:v>
                </c:pt>
                <c:pt idx="6244">
                  <c:v>3.2487998</c:v>
                </c:pt>
                <c:pt idx="6245">
                  <c:v>3.2489998</c:v>
                </c:pt>
                <c:pt idx="6246">
                  <c:v>3.2492000999999999</c:v>
                </c:pt>
                <c:pt idx="6247">
                  <c:v>3.2493998999999998</c:v>
                </c:pt>
                <c:pt idx="6248">
                  <c:v>3.2495999000000002</c:v>
                </c:pt>
                <c:pt idx="6249">
                  <c:v>3.2497997000000001</c:v>
                </c:pt>
                <c:pt idx="6250">
                  <c:v>3.2499997999999999</c:v>
                </c:pt>
                <c:pt idx="6251">
                  <c:v>3.2502</c:v>
                </c:pt>
                <c:pt idx="6252">
                  <c:v>3.2503997999999998</c:v>
                </c:pt>
                <c:pt idx="6253">
                  <c:v>3.2505999000000001</c:v>
                </c:pt>
                <c:pt idx="6254">
                  <c:v>3.2508001000000002</c:v>
                </c:pt>
                <c:pt idx="6255">
                  <c:v>3.2509999000000001</c:v>
                </c:pt>
                <c:pt idx="6256">
                  <c:v>3.2511999999999999</c:v>
                </c:pt>
                <c:pt idx="6257">
                  <c:v>3.2513998000000002</c:v>
                </c:pt>
                <c:pt idx="6258">
                  <c:v>3.2515998000000002</c:v>
                </c:pt>
                <c:pt idx="6259">
                  <c:v>3.2518001000000001</c:v>
                </c:pt>
                <c:pt idx="6260">
                  <c:v>3.2519998999999999</c:v>
                </c:pt>
                <c:pt idx="6261">
                  <c:v>3.2521998999999999</c:v>
                </c:pt>
                <c:pt idx="6262">
                  <c:v>3.2523998999999999</c:v>
                </c:pt>
                <c:pt idx="6263">
                  <c:v>3.2526000000000002</c:v>
                </c:pt>
                <c:pt idx="6264">
                  <c:v>3.2528000000000001</c:v>
                </c:pt>
                <c:pt idx="6265">
                  <c:v>3.2529998</c:v>
                </c:pt>
                <c:pt idx="6266">
                  <c:v>3.2531998</c:v>
                </c:pt>
                <c:pt idx="6267">
                  <c:v>3.2534000999999999</c:v>
                </c:pt>
                <c:pt idx="6268">
                  <c:v>3.2535999000000002</c:v>
                </c:pt>
                <c:pt idx="6269">
                  <c:v>3.2537999000000002</c:v>
                </c:pt>
                <c:pt idx="6270">
                  <c:v>3.2539999000000002</c:v>
                </c:pt>
                <c:pt idx="6271">
                  <c:v>3.2542</c:v>
                </c:pt>
                <c:pt idx="6272">
                  <c:v>3.2544</c:v>
                </c:pt>
                <c:pt idx="6273">
                  <c:v>3.2545997999999998</c:v>
                </c:pt>
                <c:pt idx="6274">
                  <c:v>3.2547997999999998</c:v>
                </c:pt>
                <c:pt idx="6275">
                  <c:v>3.2549999000000001</c:v>
                </c:pt>
                <c:pt idx="6276">
                  <c:v>3.2551999</c:v>
                </c:pt>
                <c:pt idx="6277">
                  <c:v>3.2553999</c:v>
                </c:pt>
                <c:pt idx="6278">
                  <c:v>3.2555999999999998</c:v>
                </c:pt>
                <c:pt idx="6279">
                  <c:v>3.2557999999999998</c:v>
                </c:pt>
                <c:pt idx="6280">
                  <c:v>3.2559998000000001</c:v>
                </c:pt>
                <c:pt idx="6281">
                  <c:v>3.2561998000000001</c:v>
                </c:pt>
                <c:pt idx="6282">
                  <c:v>3.2563998999999999</c:v>
                </c:pt>
                <c:pt idx="6283">
                  <c:v>3.2565998999999999</c:v>
                </c:pt>
                <c:pt idx="6284">
                  <c:v>3.2567998999999999</c:v>
                </c:pt>
                <c:pt idx="6285">
                  <c:v>3.2569997000000002</c:v>
                </c:pt>
                <c:pt idx="6286">
                  <c:v>3.2572000000000001</c:v>
                </c:pt>
                <c:pt idx="6287">
                  <c:v>3.2574000000000001</c:v>
                </c:pt>
                <c:pt idx="6288">
                  <c:v>3.2575997999999999</c:v>
                </c:pt>
                <c:pt idx="6289">
                  <c:v>3.2577999000000002</c:v>
                </c:pt>
                <c:pt idx="6290">
                  <c:v>3.2579999000000002</c:v>
                </c:pt>
                <c:pt idx="6291">
                  <c:v>3.2581999000000001</c:v>
                </c:pt>
                <c:pt idx="6292">
                  <c:v>3.2584</c:v>
                </c:pt>
                <c:pt idx="6293">
                  <c:v>3.2585997999999998</c:v>
                </c:pt>
                <c:pt idx="6294">
                  <c:v>3.2587999999999999</c:v>
                </c:pt>
                <c:pt idx="6295">
                  <c:v>3.2590001000000002</c:v>
                </c:pt>
                <c:pt idx="6296">
                  <c:v>3.2591999</c:v>
                </c:pt>
                <c:pt idx="6297">
                  <c:v>3.2593999</c:v>
                </c:pt>
                <c:pt idx="6298">
                  <c:v>3.2595996999999999</c:v>
                </c:pt>
                <c:pt idx="6299">
                  <c:v>3.2597999999999998</c:v>
                </c:pt>
                <c:pt idx="6300">
                  <c:v>3.26</c:v>
                </c:pt>
                <c:pt idx="6301">
                  <c:v>3.2601998000000001</c:v>
                </c:pt>
                <c:pt idx="6302">
                  <c:v>3.2604001</c:v>
                </c:pt>
                <c:pt idx="6303">
                  <c:v>3.2606001</c:v>
                </c:pt>
                <c:pt idx="6304">
                  <c:v>3.2607998999999999</c:v>
                </c:pt>
                <c:pt idx="6305">
                  <c:v>3.2609998999999998</c:v>
                </c:pt>
                <c:pt idx="6306">
                  <c:v>3.2611997000000001</c:v>
                </c:pt>
                <c:pt idx="6307">
                  <c:v>3.2614000000000001</c:v>
                </c:pt>
                <c:pt idx="6308">
                  <c:v>3.2616000000000001</c:v>
                </c:pt>
                <c:pt idx="6309">
                  <c:v>3.2617997999999999</c:v>
                </c:pt>
                <c:pt idx="6310">
                  <c:v>3.2620000999999998</c:v>
                </c:pt>
                <c:pt idx="6311">
                  <c:v>3.2621999000000002</c:v>
                </c:pt>
                <c:pt idx="6312">
                  <c:v>3.2623999000000001</c:v>
                </c:pt>
                <c:pt idx="6313">
                  <c:v>3.2625999000000001</c:v>
                </c:pt>
                <c:pt idx="6314">
                  <c:v>3.2627997</c:v>
                </c:pt>
                <c:pt idx="6315">
                  <c:v>3.2629999999999999</c:v>
                </c:pt>
                <c:pt idx="6316">
                  <c:v>3.2631998000000002</c:v>
                </c:pt>
                <c:pt idx="6317">
                  <c:v>3.2633998000000002</c:v>
                </c:pt>
                <c:pt idx="6318">
                  <c:v>3.2636001000000001</c:v>
                </c:pt>
                <c:pt idx="6319">
                  <c:v>3.2637999</c:v>
                </c:pt>
                <c:pt idx="6320">
                  <c:v>3.2639999</c:v>
                </c:pt>
                <c:pt idx="6321">
                  <c:v>3.2641996999999998</c:v>
                </c:pt>
                <c:pt idx="6322">
                  <c:v>3.2643998000000001</c:v>
                </c:pt>
                <c:pt idx="6323">
                  <c:v>3.2646000000000002</c:v>
                </c:pt>
                <c:pt idx="6324">
                  <c:v>3.2647998</c:v>
                </c:pt>
                <c:pt idx="6325">
                  <c:v>3.2649998999999998</c:v>
                </c:pt>
                <c:pt idx="6326">
                  <c:v>3.2652000999999999</c:v>
                </c:pt>
                <c:pt idx="6327">
                  <c:v>3.2653998999999998</c:v>
                </c:pt>
                <c:pt idx="6328">
                  <c:v>3.2656000000000001</c:v>
                </c:pt>
                <c:pt idx="6329">
                  <c:v>3.2657997999999999</c:v>
                </c:pt>
                <c:pt idx="6330">
                  <c:v>3.2659997999999999</c:v>
                </c:pt>
                <c:pt idx="6331">
                  <c:v>3.2662000999999998</c:v>
                </c:pt>
                <c:pt idx="6332">
                  <c:v>3.2663999000000001</c:v>
                </c:pt>
                <c:pt idx="6333">
                  <c:v>3.2665999000000001</c:v>
                </c:pt>
                <c:pt idx="6334">
                  <c:v>3.2667999000000001</c:v>
                </c:pt>
                <c:pt idx="6335">
                  <c:v>3.2669999999999999</c:v>
                </c:pt>
                <c:pt idx="6336">
                  <c:v>3.2671999999999999</c:v>
                </c:pt>
                <c:pt idx="6337">
                  <c:v>3.2673998000000002</c:v>
                </c:pt>
                <c:pt idx="6338">
                  <c:v>3.2675998000000002</c:v>
                </c:pt>
                <c:pt idx="6339">
                  <c:v>3.2677999</c:v>
                </c:pt>
                <c:pt idx="6340">
                  <c:v>3.2679999</c:v>
                </c:pt>
                <c:pt idx="6341">
                  <c:v>3.2681998999999999</c:v>
                </c:pt>
                <c:pt idx="6342">
                  <c:v>3.2684000000000002</c:v>
                </c:pt>
                <c:pt idx="6343">
                  <c:v>3.2686000000000002</c:v>
                </c:pt>
                <c:pt idx="6344">
                  <c:v>3.2688000000000001</c:v>
                </c:pt>
                <c:pt idx="6345">
                  <c:v>3.2689998</c:v>
                </c:pt>
                <c:pt idx="6346">
                  <c:v>3.2691998</c:v>
                </c:pt>
                <c:pt idx="6347">
                  <c:v>3.2693998999999998</c:v>
                </c:pt>
                <c:pt idx="6348">
                  <c:v>3.2695998999999998</c:v>
                </c:pt>
                <c:pt idx="6349">
                  <c:v>3.2697999000000002</c:v>
                </c:pt>
                <c:pt idx="6350">
                  <c:v>3.27</c:v>
                </c:pt>
                <c:pt idx="6351">
                  <c:v>3.2702</c:v>
                </c:pt>
                <c:pt idx="6352">
                  <c:v>3.2703997999999999</c:v>
                </c:pt>
                <c:pt idx="6353">
                  <c:v>3.2705997999999998</c:v>
                </c:pt>
                <c:pt idx="6354">
                  <c:v>3.2707999000000001</c:v>
                </c:pt>
                <c:pt idx="6355">
                  <c:v>3.2709999000000001</c:v>
                </c:pt>
                <c:pt idx="6356">
                  <c:v>3.2711999</c:v>
                </c:pt>
                <c:pt idx="6357">
                  <c:v>3.2713996999999999</c:v>
                </c:pt>
                <c:pt idx="6358">
                  <c:v>3.2715999999999998</c:v>
                </c:pt>
                <c:pt idx="6359">
                  <c:v>3.2717999999999998</c:v>
                </c:pt>
                <c:pt idx="6360">
                  <c:v>3.2719998000000001</c:v>
                </c:pt>
                <c:pt idx="6361">
                  <c:v>3.2721998999999999</c:v>
                </c:pt>
                <c:pt idx="6362">
                  <c:v>3.2723996999999998</c:v>
                </c:pt>
                <c:pt idx="6363">
                  <c:v>3.2725998999999999</c:v>
                </c:pt>
                <c:pt idx="6364">
                  <c:v>3.2728000000000002</c:v>
                </c:pt>
                <c:pt idx="6365">
                  <c:v>3.2729998</c:v>
                </c:pt>
                <c:pt idx="6366">
                  <c:v>3.2732000000000001</c:v>
                </c:pt>
                <c:pt idx="6367">
                  <c:v>3.2734000999999999</c:v>
                </c:pt>
                <c:pt idx="6368">
                  <c:v>3.2735998999999998</c:v>
                </c:pt>
                <c:pt idx="6369">
                  <c:v>3.2737999000000002</c:v>
                </c:pt>
                <c:pt idx="6370">
                  <c:v>3.2739997000000001</c:v>
                </c:pt>
                <c:pt idx="6371">
                  <c:v>3.2742</c:v>
                </c:pt>
                <c:pt idx="6372">
                  <c:v>3.2744</c:v>
                </c:pt>
                <c:pt idx="6373">
                  <c:v>3.2745997999999998</c:v>
                </c:pt>
                <c:pt idx="6374">
                  <c:v>3.2748001000000002</c:v>
                </c:pt>
                <c:pt idx="6375">
                  <c:v>3.2749999000000001</c:v>
                </c:pt>
                <c:pt idx="6376">
                  <c:v>3.2751999000000001</c:v>
                </c:pt>
                <c:pt idx="6377">
                  <c:v>3.2753999</c:v>
                </c:pt>
                <c:pt idx="6378">
                  <c:v>3.2755996999999999</c:v>
                </c:pt>
                <c:pt idx="6379">
                  <c:v>3.2757999999999998</c:v>
                </c:pt>
                <c:pt idx="6380">
                  <c:v>3.2759999999999998</c:v>
                </c:pt>
                <c:pt idx="6381">
                  <c:v>3.2761998000000001</c:v>
                </c:pt>
                <c:pt idx="6382">
                  <c:v>3.2764001</c:v>
                </c:pt>
                <c:pt idx="6383">
                  <c:v>3.2765998999999999</c:v>
                </c:pt>
                <c:pt idx="6384">
                  <c:v>3.2767998999999999</c:v>
                </c:pt>
                <c:pt idx="6385">
                  <c:v>3.2770000000000001</c:v>
                </c:pt>
                <c:pt idx="6386">
                  <c:v>3.2771997000000002</c:v>
                </c:pt>
                <c:pt idx="6387">
                  <c:v>3.2774000000000001</c:v>
                </c:pt>
                <c:pt idx="6388">
                  <c:v>3.2775998</c:v>
                </c:pt>
                <c:pt idx="6389">
                  <c:v>3.2777997999999999</c:v>
                </c:pt>
                <c:pt idx="6390">
                  <c:v>3.2780000999999999</c:v>
                </c:pt>
                <c:pt idx="6391">
                  <c:v>3.2781999000000002</c:v>
                </c:pt>
                <c:pt idx="6392">
                  <c:v>3.2783999000000001</c:v>
                </c:pt>
                <c:pt idx="6393">
                  <c:v>3.2785997</c:v>
                </c:pt>
                <c:pt idx="6394">
                  <c:v>3.2787997999999998</c:v>
                </c:pt>
                <c:pt idx="6395">
                  <c:v>3.2789999999999999</c:v>
                </c:pt>
                <c:pt idx="6396">
                  <c:v>3.2791998000000002</c:v>
                </c:pt>
                <c:pt idx="6397">
                  <c:v>3.2793999</c:v>
                </c:pt>
                <c:pt idx="6398">
                  <c:v>3.2796001000000001</c:v>
                </c:pt>
                <c:pt idx="6399">
                  <c:v>3.2797999</c:v>
                </c:pt>
                <c:pt idx="6400">
                  <c:v>3.28</c:v>
                </c:pt>
                <c:pt idx="6401">
                  <c:v>3.2801998000000001</c:v>
                </c:pt>
                <c:pt idx="6402">
                  <c:v>3.2803998000000001</c:v>
                </c:pt>
                <c:pt idx="6403">
                  <c:v>3.2806001</c:v>
                </c:pt>
                <c:pt idx="6404">
                  <c:v>3.2807998999999999</c:v>
                </c:pt>
                <c:pt idx="6405">
                  <c:v>3.2809998999999999</c:v>
                </c:pt>
                <c:pt idx="6406">
                  <c:v>3.2811998999999998</c:v>
                </c:pt>
                <c:pt idx="6407">
                  <c:v>3.2814000000000001</c:v>
                </c:pt>
                <c:pt idx="6408">
                  <c:v>3.2816000000000001</c:v>
                </c:pt>
                <c:pt idx="6409">
                  <c:v>3.2817997999999999</c:v>
                </c:pt>
                <c:pt idx="6410">
                  <c:v>3.2819997999999999</c:v>
                </c:pt>
                <c:pt idx="6411">
                  <c:v>3.2821999000000002</c:v>
                </c:pt>
                <c:pt idx="6412">
                  <c:v>3.2823999000000001</c:v>
                </c:pt>
                <c:pt idx="6413">
                  <c:v>3.2825999000000001</c:v>
                </c:pt>
                <c:pt idx="6414">
                  <c:v>3.2827999999999999</c:v>
                </c:pt>
                <c:pt idx="6415">
                  <c:v>3.2829999999999999</c:v>
                </c:pt>
                <c:pt idx="6416">
                  <c:v>3.2831999999999999</c:v>
                </c:pt>
                <c:pt idx="6417">
                  <c:v>3.2833998000000002</c:v>
                </c:pt>
                <c:pt idx="6418">
                  <c:v>3.2835999</c:v>
                </c:pt>
                <c:pt idx="6419">
                  <c:v>3.2837999</c:v>
                </c:pt>
                <c:pt idx="6420">
                  <c:v>3.2839999</c:v>
                </c:pt>
                <c:pt idx="6421">
                  <c:v>3.2841999999999998</c:v>
                </c:pt>
                <c:pt idx="6422">
                  <c:v>3.2844000000000002</c:v>
                </c:pt>
                <c:pt idx="6423">
                  <c:v>3.2846000000000002</c:v>
                </c:pt>
                <c:pt idx="6424">
                  <c:v>3.2847998</c:v>
                </c:pt>
                <c:pt idx="6425">
                  <c:v>3.2849998</c:v>
                </c:pt>
                <c:pt idx="6426">
                  <c:v>3.2851998999999998</c:v>
                </c:pt>
                <c:pt idx="6427">
                  <c:v>3.2853998999999998</c:v>
                </c:pt>
                <c:pt idx="6428">
                  <c:v>3.2855998999999998</c:v>
                </c:pt>
                <c:pt idx="6429">
                  <c:v>3.2857997000000001</c:v>
                </c:pt>
                <c:pt idx="6430">
                  <c:v>3.286</c:v>
                </c:pt>
                <c:pt idx="6431">
                  <c:v>3.2862</c:v>
                </c:pt>
                <c:pt idx="6432">
                  <c:v>3.2863997999999999</c:v>
                </c:pt>
                <c:pt idx="6433">
                  <c:v>3.2865999000000001</c:v>
                </c:pt>
                <c:pt idx="6434">
                  <c:v>3.2867997</c:v>
                </c:pt>
                <c:pt idx="6435">
                  <c:v>3.2869999000000001</c:v>
                </c:pt>
                <c:pt idx="6436">
                  <c:v>3.2871999999999999</c:v>
                </c:pt>
                <c:pt idx="6437">
                  <c:v>3.2873998000000002</c:v>
                </c:pt>
                <c:pt idx="6438">
                  <c:v>3.2875999999999999</c:v>
                </c:pt>
                <c:pt idx="6439">
                  <c:v>3.2878001000000001</c:v>
                </c:pt>
                <c:pt idx="6440">
                  <c:v>3.2879999</c:v>
                </c:pt>
                <c:pt idx="6441">
                  <c:v>3.2881999</c:v>
                </c:pt>
                <c:pt idx="6442">
                  <c:v>3.2883996999999998</c:v>
                </c:pt>
                <c:pt idx="6443">
                  <c:v>3.2886000000000002</c:v>
                </c:pt>
                <c:pt idx="6444">
                  <c:v>3.2888000000000002</c:v>
                </c:pt>
                <c:pt idx="6445">
                  <c:v>3.2889998</c:v>
                </c:pt>
                <c:pt idx="6446">
                  <c:v>3.2892001</c:v>
                </c:pt>
                <c:pt idx="6447">
                  <c:v>3.2893998999999998</c:v>
                </c:pt>
                <c:pt idx="6448">
                  <c:v>3.2895998999999998</c:v>
                </c:pt>
                <c:pt idx="6449">
                  <c:v>3.2897999000000002</c:v>
                </c:pt>
                <c:pt idx="6450">
                  <c:v>3.2899997000000001</c:v>
                </c:pt>
                <c:pt idx="6451">
                  <c:v>3.2902</c:v>
                </c:pt>
                <c:pt idx="6452">
                  <c:v>3.2903997999999999</c:v>
                </c:pt>
                <c:pt idx="6453">
                  <c:v>3.2905997999999999</c:v>
                </c:pt>
                <c:pt idx="6454">
                  <c:v>3.2908000999999998</c:v>
                </c:pt>
                <c:pt idx="6455">
                  <c:v>3.2909999000000001</c:v>
                </c:pt>
                <c:pt idx="6456">
                  <c:v>3.2911999000000001</c:v>
                </c:pt>
                <c:pt idx="6457">
                  <c:v>3.2913999999999999</c:v>
                </c:pt>
                <c:pt idx="6458">
                  <c:v>3.2915998000000002</c:v>
                </c:pt>
                <c:pt idx="6459">
                  <c:v>3.2917999999999998</c:v>
                </c:pt>
                <c:pt idx="6460">
                  <c:v>3.2919998000000001</c:v>
                </c:pt>
                <c:pt idx="6461">
                  <c:v>3.2921999</c:v>
                </c:pt>
                <c:pt idx="6462">
                  <c:v>3.2924001000000001</c:v>
                </c:pt>
                <c:pt idx="6463">
                  <c:v>3.2925998999999999</c:v>
                </c:pt>
                <c:pt idx="6464">
                  <c:v>3.2927998999999999</c:v>
                </c:pt>
                <c:pt idx="6465">
                  <c:v>3.2929997000000002</c:v>
                </c:pt>
                <c:pt idx="6466">
                  <c:v>3.2931998</c:v>
                </c:pt>
                <c:pt idx="6467">
                  <c:v>3.2934000000000001</c:v>
                </c:pt>
                <c:pt idx="6468">
                  <c:v>3.2935998</c:v>
                </c:pt>
                <c:pt idx="6469">
                  <c:v>3.2937998999999998</c:v>
                </c:pt>
                <c:pt idx="6470">
                  <c:v>3.2940000999999999</c:v>
                </c:pt>
                <c:pt idx="6471">
                  <c:v>3.2941999000000002</c:v>
                </c:pt>
                <c:pt idx="6472">
                  <c:v>3.2944</c:v>
                </c:pt>
                <c:pt idx="6473">
                  <c:v>3.2945997999999999</c:v>
                </c:pt>
                <c:pt idx="6474">
                  <c:v>3.2947997999999998</c:v>
                </c:pt>
                <c:pt idx="6475">
                  <c:v>3.2950001000000002</c:v>
                </c:pt>
                <c:pt idx="6476">
                  <c:v>3.2951999000000001</c:v>
                </c:pt>
                <c:pt idx="6477">
                  <c:v>3.2953999</c:v>
                </c:pt>
                <c:pt idx="6478">
                  <c:v>3.2955999</c:v>
                </c:pt>
                <c:pt idx="6479">
                  <c:v>3.2957999999999998</c:v>
                </c:pt>
                <c:pt idx="6480">
                  <c:v>3.2959999999999998</c:v>
                </c:pt>
                <c:pt idx="6481">
                  <c:v>3.2961998000000001</c:v>
                </c:pt>
                <c:pt idx="6482">
                  <c:v>3.2963998000000001</c:v>
                </c:pt>
                <c:pt idx="6483">
                  <c:v>3.2965998999999999</c:v>
                </c:pt>
                <c:pt idx="6484">
                  <c:v>3.2967998999999999</c:v>
                </c:pt>
                <c:pt idx="6485">
                  <c:v>3.2969998999999999</c:v>
                </c:pt>
                <c:pt idx="6486">
                  <c:v>3.2972000000000001</c:v>
                </c:pt>
                <c:pt idx="6487">
                  <c:v>3.2974000000000001</c:v>
                </c:pt>
                <c:pt idx="6488">
                  <c:v>3.2975998</c:v>
                </c:pt>
                <c:pt idx="6489">
                  <c:v>3.2977997999999999</c:v>
                </c:pt>
                <c:pt idx="6490">
                  <c:v>3.2979999000000002</c:v>
                </c:pt>
                <c:pt idx="6491">
                  <c:v>3.2981999000000002</c:v>
                </c:pt>
                <c:pt idx="6492">
                  <c:v>3.2983999000000002</c:v>
                </c:pt>
                <c:pt idx="6493">
                  <c:v>3.2986</c:v>
                </c:pt>
                <c:pt idx="6494">
                  <c:v>3.2988</c:v>
                </c:pt>
                <c:pt idx="6495">
                  <c:v>3.2989999999999999</c:v>
                </c:pt>
                <c:pt idx="6496">
                  <c:v>3.2991997999999998</c:v>
                </c:pt>
                <c:pt idx="6497">
                  <c:v>3.2993999000000001</c:v>
                </c:pt>
                <c:pt idx="6498">
                  <c:v>3.2995999</c:v>
                </c:pt>
                <c:pt idx="6499">
                  <c:v>3.2997999</c:v>
                </c:pt>
                <c:pt idx="6500">
                  <c:v>3.3</c:v>
                </c:pt>
                <c:pt idx="6501">
                  <c:v>3.3001996999999998</c:v>
                </c:pt>
                <c:pt idx="6502">
                  <c:v>3.3003999999999998</c:v>
                </c:pt>
                <c:pt idx="6503">
                  <c:v>3.3006001</c:v>
                </c:pt>
                <c:pt idx="6504">
                  <c:v>3.3007998000000001</c:v>
                </c:pt>
                <c:pt idx="6505">
                  <c:v>3.3009998999999999</c:v>
                </c:pt>
                <c:pt idx="6506">
                  <c:v>3.3011997000000002</c:v>
                </c:pt>
                <c:pt idx="6507">
                  <c:v>3.3013998999999998</c:v>
                </c:pt>
                <c:pt idx="6508">
                  <c:v>3.3016000000000001</c:v>
                </c:pt>
                <c:pt idx="6509">
                  <c:v>3.3017998</c:v>
                </c:pt>
                <c:pt idx="6510">
                  <c:v>3.302</c:v>
                </c:pt>
                <c:pt idx="6511">
                  <c:v>3.3022000999999999</c:v>
                </c:pt>
                <c:pt idx="6512">
                  <c:v>3.3023999000000002</c:v>
                </c:pt>
                <c:pt idx="6513">
                  <c:v>3.3025999000000001</c:v>
                </c:pt>
                <c:pt idx="6514">
                  <c:v>3.3027997</c:v>
                </c:pt>
                <c:pt idx="6515">
                  <c:v>3.3029999999999999</c:v>
                </c:pt>
                <c:pt idx="6516">
                  <c:v>3.3031999999999999</c:v>
                </c:pt>
                <c:pt idx="6517">
                  <c:v>3.3033998000000002</c:v>
                </c:pt>
                <c:pt idx="6518">
                  <c:v>3.3036001000000002</c:v>
                </c:pt>
                <c:pt idx="6519">
                  <c:v>3.3037999</c:v>
                </c:pt>
                <c:pt idx="6520">
                  <c:v>3.3039999</c:v>
                </c:pt>
                <c:pt idx="6521">
                  <c:v>3.3041999</c:v>
                </c:pt>
                <c:pt idx="6522">
                  <c:v>3.3043996999999998</c:v>
                </c:pt>
                <c:pt idx="6523">
                  <c:v>3.3046000000000002</c:v>
                </c:pt>
                <c:pt idx="6524">
                  <c:v>3.3047998000000001</c:v>
                </c:pt>
                <c:pt idx="6525">
                  <c:v>3.3049998</c:v>
                </c:pt>
                <c:pt idx="6526">
                  <c:v>3.3052001</c:v>
                </c:pt>
                <c:pt idx="6527">
                  <c:v>3.3053998999999998</c:v>
                </c:pt>
                <c:pt idx="6528">
                  <c:v>3.3055998999999998</c:v>
                </c:pt>
                <c:pt idx="6529">
                  <c:v>3.3058000000000001</c:v>
                </c:pt>
                <c:pt idx="6530">
                  <c:v>3.3059997999999999</c:v>
                </c:pt>
                <c:pt idx="6531">
                  <c:v>3.3062</c:v>
                </c:pt>
                <c:pt idx="6532">
                  <c:v>3.3063997999999999</c:v>
                </c:pt>
                <c:pt idx="6533">
                  <c:v>3.3065999000000001</c:v>
                </c:pt>
                <c:pt idx="6534">
                  <c:v>3.3068000999999998</c:v>
                </c:pt>
                <c:pt idx="6535">
                  <c:v>3.3069999000000001</c:v>
                </c:pt>
                <c:pt idx="6536">
                  <c:v>3.3071999999999999</c:v>
                </c:pt>
                <c:pt idx="6537">
                  <c:v>3.3073996999999999</c:v>
                </c:pt>
                <c:pt idx="6538">
                  <c:v>3.3075998000000002</c:v>
                </c:pt>
                <c:pt idx="6539">
                  <c:v>3.3078001000000001</c:v>
                </c:pt>
                <c:pt idx="6540">
                  <c:v>3.3079998000000002</c:v>
                </c:pt>
                <c:pt idx="6541">
                  <c:v>3.3081999</c:v>
                </c:pt>
                <c:pt idx="6542">
                  <c:v>3.3083998999999999</c:v>
                </c:pt>
                <c:pt idx="6543">
                  <c:v>3.3085998999999999</c:v>
                </c:pt>
                <c:pt idx="6544">
                  <c:v>3.3088000000000002</c:v>
                </c:pt>
                <c:pt idx="6545">
                  <c:v>3.3089998</c:v>
                </c:pt>
                <c:pt idx="6546">
                  <c:v>3.3091998</c:v>
                </c:pt>
                <c:pt idx="6547">
                  <c:v>3.3094001</c:v>
                </c:pt>
                <c:pt idx="6548">
                  <c:v>3.3095998999999998</c:v>
                </c:pt>
                <c:pt idx="6549">
                  <c:v>3.3097998999999998</c:v>
                </c:pt>
                <c:pt idx="6550">
                  <c:v>3.3099999000000002</c:v>
                </c:pt>
                <c:pt idx="6551">
                  <c:v>3.3102</c:v>
                </c:pt>
                <c:pt idx="6552">
                  <c:v>3.3104</c:v>
                </c:pt>
                <c:pt idx="6553">
                  <c:v>3.3105997999999999</c:v>
                </c:pt>
                <c:pt idx="6554">
                  <c:v>3.3107997999999998</c:v>
                </c:pt>
                <c:pt idx="6555">
                  <c:v>3.3109999000000001</c:v>
                </c:pt>
                <c:pt idx="6556">
                  <c:v>3.3111999000000001</c:v>
                </c:pt>
                <c:pt idx="6557">
                  <c:v>3.3113999000000001</c:v>
                </c:pt>
                <c:pt idx="6558">
                  <c:v>3.3115999999999999</c:v>
                </c:pt>
                <c:pt idx="6559">
                  <c:v>3.3117999999999999</c:v>
                </c:pt>
                <c:pt idx="6560">
                  <c:v>3.3119998000000002</c:v>
                </c:pt>
                <c:pt idx="6561">
                  <c:v>3.3121998000000001</c:v>
                </c:pt>
                <c:pt idx="6562">
                  <c:v>3.3123999</c:v>
                </c:pt>
                <c:pt idx="6563">
                  <c:v>3.3125998999999999</c:v>
                </c:pt>
                <c:pt idx="6564">
                  <c:v>3.3127998999999999</c:v>
                </c:pt>
                <c:pt idx="6565">
                  <c:v>3.3129997000000002</c:v>
                </c:pt>
                <c:pt idx="6566">
                  <c:v>3.3132000000000001</c:v>
                </c:pt>
                <c:pt idx="6567">
                  <c:v>3.3134000000000001</c:v>
                </c:pt>
                <c:pt idx="6568">
                  <c:v>3.3135998</c:v>
                </c:pt>
                <c:pt idx="6569">
                  <c:v>3.3137998999999998</c:v>
                </c:pt>
                <c:pt idx="6570">
                  <c:v>3.3139999000000002</c:v>
                </c:pt>
                <c:pt idx="6571">
                  <c:v>3.3141999000000002</c:v>
                </c:pt>
                <c:pt idx="6572">
                  <c:v>3.3144</c:v>
                </c:pt>
                <c:pt idx="6573">
                  <c:v>3.3145997999999999</c:v>
                </c:pt>
                <c:pt idx="6574">
                  <c:v>3.3148</c:v>
                </c:pt>
                <c:pt idx="6575">
                  <c:v>3.3150000999999998</c:v>
                </c:pt>
                <c:pt idx="6576">
                  <c:v>3.3151999000000001</c:v>
                </c:pt>
                <c:pt idx="6577">
                  <c:v>3.3153999000000001</c:v>
                </c:pt>
                <c:pt idx="6578">
                  <c:v>3.3155996999999999</c:v>
                </c:pt>
                <c:pt idx="6579">
                  <c:v>3.3157999999999999</c:v>
                </c:pt>
                <c:pt idx="6580">
                  <c:v>3.3159999999999998</c:v>
                </c:pt>
                <c:pt idx="6581">
                  <c:v>3.3161998000000001</c:v>
                </c:pt>
                <c:pt idx="6582">
                  <c:v>3.3164001000000001</c:v>
                </c:pt>
                <c:pt idx="6583">
                  <c:v>3.3166001000000001</c:v>
                </c:pt>
                <c:pt idx="6584">
                  <c:v>3.3167998999999999</c:v>
                </c:pt>
                <c:pt idx="6585">
                  <c:v>3.3169998999999999</c:v>
                </c:pt>
                <c:pt idx="6586">
                  <c:v>3.3171997000000002</c:v>
                </c:pt>
                <c:pt idx="6587">
                  <c:v>3.3174000000000001</c:v>
                </c:pt>
                <c:pt idx="6588">
                  <c:v>3.3176000000000001</c:v>
                </c:pt>
                <c:pt idx="6589">
                  <c:v>3.3177998</c:v>
                </c:pt>
                <c:pt idx="6590">
                  <c:v>3.3180000999999999</c:v>
                </c:pt>
                <c:pt idx="6591">
                  <c:v>3.3181999000000002</c:v>
                </c:pt>
                <c:pt idx="6592">
                  <c:v>3.3183999000000002</c:v>
                </c:pt>
                <c:pt idx="6593">
                  <c:v>3.3185999000000002</c:v>
                </c:pt>
                <c:pt idx="6594">
                  <c:v>3.3187997</c:v>
                </c:pt>
                <c:pt idx="6595">
                  <c:v>3.319</c:v>
                </c:pt>
                <c:pt idx="6596">
                  <c:v>3.3191997999999998</c:v>
                </c:pt>
                <c:pt idx="6597">
                  <c:v>3.3193997999999998</c:v>
                </c:pt>
                <c:pt idx="6598">
                  <c:v>3.3196001000000002</c:v>
                </c:pt>
                <c:pt idx="6599">
                  <c:v>3.3197999</c:v>
                </c:pt>
                <c:pt idx="6600">
                  <c:v>3.3199999</c:v>
                </c:pt>
                <c:pt idx="6601">
                  <c:v>3.3201996999999999</c:v>
                </c:pt>
                <c:pt idx="6602">
                  <c:v>3.3203998000000001</c:v>
                </c:pt>
                <c:pt idx="6603">
                  <c:v>3.3206000000000002</c:v>
                </c:pt>
                <c:pt idx="6604">
                  <c:v>3.3207998000000001</c:v>
                </c:pt>
                <c:pt idx="6605">
                  <c:v>3.3209998999999999</c:v>
                </c:pt>
                <c:pt idx="6606">
                  <c:v>3.3212001</c:v>
                </c:pt>
                <c:pt idx="6607">
                  <c:v>3.3213998999999998</c:v>
                </c:pt>
                <c:pt idx="6608">
                  <c:v>3.3216000000000001</c:v>
                </c:pt>
                <c:pt idx="6609">
                  <c:v>3.3217998</c:v>
                </c:pt>
                <c:pt idx="6610">
                  <c:v>3.3219997999999999</c:v>
                </c:pt>
                <c:pt idx="6611">
                  <c:v>3.3222000999999999</c:v>
                </c:pt>
                <c:pt idx="6612">
                  <c:v>3.3223999000000002</c:v>
                </c:pt>
                <c:pt idx="6613">
                  <c:v>3.3225999000000002</c:v>
                </c:pt>
                <c:pt idx="6614">
                  <c:v>3.3227999000000001</c:v>
                </c:pt>
                <c:pt idx="6615">
                  <c:v>3.323</c:v>
                </c:pt>
                <c:pt idx="6616">
                  <c:v>3.3231999999999999</c:v>
                </c:pt>
                <c:pt idx="6617">
                  <c:v>3.3233997999999998</c:v>
                </c:pt>
                <c:pt idx="6618">
                  <c:v>3.3235998000000002</c:v>
                </c:pt>
                <c:pt idx="6619">
                  <c:v>3.3238001000000001</c:v>
                </c:pt>
                <c:pt idx="6620">
                  <c:v>3.3239999</c:v>
                </c:pt>
                <c:pt idx="6621">
                  <c:v>3.3241999</c:v>
                </c:pt>
                <c:pt idx="6622">
                  <c:v>3.3243999</c:v>
                </c:pt>
                <c:pt idx="6623">
                  <c:v>3.3246000000000002</c:v>
                </c:pt>
                <c:pt idx="6624">
                  <c:v>3.3248000000000002</c:v>
                </c:pt>
                <c:pt idx="6625">
                  <c:v>3.3249998000000001</c:v>
                </c:pt>
                <c:pt idx="6626">
                  <c:v>3.3251998</c:v>
                </c:pt>
                <c:pt idx="6627">
                  <c:v>3.3253998999999999</c:v>
                </c:pt>
                <c:pt idx="6628">
                  <c:v>3.3255998999999998</c:v>
                </c:pt>
                <c:pt idx="6629">
                  <c:v>3.3257998999999998</c:v>
                </c:pt>
                <c:pt idx="6630">
                  <c:v>3.3260000000000001</c:v>
                </c:pt>
                <c:pt idx="6631">
                  <c:v>3.3262</c:v>
                </c:pt>
                <c:pt idx="6632">
                  <c:v>3.3263997999999999</c:v>
                </c:pt>
                <c:pt idx="6633">
                  <c:v>3.3265997999999999</c:v>
                </c:pt>
                <c:pt idx="6634">
                  <c:v>3.3267999000000001</c:v>
                </c:pt>
                <c:pt idx="6635">
                  <c:v>3.3269999000000001</c:v>
                </c:pt>
                <c:pt idx="6636">
                  <c:v>3.3271999000000001</c:v>
                </c:pt>
                <c:pt idx="6637">
                  <c:v>3.3273997</c:v>
                </c:pt>
                <c:pt idx="6638">
                  <c:v>3.3275999999999999</c:v>
                </c:pt>
                <c:pt idx="6639">
                  <c:v>3.3277999999999999</c:v>
                </c:pt>
                <c:pt idx="6640">
                  <c:v>3.3279998000000002</c:v>
                </c:pt>
                <c:pt idx="6641">
                  <c:v>3.3281999</c:v>
                </c:pt>
                <c:pt idx="6642">
                  <c:v>3.3283999</c:v>
                </c:pt>
                <c:pt idx="6643">
                  <c:v>3.3285998999999999</c:v>
                </c:pt>
                <c:pt idx="6644">
                  <c:v>3.3288000000000002</c:v>
                </c:pt>
                <c:pt idx="6645">
                  <c:v>3.3289998000000001</c:v>
                </c:pt>
                <c:pt idx="6646">
                  <c:v>3.3292000000000002</c:v>
                </c:pt>
                <c:pt idx="6647">
                  <c:v>3.3294001</c:v>
                </c:pt>
                <c:pt idx="6648">
                  <c:v>3.3295998999999998</c:v>
                </c:pt>
                <c:pt idx="6649">
                  <c:v>3.3297998999999998</c:v>
                </c:pt>
                <c:pt idx="6650">
                  <c:v>3.3299997000000001</c:v>
                </c:pt>
                <c:pt idx="6651">
                  <c:v>3.3302</c:v>
                </c:pt>
                <c:pt idx="6652">
                  <c:v>3.3304</c:v>
                </c:pt>
                <c:pt idx="6653">
                  <c:v>3.3305997999999999</c:v>
                </c:pt>
                <c:pt idx="6654">
                  <c:v>3.3308000999999998</c:v>
                </c:pt>
                <c:pt idx="6655">
                  <c:v>3.3309999000000001</c:v>
                </c:pt>
                <c:pt idx="6656">
                  <c:v>3.3311999000000001</c:v>
                </c:pt>
                <c:pt idx="6657">
                  <c:v>3.3313999000000001</c:v>
                </c:pt>
                <c:pt idx="6658">
                  <c:v>3.3315996999999999</c:v>
                </c:pt>
                <c:pt idx="6659">
                  <c:v>3.3317999999999999</c:v>
                </c:pt>
                <c:pt idx="6660">
                  <c:v>3.3319999999999999</c:v>
                </c:pt>
                <c:pt idx="6661">
                  <c:v>3.3321998000000002</c:v>
                </c:pt>
                <c:pt idx="6662">
                  <c:v>3.3324001000000001</c:v>
                </c:pt>
                <c:pt idx="6663">
                  <c:v>3.3325998999999999</c:v>
                </c:pt>
                <c:pt idx="6664">
                  <c:v>3.3327998999999999</c:v>
                </c:pt>
                <c:pt idx="6665">
                  <c:v>3.3329998999999999</c:v>
                </c:pt>
                <c:pt idx="6666">
                  <c:v>3.3331997000000002</c:v>
                </c:pt>
                <c:pt idx="6667">
                  <c:v>3.3334000000000001</c:v>
                </c:pt>
                <c:pt idx="6668">
                  <c:v>3.3335998</c:v>
                </c:pt>
                <c:pt idx="6669">
                  <c:v>3.3337998</c:v>
                </c:pt>
                <c:pt idx="6670">
                  <c:v>3.3340000999999999</c:v>
                </c:pt>
                <c:pt idx="6671">
                  <c:v>3.3341999000000002</c:v>
                </c:pt>
                <c:pt idx="6672">
                  <c:v>3.3343999000000002</c:v>
                </c:pt>
                <c:pt idx="6673">
                  <c:v>3.3345997000000001</c:v>
                </c:pt>
                <c:pt idx="6674">
                  <c:v>3.3347997999999999</c:v>
                </c:pt>
                <c:pt idx="6675">
                  <c:v>3.335</c:v>
                </c:pt>
                <c:pt idx="6676">
                  <c:v>3.3351997999999998</c:v>
                </c:pt>
                <c:pt idx="6677">
                  <c:v>3.3353999000000001</c:v>
                </c:pt>
                <c:pt idx="6678">
                  <c:v>3.3356001000000002</c:v>
                </c:pt>
                <c:pt idx="6679">
                  <c:v>3.3357999</c:v>
                </c:pt>
                <c:pt idx="6680">
                  <c:v>3.3359999999999999</c:v>
                </c:pt>
                <c:pt idx="6681">
                  <c:v>3.3361998000000002</c:v>
                </c:pt>
                <c:pt idx="6682">
                  <c:v>3.3363998000000001</c:v>
                </c:pt>
                <c:pt idx="6683">
                  <c:v>3.3366001000000001</c:v>
                </c:pt>
                <c:pt idx="6684">
                  <c:v>3.3367998999999999</c:v>
                </c:pt>
                <c:pt idx="6685">
                  <c:v>3.3369998999999999</c:v>
                </c:pt>
                <c:pt idx="6686">
                  <c:v>3.3371998999999999</c:v>
                </c:pt>
                <c:pt idx="6687">
                  <c:v>3.3374000000000001</c:v>
                </c:pt>
                <c:pt idx="6688">
                  <c:v>3.3376000000000001</c:v>
                </c:pt>
                <c:pt idx="6689">
                  <c:v>3.3377998</c:v>
                </c:pt>
                <c:pt idx="6690">
                  <c:v>3.3379998</c:v>
                </c:pt>
                <c:pt idx="6691">
                  <c:v>3.3381999000000002</c:v>
                </c:pt>
                <c:pt idx="6692">
                  <c:v>3.3383999000000002</c:v>
                </c:pt>
                <c:pt idx="6693">
                  <c:v>3.3385999000000002</c:v>
                </c:pt>
                <c:pt idx="6694">
                  <c:v>3.3388</c:v>
                </c:pt>
                <c:pt idx="6695">
                  <c:v>3.339</c:v>
                </c:pt>
                <c:pt idx="6696">
                  <c:v>3.3391999999999999</c:v>
                </c:pt>
                <c:pt idx="6697">
                  <c:v>3.3393997999999998</c:v>
                </c:pt>
                <c:pt idx="6698">
                  <c:v>3.3395997999999998</c:v>
                </c:pt>
                <c:pt idx="6699">
                  <c:v>3.3397999</c:v>
                </c:pt>
                <c:pt idx="6700">
                  <c:v>3.3399999</c:v>
                </c:pt>
                <c:pt idx="6701">
                  <c:v>3.3401999</c:v>
                </c:pt>
                <c:pt idx="6702">
                  <c:v>3.3403999999999998</c:v>
                </c:pt>
                <c:pt idx="6703">
                  <c:v>3.3405999999999998</c:v>
                </c:pt>
                <c:pt idx="6704">
                  <c:v>3.3407998000000001</c:v>
                </c:pt>
                <c:pt idx="6705">
                  <c:v>3.3409998000000001</c:v>
                </c:pt>
                <c:pt idx="6706">
                  <c:v>3.3411998999999999</c:v>
                </c:pt>
                <c:pt idx="6707">
                  <c:v>3.3413998999999999</c:v>
                </c:pt>
                <c:pt idx="6708">
                  <c:v>3.3415998999999998</c:v>
                </c:pt>
                <c:pt idx="6709">
                  <c:v>3.3417997000000002</c:v>
                </c:pt>
                <c:pt idx="6710">
                  <c:v>3.3420000000000001</c:v>
                </c:pt>
                <c:pt idx="6711">
                  <c:v>3.3422000000000001</c:v>
                </c:pt>
                <c:pt idx="6712">
                  <c:v>3.3423997999999999</c:v>
                </c:pt>
                <c:pt idx="6713">
                  <c:v>3.3425999000000002</c:v>
                </c:pt>
                <c:pt idx="6714">
                  <c:v>3.3427997</c:v>
                </c:pt>
                <c:pt idx="6715">
                  <c:v>3.3429999000000001</c:v>
                </c:pt>
                <c:pt idx="6716">
                  <c:v>3.3431999999999999</c:v>
                </c:pt>
                <c:pt idx="6717">
                  <c:v>3.3433997999999998</c:v>
                </c:pt>
                <c:pt idx="6718">
                  <c:v>3.3435999999999999</c:v>
                </c:pt>
                <c:pt idx="6719">
                  <c:v>3.3438001000000002</c:v>
                </c:pt>
                <c:pt idx="6720">
                  <c:v>3.3439999</c:v>
                </c:pt>
                <c:pt idx="6721">
                  <c:v>3.3441999</c:v>
                </c:pt>
                <c:pt idx="6722">
                  <c:v>3.3443996999999999</c:v>
                </c:pt>
                <c:pt idx="6723">
                  <c:v>3.3445999999999998</c:v>
                </c:pt>
                <c:pt idx="6724">
                  <c:v>3.3448000000000002</c:v>
                </c:pt>
                <c:pt idx="6725">
                  <c:v>3.3449998000000001</c:v>
                </c:pt>
                <c:pt idx="6726">
                  <c:v>3.3452001</c:v>
                </c:pt>
                <c:pt idx="6727">
                  <c:v>3.3453998999999999</c:v>
                </c:pt>
                <c:pt idx="6728">
                  <c:v>3.3455998999999998</c:v>
                </c:pt>
                <c:pt idx="6729">
                  <c:v>3.3457998999999998</c:v>
                </c:pt>
                <c:pt idx="6730">
                  <c:v>3.3459997000000001</c:v>
                </c:pt>
                <c:pt idx="6731">
                  <c:v>3.3462000000000001</c:v>
                </c:pt>
                <c:pt idx="6732">
                  <c:v>3.3464</c:v>
                </c:pt>
                <c:pt idx="6733">
                  <c:v>3.3465997999999999</c:v>
                </c:pt>
                <c:pt idx="6734">
                  <c:v>3.3468000999999998</c:v>
                </c:pt>
                <c:pt idx="6735">
                  <c:v>3.3469999000000001</c:v>
                </c:pt>
                <c:pt idx="6736">
                  <c:v>3.3471999000000001</c:v>
                </c:pt>
                <c:pt idx="6737">
                  <c:v>3.3473999999999999</c:v>
                </c:pt>
                <c:pt idx="6738">
                  <c:v>3.3475997</c:v>
                </c:pt>
                <c:pt idx="6739">
                  <c:v>3.3477999999999999</c:v>
                </c:pt>
                <c:pt idx="6740">
                  <c:v>3.3479998000000002</c:v>
                </c:pt>
                <c:pt idx="6741">
                  <c:v>3.3481998000000002</c:v>
                </c:pt>
                <c:pt idx="6742">
                  <c:v>3.3484001000000001</c:v>
                </c:pt>
                <c:pt idx="6743">
                  <c:v>3.3485999</c:v>
                </c:pt>
                <c:pt idx="6744">
                  <c:v>3.3487998999999999</c:v>
                </c:pt>
                <c:pt idx="6745">
                  <c:v>3.3489996999999998</c:v>
                </c:pt>
                <c:pt idx="6746">
                  <c:v>3.3491998000000001</c:v>
                </c:pt>
                <c:pt idx="6747">
                  <c:v>3.3494000000000002</c:v>
                </c:pt>
                <c:pt idx="6748">
                  <c:v>3.3495998</c:v>
                </c:pt>
                <c:pt idx="6749">
                  <c:v>3.3497998999999998</c:v>
                </c:pt>
                <c:pt idx="6750">
                  <c:v>3.3500000999999999</c:v>
                </c:pt>
                <c:pt idx="6751">
                  <c:v>3.3501998999999998</c:v>
                </c:pt>
                <c:pt idx="6752">
                  <c:v>3.3504</c:v>
                </c:pt>
                <c:pt idx="6753">
                  <c:v>3.3505997999999999</c:v>
                </c:pt>
                <c:pt idx="6754">
                  <c:v>3.3507997999999999</c:v>
                </c:pt>
                <c:pt idx="6755">
                  <c:v>3.3510000999999998</c:v>
                </c:pt>
                <c:pt idx="6756">
                  <c:v>3.3511999000000001</c:v>
                </c:pt>
                <c:pt idx="6757">
                  <c:v>3.3513999000000001</c:v>
                </c:pt>
                <c:pt idx="6758">
                  <c:v>3.3515999000000001</c:v>
                </c:pt>
                <c:pt idx="6759">
                  <c:v>3.3517999999999999</c:v>
                </c:pt>
                <c:pt idx="6760">
                  <c:v>3.3519999999999999</c:v>
                </c:pt>
                <c:pt idx="6761">
                  <c:v>3.3521998000000002</c:v>
                </c:pt>
                <c:pt idx="6762">
                  <c:v>3.3523998000000002</c:v>
                </c:pt>
                <c:pt idx="6763">
                  <c:v>3.3525999</c:v>
                </c:pt>
                <c:pt idx="6764">
                  <c:v>3.3527998999999999</c:v>
                </c:pt>
                <c:pt idx="6765">
                  <c:v>3.3529998999999999</c:v>
                </c:pt>
                <c:pt idx="6766">
                  <c:v>3.3532000000000002</c:v>
                </c:pt>
                <c:pt idx="6767">
                  <c:v>3.3534000000000002</c:v>
                </c:pt>
                <c:pt idx="6768">
                  <c:v>3.3535998</c:v>
                </c:pt>
                <c:pt idx="6769">
                  <c:v>3.3537998</c:v>
                </c:pt>
                <c:pt idx="6770">
                  <c:v>3.3539998999999998</c:v>
                </c:pt>
                <c:pt idx="6771">
                  <c:v>3.3541998999999998</c:v>
                </c:pt>
                <c:pt idx="6772">
                  <c:v>3.3543999000000002</c:v>
                </c:pt>
                <c:pt idx="6773">
                  <c:v>3.3546</c:v>
                </c:pt>
                <c:pt idx="6774">
                  <c:v>3.3548</c:v>
                </c:pt>
                <c:pt idx="6775">
                  <c:v>3.355</c:v>
                </c:pt>
                <c:pt idx="6776">
                  <c:v>3.3551997999999998</c:v>
                </c:pt>
                <c:pt idx="6777">
                  <c:v>3.3553997999999998</c:v>
                </c:pt>
                <c:pt idx="6778">
                  <c:v>3.3555999000000001</c:v>
                </c:pt>
                <c:pt idx="6779">
                  <c:v>3.3557999000000001</c:v>
                </c:pt>
                <c:pt idx="6780">
                  <c:v>3.3559999</c:v>
                </c:pt>
                <c:pt idx="6781">
                  <c:v>3.3561996999999999</c:v>
                </c:pt>
                <c:pt idx="6782">
                  <c:v>3.3563999999999998</c:v>
                </c:pt>
                <c:pt idx="6783">
                  <c:v>3.3565999999999998</c:v>
                </c:pt>
                <c:pt idx="6784">
                  <c:v>3.3567998000000001</c:v>
                </c:pt>
                <c:pt idx="6785">
                  <c:v>3.3569998999999999</c:v>
                </c:pt>
                <c:pt idx="6786">
                  <c:v>3.3571996999999998</c:v>
                </c:pt>
                <c:pt idx="6787">
                  <c:v>3.3573998999999999</c:v>
                </c:pt>
                <c:pt idx="6788">
                  <c:v>3.3576000000000001</c:v>
                </c:pt>
                <c:pt idx="6789">
                  <c:v>3.3577998</c:v>
                </c:pt>
                <c:pt idx="6790">
                  <c:v>3.3580000000000001</c:v>
                </c:pt>
                <c:pt idx="6791">
                  <c:v>3.3582000999999999</c:v>
                </c:pt>
                <c:pt idx="6792">
                  <c:v>3.3583999000000002</c:v>
                </c:pt>
                <c:pt idx="6793">
                  <c:v>3.3585999000000002</c:v>
                </c:pt>
                <c:pt idx="6794">
                  <c:v>3.3587997000000001</c:v>
                </c:pt>
                <c:pt idx="6795">
                  <c:v>3.359</c:v>
                </c:pt>
                <c:pt idx="6796">
                  <c:v>3.3592</c:v>
                </c:pt>
                <c:pt idx="6797">
                  <c:v>3.3593997999999998</c:v>
                </c:pt>
                <c:pt idx="6798">
                  <c:v>3.3596001000000002</c:v>
                </c:pt>
                <c:pt idx="6799">
                  <c:v>3.3597999000000001</c:v>
                </c:pt>
                <c:pt idx="6800">
                  <c:v>3.3599999</c:v>
                </c:pt>
                <c:pt idx="6801">
                  <c:v>3.3601999</c:v>
                </c:pt>
                <c:pt idx="6802">
                  <c:v>3.3603996999999999</c:v>
                </c:pt>
                <c:pt idx="6803">
                  <c:v>3.3605999999999998</c:v>
                </c:pt>
                <c:pt idx="6804">
                  <c:v>3.3607998000000001</c:v>
                </c:pt>
                <c:pt idx="6805">
                  <c:v>3.3609998000000001</c:v>
                </c:pt>
                <c:pt idx="6806">
                  <c:v>3.3612001</c:v>
                </c:pt>
                <c:pt idx="6807">
                  <c:v>3.3613998999999999</c:v>
                </c:pt>
                <c:pt idx="6808">
                  <c:v>3.3615998999999999</c:v>
                </c:pt>
                <c:pt idx="6809">
                  <c:v>3.3618000000000001</c:v>
                </c:pt>
                <c:pt idx="6810">
                  <c:v>3.3619998</c:v>
                </c:pt>
                <c:pt idx="6811">
                  <c:v>3.3622000000000001</c:v>
                </c:pt>
                <c:pt idx="6812">
                  <c:v>3.3623997999999999</c:v>
                </c:pt>
                <c:pt idx="6813">
                  <c:v>3.3625997999999999</c:v>
                </c:pt>
                <c:pt idx="6814">
                  <c:v>3.3628000999999998</c:v>
                </c:pt>
                <c:pt idx="6815">
                  <c:v>3.3629999000000002</c:v>
                </c:pt>
                <c:pt idx="6816">
                  <c:v>3.3631999000000001</c:v>
                </c:pt>
                <c:pt idx="6817">
                  <c:v>3.3633997</c:v>
                </c:pt>
                <c:pt idx="6818">
                  <c:v>3.3635997999999998</c:v>
                </c:pt>
                <c:pt idx="6819">
                  <c:v>3.3637999999999999</c:v>
                </c:pt>
                <c:pt idx="6820">
                  <c:v>3.3639998000000002</c:v>
                </c:pt>
                <c:pt idx="6821">
                  <c:v>3.3641999</c:v>
                </c:pt>
                <c:pt idx="6822">
                  <c:v>3.3644001000000001</c:v>
                </c:pt>
                <c:pt idx="6823">
                  <c:v>3.3645999</c:v>
                </c:pt>
                <c:pt idx="6824">
                  <c:v>3.3647999999999998</c:v>
                </c:pt>
                <c:pt idx="6825">
                  <c:v>3.3649998000000001</c:v>
                </c:pt>
                <c:pt idx="6826">
                  <c:v>3.3651998000000001</c:v>
                </c:pt>
                <c:pt idx="6827">
                  <c:v>3.3654001</c:v>
                </c:pt>
                <c:pt idx="6828">
                  <c:v>3.3655998999999999</c:v>
                </c:pt>
                <c:pt idx="6829">
                  <c:v>3.3657998999999998</c:v>
                </c:pt>
                <c:pt idx="6830">
                  <c:v>3.3659998999999998</c:v>
                </c:pt>
                <c:pt idx="6831">
                  <c:v>3.3662000000000001</c:v>
                </c:pt>
                <c:pt idx="6832">
                  <c:v>3.3664000000000001</c:v>
                </c:pt>
                <c:pt idx="6833">
                  <c:v>3.3665997999999999</c:v>
                </c:pt>
                <c:pt idx="6834">
                  <c:v>3.3667997999999999</c:v>
                </c:pt>
                <c:pt idx="6835">
                  <c:v>3.3669999000000002</c:v>
                </c:pt>
                <c:pt idx="6836">
                  <c:v>3.3671999000000001</c:v>
                </c:pt>
                <c:pt idx="6837">
                  <c:v>3.3673999000000001</c:v>
                </c:pt>
                <c:pt idx="6838">
                  <c:v>3.3675999999999999</c:v>
                </c:pt>
                <c:pt idx="6839">
                  <c:v>3.3677999999999999</c:v>
                </c:pt>
                <c:pt idx="6840">
                  <c:v>3.3679998000000002</c:v>
                </c:pt>
                <c:pt idx="6841">
                  <c:v>3.3681998000000002</c:v>
                </c:pt>
                <c:pt idx="6842">
                  <c:v>3.3683999</c:v>
                </c:pt>
                <c:pt idx="6843">
                  <c:v>3.3685999</c:v>
                </c:pt>
                <c:pt idx="6844">
                  <c:v>3.3687999</c:v>
                </c:pt>
                <c:pt idx="6845">
                  <c:v>3.3690000000000002</c:v>
                </c:pt>
                <c:pt idx="6846">
                  <c:v>3.3692000000000002</c:v>
                </c:pt>
                <c:pt idx="6847">
                  <c:v>3.3694000000000002</c:v>
                </c:pt>
                <c:pt idx="6848">
                  <c:v>3.3695998</c:v>
                </c:pt>
                <c:pt idx="6849">
                  <c:v>3.3697998999999998</c:v>
                </c:pt>
                <c:pt idx="6850">
                  <c:v>3.3699998999999998</c:v>
                </c:pt>
                <c:pt idx="6851">
                  <c:v>3.3701998999999998</c:v>
                </c:pt>
                <c:pt idx="6852">
                  <c:v>3.3704000000000001</c:v>
                </c:pt>
                <c:pt idx="6853">
                  <c:v>3.3705997000000001</c:v>
                </c:pt>
                <c:pt idx="6854">
                  <c:v>3.3708</c:v>
                </c:pt>
                <c:pt idx="6855">
                  <c:v>3.3710000999999998</c:v>
                </c:pt>
                <c:pt idx="6856">
                  <c:v>3.3711997999999999</c:v>
                </c:pt>
                <c:pt idx="6857">
                  <c:v>3.3713999000000001</c:v>
                </c:pt>
                <c:pt idx="6858">
                  <c:v>3.3715997</c:v>
                </c:pt>
                <c:pt idx="6859">
                  <c:v>3.3717999000000001</c:v>
                </c:pt>
                <c:pt idx="6860">
                  <c:v>3.3719999999999999</c:v>
                </c:pt>
                <c:pt idx="6861">
                  <c:v>3.3721998000000002</c:v>
                </c:pt>
                <c:pt idx="6862">
                  <c:v>3.3723999999999998</c:v>
                </c:pt>
                <c:pt idx="6863">
                  <c:v>3.3726001000000001</c:v>
                </c:pt>
                <c:pt idx="6864">
                  <c:v>3.3727999</c:v>
                </c:pt>
                <c:pt idx="6865">
                  <c:v>3.3729998999999999</c:v>
                </c:pt>
                <c:pt idx="6866">
                  <c:v>3.3731996999999998</c:v>
                </c:pt>
                <c:pt idx="6867">
                  <c:v>3.3734000000000002</c:v>
                </c:pt>
                <c:pt idx="6868">
                  <c:v>3.3736000000000002</c:v>
                </c:pt>
                <c:pt idx="6869">
                  <c:v>3.3737998</c:v>
                </c:pt>
                <c:pt idx="6870">
                  <c:v>3.3740000999999999</c:v>
                </c:pt>
                <c:pt idx="6871">
                  <c:v>3.3741998999999998</c:v>
                </c:pt>
                <c:pt idx="6872">
                  <c:v>3.3743998999999998</c:v>
                </c:pt>
                <c:pt idx="6873">
                  <c:v>3.3745999000000002</c:v>
                </c:pt>
                <c:pt idx="6874">
                  <c:v>3.3747997000000001</c:v>
                </c:pt>
                <c:pt idx="6875">
                  <c:v>3.375</c:v>
                </c:pt>
                <c:pt idx="6876">
                  <c:v>3.3751997999999999</c:v>
                </c:pt>
                <c:pt idx="6877">
                  <c:v>3.3753997999999998</c:v>
                </c:pt>
                <c:pt idx="6878">
                  <c:v>3.3756001000000002</c:v>
                </c:pt>
                <c:pt idx="6879">
                  <c:v>3.3757999000000001</c:v>
                </c:pt>
                <c:pt idx="6880">
                  <c:v>3.3759999000000001</c:v>
                </c:pt>
                <c:pt idx="6881">
                  <c:v>3.3761996999999999</c:v>
                </c:pt>
                <c:pt idx="6882">
                  <c:v>3.3763998000000002</c:v>
                </c:pt>
                <c:pt idx="6883">
                  <c:v>3.3765999999999998</c:v>
                </c:pt>
                <c:pt idx="6884">
                  <c:v>3.3767998000000001</c:v>
                </c:pt>
                <c:pt idx="6885">
                  <c:v>3.3769998999999999</c:v>
                </c:pt>
                <c:pt idx="6886">
                  <c:v>3.3772001</c:v>
                </c:pt>
                <c:pt idx="6887">
                  <c:v>3.3773998999999999</c:v>
                </c:pt>
                <c:pt idx="6888">
                  <c:v>3.3776000000000002</c:v>
                </c:pt>
                <c:pt idx="6889">
                  <c:v>3.3777997000000002</c:v>
                </c:pt>
                <c:pt idx="6890">
                  <c:v>3.3779998</c:v>
                </c:pt>
                <c:pt idx="6891">
                  <c:v>3.3782000999999999</c:v>
                </c:pt>
                <c:pt idx="6892">
                  <c:v>3.3783998</c:v>
                </c:pt>
                <c:pt idx="6893">
                  <c:v>3.3785999000000002</c:v>
                </c:pt>
                <c:pt idx="6894">
                  <c:v>3.3787999000000002</c:v>
                </c:pt>
                <c:pt idx="6895">
                  <c:v>3.3789999000000002</c:v>
                </c:pt>
                <c:pt idx="6896">
                  <c:v>3.3792</c:v>
                </c:pt>
                <c:pt idx="6897">
                  <c:v>3.3793997999999998</c:v>
                </c:pt>
                <c:pt idx="6898">
                  <c:v>3.3795997999999998</c:v>
                </c:pt>
                <c:pt idx="6899">
                  <c:v>3.3798001000000002</c:v>
                </c:pt>
                <c:pt idx="6900">
                  <c:v>3.3799999000000001</c:v>
                </c:pt>
                <c:pt idx="6901">
                  <c:v>3.3801999</c:v>
                </c:pt>
                <c:pt idx="6902">
                  <c:v>3.3803999</c:v>
                </c:pt>
                <c:pt idx="6903">
                  <c:v>3.3805999999999998</c:v>
                </c:pt>
                <c:pt idx="6904">
                  <c:v>3.3807999999999998</c:v>
                </c:pt>
                <c:pt idx="6905">
                  <c:v>3.3809998000000001</c:v>
                </c:pt>
                <c:pt idx="6906">
                  <c:v>3.3811998000000001</c:v>
                </c:pt>
                <c:pt idx="6907">
                  <c:v>3.3813998999999999</c:v>
                </c:pt>
                <c:pt idx="6908">
                  <c:v>3.3815998999999999</c:v>
                </c:pt>
                <c:pt idx="6909">
                  <c:v>3.3817998999999999</c:v>
                </c:pt>
                <c:pt idx="6910">
                  <c:v>3.3820000000000001</c:v>
                </c:pt>
                <c:pt idx="6911">
                  <c:v>3.3822000000000001</c:v>
                </c:pt>
                <c:pt idx="6912">
                  <c:v>3.3823998</c:v>
                </c:pt>
                <c:pt idx="6913">
                  <c:v>3.3825997999999999</c:v>
                </c:pt>
                <c:pt idx="6914">
                  <c:v>3.3827999000000002</c:v>
                </c:pt>
                <c:pt idx="6915">
                  <c:v>3.3829999000000002</c:v>
                </c:pt>
                <c:pt idx="6916">
                  <c:v>3.3831999000000001</c:v>
                </c:pt>
                <c:pt idx="6917">
                  <c:v>3.3833997</c:v>
                </c:pt>
                <c:pt idx="6918">
                  <c:v>3.3835999999999999</c:v>
                </c:pt>
                <c:pt idx="6919">
                  <c:v>3.3837999999999999</c:v>
                </c:pt>
                <c:pt idx="6920">
                  <c:v>3.3839997999999998</c:v>
                </c:pt>
                <c:pt idx="6921">
                  <c:v>3.3841999</c:v>
                </c:pt>
                <c:pt idx="6922">
                  <c:v>3.3843999</c:v>
                </c:pt>
                <c:pt idx="6923">
                  <c:v>3.3845999</c:v>
                </c:pt>
                <c:pt idx="6924">
                  <c:v>3.3847999999999998</c:v>
                </c:pt>
                <c:pt idx="6925">
                  <c:v>3.3849998000000001</c:v>
                </c:pt>
                <c:pt idx="6926">
                  <c:v>3.3852000000000002</c:v>
                </c:pt>
                <c:pt idx="6927">
                  <c:v>3.3854001</c:v>
                </c:pt>
                <c:pt idx="6928">
                  <c:v>3.3855998999999999</c:v>
                </c:pt>
                <c:pt idx="6929">
                  <c:v>3.3857998999999999</c:v>
                </c:pt>
                <c:pt idx="6930">
                  <c:v>3.3859997000000002</c:v>
                </c:pt>
                <c:pt idx="6931">
                  <c:v>3.3862000000000001</c:v>
                </c:pt>
                <c:pt idx="6932">
                  <c:v>3.3864000000000001</c:v>
                </c:pt>
                <c:pt idx="6933">
                  <c:v>3.3865997999999999</c:v>
                </c:pt>
                <c:pt idx="6934">
                  <c:v>3.3868000999999999</c:v>
                </c:pt>
                <c:pt idx="6935">
                  <c:v>3.3870000999999998</c:v>
                </c:pt>
                <c:pt idx="6936">
                  <c:v>3.3871999000000002</c:v>
                </c:pt>
                <c:pt idx="6937">
                  <c:v>3.3873999000000001</c:v>
                </c:pt>
                <c:pt idx="6938">
                  <c:v>3.3875997</c:v>
                </c:pt>
                <c:pt idx="6939">
                  <c:v>3.3877999999999999</c:v>
                </c:pt>
                <c:pt idx="6940">
                  <c:v>3.3879999999999999</c:v>
                </c:pt>
                <c:pt idx="6941">
                  <c:v>3.3881998000000002</c:v>
                </c:pt>
                <c:pt idx="6942">
                  <c:v>3.3884001000000001</c:v>
                </c:pt>
                <c:pt idx="6943">
                  <c:v>3.3885999</c:v>
                </c:pt>
                <c:pt idx="6944">
                  <c:v>3.3887999</c:v>
                </c:pt>
                <c:pt idx="6945">
                  <c:v>3.3889999</c:v>
                </c:pt>
                <c:pt idx="6946">
                  <c:v>3.3891996999999998</c:v>
                </c:pt>
                <c:pt idx="6947">
                  <c:v>3.3894000000000002</c:v>
                </c:pt>
                <c:pt idx="6948">
                  <c:v>3.3895998000000001</c:v>
                </c:pt>
                <c:pt idx="6949">
                  <c:v>3.3897998</c:v>
                </c:pt>
                <c:pt idx="6950">
                  <c:v>3.3900001</c:v>
                </c:pt>
                <c:pt idx="6951">
                  <c:v>3.3901998999999998</c:v>
                </c:pt>
                <c:pt idx="6952">
                  <c:v>3.3903998999999998</c:v>
                </c:pt>
                <c:pt idx="6953">
                  <c:v>3.3905997000000001</c:v>
                </c:pt>
                <c:pt idx="6954">
                  <c:v>3.3907997999999999</c:v>
                </c:pt>
                <c:pt idx="6955">
                  <c:v>3.391</c:v>
                </c:pt>
                <c:pt idx="6956">
                  <c:v>3.3911997999999999</c:v>
                </c:pt>
                <c:pt idx="6957">
                  <c:v>3.3913999000000001</c:v>
                </c:pt>
                <c:pt idx="6958">
                  <c:v>3.3916000999999998</c:v>
                </c:pt>
                <c:pt idx="6959">
                  <c:v>3.3917999000000001</c:v>
                </c:pt>
                <c:pt idx="6960">
                  <c:v>3.3919999999999999</c:v>
                </c:pt>
                <c:pt idx="6961">
                  <c:v>3.3921998000000002</c:v>
                </c:pt>
                <c:pt idx="6962">
                  <c:v>3.3923998000000002</c:v>
                </c:pt>
                <c:pt idx="6963">
                  <c:v>3.3926001000000001</c:v>
                </c:pt>
                <c:pt idx="6964">
                  <c:v>3.3927999</c:v>
                </c:pt>
                <c:pt idx="6965">
                  <c:v>3.3929999</c:v>
                </c:pt>
                <c:pt idx="6966">
                  <c:v>3.3931998999999999</c:v>
                </c:pt>
                <c:pt idx="6967">
                  <c:v>3.3934000000000002</c:v>
                </c:pt>
                <c:pt idx="6968">
                  <c:v>3.3936000000000002</c:v>
                </c:pt>
                <c:pt idx="6969">
                  <c:v>3.3937998</c:v>
                </c:pt>
                <c:pt idx="6970">
                  <c:v>3.3939998</c:v>
                </c:pt>
                <c:pt idx="6971">
                  <c:v>3.3942000999999999</c:v>
                </c:pt>
                <c:pt idx="6972">
                  <c:v>3.3943998999999998</c:v>
                </c:pt>
                <c:pt idx="6973">
                  <c:v>3.3945998999999998</c:v>
                </c:pt>
                <c:pt idx="6974">
                  <c:v>3.3947999000000002</c:v>
                </c:pt>
                <c:pt idx="6975">
                  <c:v>3.395</c:v>
                </c:pt>
                <c:pt idx="6976">
                  <c:v>3.3952</c:v>
                </c:pt>
                <c:pt idx="6977">
                  <c:v>3.3953997999999999</c:v>
                </c:pt>
                <c:pt idx="6978">
                  <c:v>3.3955997999999998</c:v>
                </c:pt>
                <c:pt idx="6979">
                  <c:v>3.3957999000000001</c:v>
                </c:pt>
                <c:pt idx="6980">
                  <c:v>3.3959999000000001</c:v>
                </c:pt>
                <c:pt idx="6981">
                  <c:v>3.3961999</c:v>
                </c:pt>
                <c:pt idx="6982">
                  <c:v>3.3963999999999999</c:v>
                </c:pt>
                <c:pt idx="6983">
                  <c:v>3.3965999999999998</c:v>
                </c:pt>
                <c:pt idx="6984">
                  <c:v>3.3967998000000001</c:v>
                </c:pt>
                <c:pt idx="6985">
                  <c:v>3.3969998000000001</c:v>
                </c:pt>
                <c:pt idx="6986">
                  <c:v>3.3971998999999999</c:v>
                </c:pt>
                <c:pt idx="6987">
                  <c:v>3.3973998999999999</c:v>
                </c:pt>
                <c:pt idx="6988">
                  <c:v>3.3975998999999999</c:v>
                </c:pt>
                <c:pt idx="6989">
                  <c:v>3.3977997000000002</c:v>
                </c:pt>
                <c:pt idx="6990">
                  <c:v>3.3980000000000001</c:v>
                </c:pt>
                <c:pt idx="6991">
                  <c:v>3.3982000000000001</c:v>
                </c:pt>
                <c:pt idx="6992">
                  <c:v>3.3983998</c:v>
                </c:pt>
                <c:pt idx="6993">
                  <c:v>3.3985998999999998</c:v>
                </c:pt>
                <c:pt idx="6994">
                  <c:v>3.3987997000000001</c:v>
                </c:pt>
                <c:pt idx="6995">
                  <c:v>3.3989999000000002</c:v>
                </c:pt>
                <c:pt idx="6996">
                  <c:v>3.3992</c:v>
                </c:pt>
                <c:pt idx="6997">
                  <c:v>3.3993997999999999</c:v>
                </c:pt>
                <c:pt idx="6998">
                  <c:v>3.3996</c:v>
                </c:pt>
                <c:pt idx="6999">
                  <c:v>3.3998001000000002</c:v>
                </c:pt>
                <c:pt idx="7000">
                  <c:v>3.3999999000000001</c:v>
                </c:pt>
                <c:pt idx="7001">
                  <c:v>3.4001999000000001</c:v>
                </c:pt>
                <c:pt idx="7002">
                  <c:v>3.4003996999999999</c:v>
                </c:pt>
                <c:pt idx="7003">
                  <c:v>3.4005999999999998</c:v>
                </c:pt>
                <c:pt idx="7004">
                  <c:v>3.4007999999999998</c:v>
                </c:pt>
                <c:pt idx="7005">
                  <c:v>3.4009998000000001</c:v>
                </c:pt>
                <c:pt idx="7006">
                  <c:v>3.4012001000000001</c:v>
                </c:pt>
                <c:pt idx="7007">
                  <c:v>3.4013998999999999</c:v>
                </c:pt>
                <c:pt idx="7008">
                  <c:v>3.4015998999999999</c:v>
                </c:pt>
                <c:pt idx="7009">
                  <c:v>3.4017998999999999</c:v>
                </c:pt>
                <c:pt idx="7010">
                  <c:v>3.4019997000000002</c:v>
                </c:pt>
                <c:pt idx="7011">
                  <c:v>3.4022000000000001</c:v>
                </c:pt>
                <c:pt idx="7012">
                  <c:v>3.4024000000000001</c:v>
                </c:pt>
                <c:pt idx="7013">
                  <c:v>3.4025998</c:v>
                </c:pt>
                <c:pt idx="7014">
                  <c:v>3.4028000999999999</c:v>
                </c:pt>
                <c:pt idx="7015">
                  <c:v>3.4029999000000002</c:v>
                </c:pt>
                <c:pt idx="7016">
                  <c:v>3.4031999000000002</c:v>
                </c:pt>
                <c:pt idx="7017">
                  <c:v>3.4033999000000001</c:v>
                </c:pt>
                <c:pt idx="7018">
                  <c:v>3.4035997</c:v>
                </c:pt>
                <c:pt idx="7019">
                  <c:v>3.4037999999999999</c:v>
                </c:pt>
                <c:pt idx="7020">
                  <c:v>3.4039997999999998</c:v>
                </c:pt>
                <c:pt idx="7021">
                  <c:v>3.4041998000000002</c:v>
                </c:pt>
                <c:pt idx="7022">
                  <c:v>3.4044001000000002</c:v>
                </c:pt>
                <c:pt idx="7023">
                  <c:v>3.4045999</c:v>
                </c:pt>
                <c:pt idx="7024">
                  <c:v>3.4047999</c:v>
                </c:pt>
                <c:pt idx="7025">
                  <c:v>3.4049996999999999</c:v>
                </c:pt>
                <c:pt idx="7026">
                  <c:v>3.4051998000000001</c:v>
                </c:pt>
                <c:pt idx="7027">
                  <c:v>3.4054000000000002</c:v>
                </c:pt>
                <c:pt idx="7028">
                  <c:v>3.4055998000000001</c:v>
                </c:pt>
                <c:pt idx="7029">
                  <c:v>3.4057998999999999</c:v>
                </c:pt>
                <c:pt idx="7030">
                  <c:v>3.4060001</c:v>
                </c:pt>
                <c:pt idx="7031">
                  <c:v>3.4061998999999998</c:v>
                </c:pt>
                <c:pt idx="7032">
                  <c:v>3.4064000000000001</c:v>
                </c:pt>
                <c:pt idx="7033">
                  <c:v>3.4065998</c:v>
                </c:pt>
                <c:pt idx="7034">
                  <c:v>3.4067997999999999</c:v>
                </c:pt>
                <c:pt idx="7035">
                  <c:v>3.4070000999999999</c:v>
                </c:pt>
                <c:pt idx="7036">
                  <c:v>3.4071999000000002</c:v>
                </c:pt>
                <c:pt idx="7037">
                  <c:v>3.4073999000000001</c:v>
                </c:pt>
                <c:pt idx="7038">
                  <c:v>3.4075999000000001</c:v>
                </c:pt>
                <c:pt idx="7039">
                  <c:v>3.4077999999999999</c:v>
                </c:pt>
                <c:pt idx="7040">
                  <c:v>3.4079999999999999</c:v>
                </c:pt>
                <c:pt idx="7041">
                  <c:v>3.4081997999999998</c:v>
                </c:pt>
                <c:pt idx="7042">
                  <c:v>3.4083998000000002</c:v>
                </c:pt>
                <c:pt idx="7043">
                  <c:v>3.4085999</c:v>
                </c:pt>
                <c:pt idx="7044">
                  <c:v>3.4087999</c:v>
                </c:pt>
                <c:pt idx="7045">
                  <c:v>3.4089999</c:v>
                </c:pt>
                <c:pt idx="7046">
                  <c:v>3.4091999999999998</c:v>
                </c:pt>
                <c:pt idx="7047">
                  <c:v>3.4094000000000002</c:v>
                </c:pt>
                <c:pt idx="7048">
                  <c:v>3.4096000000000002</c:v>
                </c:pt>
                <c:pt idx="7049">
                  <c:v>3.4097998</c:v>
                </c:pt>
                <c:pt idx="7050">
                  <c:v>3.4099998</c:v>
                </c:pt>
                <c:pt idx="7051">
                  <c:v>3.4101998999999998</c:v>
                </c:pt>
                <c:pt idx="7052">
                  <c:v>3.4103998999999998</c:v>
                </c:pt>
                <c:pt idx="7053">
                  <c:v>3.4105998999999998</c:v>
                </c:pt>
                <c:pt idx="7054">
                  <c:v>3.4108000000000001</c:v>
                </c:pt>
                <c:pt idx="7055">
                  <c:v>3.411</c:v>
                </c:pt>
                <c:pt idx="7056">
                  <c:v>3.4111997999999999</c:v>
                </c:pt>
                <c:pt idx="7057">
                  <c:v>3.4113997999999999</c:v>
                </c:pt>
                <c:pt idx="7058">
                  <c:v>3.4115999000000001</c:v>
                </c:pt>
                <c:pt idx="7059">
                  <c:v>3.4117999000000001</c:v>
                </c:pt>
                <c:pt idx="7060">
                  <c:v>3.4119999000000001</c:v>
                </c:pt>
                <c:pt idx="7061">
                  <c:v>3.4121996999999999</c:v>
                </c:pt>
                <c:pt idx="7062">
                  <c:v>3.4123999999999999</c:v>
                </c:pt>
                <c:pt idx="7063">
                  <c:v>3.4125999999999999</c:v>
                </c:pt>
                <c:pt idx="7064">
                  <c:v>3.4127998000000002</c:v>
                </c:pt>
                <c:pt idx="7065">
                  <c:v>3.4129999</c:v>
                </c:pt>
                <c:pt idx="7066">
                  <c:v>3.4131996999999998</c:v>
                </c:pt>
                <c:pt idx="7067">
                  <c:v>3.4133998999999999</c:v>
                </c:pt>
                <c:pt idx="7068">
                  <c:v>3.4136000000000002</c:v>
                </c:pt>
                <c:pt idx="7069">
                  <c:v>3.4137998000000001</c:v>
                </c:pt>
                <c:pt idx="7070">
                  <c:v>3.4140000000000001</c:v>
                </c:pt>
                <c:pt idx="7071">
                  <c:v>3.4142001</c:v>
                </c:pt>
                <c:pt idx="7072">
                  <c:v>3.4143998999999998</c:v>
                </c:pt>
                <c:pt idx="7073">
                  <c:v>3.4145998999999998</c:v>
                </c:pt>
                <c:pt idx="7074">
                  <c:v>3.4147997000000001</c:v>
                </c:pt>
                <c:pt idx="7075">
                  <c:v>3.415</c:v>
                </c:pt>
                <c:pt idx="7076">
                  <c:v>3.4152</c:v>
                </c:pt>
                <c:pt idx="7077">
                  <c:v>3.4153997999999999</c:v>
                </c:pt>
                <c:pt idx="7078">
                  <c:v>3.4156000999999998</c:v>
                </c:pt>
                <c:pt idx="7079">
                  <c:v>3.4157999000000001</c:v>
                </c:pt>
                <c:pt idx="7080">
                  <c:v>3.4159999000000001</c:v>
                </c:pt>
                <c:pt idx="7081">
                  <c:v>3.4161999000000001</c:v>
                </c:pt>
                <c:pt idx="7082">
                  <c:v>3.4163996999999999</c:v>
                </c:pt>
                <c:pt idx="7083">
                  <c:v>3.4165999999999999</c:v>
                </c:pt>
                <c:pt idx="7084">
                  <c:v>3.4167999999999998</c:v>
                </c:pt>
                <c:pt idx="7085">
                  <c:v>3.4169998000000001</c:v>
                </c:pt>
                <c:pt idx="7086">
                  <c:v>3.4172001000000001</c:v>
                </c:pt>
                <c:pt idx="7087">
                  <c:v>3.4173998999999999</c:v>
                </c:pt>
                <c:pt idx="7088">
                  <c:v>3.4175998999999999</c:v>
                </c:pt>
                <c:pt idx="7089">
                  <c:v>3.4177998999999999</c:v>
                </c:pt>
                <c:pt idx="7090">
                  <c:v>3.4179997000000002</c:v>
                </c:pt>
                <c:pt idx="7091">
                  <c:v>3.4182000000000001</c:v>
                </c:pt>
                <c:pt idx="7092">
                  <c:v>3.4183998</c:v>
                </c:pt>
                <c:pt idx="7093">
                  <c:v>3.4185998</c:v>
                </c:pt>
                <c:pt idx="7094">
                  <c:v>3.4188000999999999</c:v>
                </c:pt>
                <c:pt idx="7095">
                  <c:v>3.4189999000000002</c:v>
                </c:pt>
                <c:pt idx="7096">
                  <c:v>3.4191999000000002</c:v>
                </c:pt>
                <c:pt idx="7097">
                  <c:v>3.4193997</c:v>
                </c:pt>
                <c:pt idx="7098">
                  <c:v>3.4195997999999999</c:v>
                </c:pt>
                <c:pt idx="7099">
                  <c:v>3.4198</c:v>
                </c:pt>
                <c:pt idx="7100">
                  <c:v>3.4199997999999998</c:v>
                </c:pt>
                <c:pt idx="7101">
                  <c:v>3.4201999000000001</c:v>
                </c:pt>
                <c:pt idx="7102">
                  <c:v>3.4204001000000002</c:v>
                </c:pt>
                <c:pt idx="7103">
                  <c:v>3.4205999</c:v>
                </c:pt>
                <c:pt idx="7104">
                  <c:v>3.4207999999999998</c:v>
                </c:pt>
                <c:pt idx="7105">
                  <c:v>3.4209998000000001</c:v>
                </c:pt>
                <c:pt idx="7106">
                  <c:v>3.4211998000000001</c:v>
                </c:pt>
                <c:pt idx="7107">
                  <c:v>3.4214001000000001</c:v>
                </c:pt>
                <c:pt idx="7108">
                  <c:v>3.4215998999999999</c:v>
                </c:pt>
                <c:pt idx="7109">
                  <c:v>3.4217998999999999</c:v>
                </c:pt>
                <c:pt idx="7110">
                  <c:v>3.4219998999999999</c:v>
                </c:pt>
                <c:pt idx="7111">
                  <c:v>3.4222000000000001</c:v>
                </c:pt>
                <c:pt idx="7112">
                  <c:v>3.4224000000000001</c:v>
                </c:pt>
                <c:pt idx="7113">
                  <c:v>3.4225998</c:v>
                </c:pt>
                <c:pt idx="7114">
                  <c:v>3.4227997999999999</c:v>
                </c:pt>
                <c:pt idx="7115">
                  <c:v>3.4229999000000002</c:v>
                </c:pt>
                <c:pt idx="7116">
                  <c:v>3.4231999000000002</c:v>
                </c:pt>
                <c:pt idx="7117">
                  <c:v>3.4233999000000002</c:v>
                </c:pt>
                <c:pt idx="7118">
                  <c:v>3.4236</c:v>
                </c:pt>
                <c:pt idx="7119">
                  <c:v>3.4238</c:v>
                </c:pt>
                <c:pt idx="7120">
                  <c:v>3.4239997999999998</c:v>
                </c:pt>
                <c:pt idx="7121">
                  <c:v>3.4241997999999998</c:v>
                </c:pt>
                <c:pt idx="7122">
                  <c:v>3.4243999000000001</c:v>
                </c:pt>
                <c:pt idx="7123">
                  <c:v>3.4245999</c:v>
                </c:pt>
                <c:pt idx="7124">
                  <c:v>3.4247999</c:v>
                </c:pt>
                <c:pt idx="7125">
                  <c:v>3.4249999999999998</c:v>
                </c:pt>
                <c:pt idx="7126">
                  <c:v>3.4251999999999998</c:v>
                </c:pt>
                <c:pt idx="7127">
                  <c:v>3.4253999999999998</c:v>
                </c:pt>
                <c:pt idx="7128">
                  <c:v>3.4255998000000001</c:v>
                </c:pt>
                <c:pt idx="7129">
                  <c:v>3.4257998000000001</c:v>
                </c:pt>
                <c:pt idx="7130">
                  <c:v>3.4259998999999999</c:v>
                </c:pt>
                <c:pt idx="7131">
                  <c:v>3.4261998999999999</c:v>
                </c:pt>
                <c:pt idx="7132">
                  <c:v>3.4263998999999998</c:v>
                </c:pt>
                <c:pt idx="7133">
                  <c:v>3.4265997000000001</c:v>
                </c:pt>
                <c:pt idx="7134">
                  <c:v>3.4268000000000001</c:v>
                </c:pt>
                <c:pt idx="7135">
                  <c:v>3.427</c:v>
                </c:pt>
                <c:pt idx="7136">
                  <c:v>3.4271997999999999</c:v>
                </c:pt>
                <c:pt idx="7137">
                  <c:v>3.4273999000000002</c:v>
                </c:pt>
                <c:pt idx="7138">
                  <c:v>3.4275997</c:v>
                </c:pt>
                <c:pt idx="7139">
                  <c:v>3.4277999000000001</c:v>
                </c:pt>
                <c:pt idx="7140">
                  <c:v>3.4279999999999999</c:v>
                </c:pt>
                <c:pt idx="7141">
                  <c:v>3.4281997999999998</c:v>
                </c:pt>
                <c:pt idx="7142">
                  <c:v>3.4283999999999999</c:v>
                </c:pt>
                <c:pt idx="7143">
                  <c:v>3.4286001000000002</c:v>
                </c:pt>
                <c:pt idx="7144">
                  <c:v>3.4287999</c:v>
                </c:pt>
                <c:pt idx="7145">
                  <c:v>3.4289999</c:v>
                </c:pt>
                <c:pt idx="7146">
                  <c:v>3.4291996999999999</c:v>
                </c:pt>
                <c:pt idx="7147">
                  <c:v>3.4293999999999998</c:v>
                </c:pt>
                <c:pt idx="7148">
                  <c:v>3.4296000000000002</c:v>
                </c:pt>
                <c:pt idx="7149">
                  <c:v>3.4297998000000001</c:v>
                </c:pt>
                <c:pt idx="7150">
                  <c:v>3.4300001</c:v>
                </c:pt>
                <c:pt idx="7151">
                  <c:v>3.4301998999999999</c:v>
                </c:pt>
                <c:pt idx="7152">
                  <c:v>3.4303998999999998</c:v>
                </c:pt>
                <c:pt idx="7153">
                  <c:v>3.4305998999999998</c:v>
                </c:pt>
                <c:pt idx="7154">
                  <c:v>3.4307997000000001</c:v>
                </c:pt>
                <c:pt idx="7155">
                  <c:v>3.431</c:v>
                </c:pt>
                <c:pt idx="7156">
                  <c:v>3.4311997999999999</c:v>
                </c:pt>
                <c:pt idx="7157">
                  <c:v>3.4313997999999999</c:v>
                </c:pt>
                <c:pt idx="7158">
                  <c:v>3.4316000999999998</c:v>
                </c:pt>
                <c:pt idx="7159">
                  <c:v>3.4317999000000001</c:v>
                </c:pt>
                <c:pt idx="7160">
                  <c:v>3.4319999000000001</c:v>
                </c:pt>
                <c:pt idx="7161">
                  <c:v>3.4321999999999999</c:v>
                </c:pt>
                <c:pt idx="7162">
                  <c:v>3.4323996999999999</c:v>
                </c:pt>
                <c:pt idx="7163">
                  <c:v>3.4325999999999999</c:v>
                </c:pt>
                <c:pt idx="7164">
                  <c:v>3.4327998000000002</c:v>
                </c:pt>
                <c:pt idx="7165">
                  <c:v>3.4329998000000002</c:v>
                </c:pt>
                <c:pt idx="7166">
                  <c:v>3.4332001000000001</c:v>
                </c:pt>
                <c:pt idx="7167">
                  <c:v>3.4333998999999999</c:v>
                </c:pt>
                <c:pt idx="7168">
                  <c:v>3.4335998999999999</c:v>
                </c:pt>
                <c:pt idx="7169">
                  <c:v>3.4337996999999998</c:v>
                </c:pt>
                <c:pt idx="7170">
                  <c:v>3.4339998</c:v>
                </c:pt>
                <c:pt idx="7171">
                  <c:v>3.4342000000000001</c:v>
                </c:pt>
                <c:pt idx="7172">
                  <c:v>3.4343998</c:v>
                </c:pt>
                <c:pt idx="7173">
                  <c:v>3.4345998999999998</c:v>
                </c:pt>
                <c:pt idx="7174">
                  <c:v>3.4348000999999999</c:v>
                </c:pt>
                <c:pt idx="7175">
                  <c:v>3.4349999000000002</c:v>
                </c:pt>
                <c:pt idx="7176">
                  <c:v>3.4352</c:v>
                </c:pt>
                <c:pt idx="7177">
                  <c:v>3.4353997999999999</c:v>
                </c:pt>
                <c:pt idx="7178">
                  <c:v>3.4355997999999999</c:v>
                </c:pt>
                <c:pt idx="7179">
                  <c:v>3.4358000999999998</c:v>
                </c:pt>
                <c:pt idx="7180">
                  <c:v>3.4359999000000001</c:v>
                </c:pt>
                <c:pt idx="7181">
                  <c:v>3.4361999000000001</c:v>
                </c:pt>
                <c:pt idx="7182">
                  <c:v>3.4363999000000001</c:v>
                </c:pt>
                <c:pt idx="7183">
                  <c:v>3.4365999999999999</c:v>
                </c:pt>
                <c:pt idx="7184">
                  <c:v>3.4367999999999999</c:v>
                </c:pt>
                <c:pt idx="7185">
                  <c:v>3.4369998000000002</c:v>
                </c:pt>
                <c:pt idx="7186">
                  <c:v>3.4371998000000001</c:v>
                </c:pt>
                <c:pt idx="7187">
                  <c:v>3.4373999</c:v>
                </c:pt>
                <c:pt idx="7188">
                  <c:v>3.4375998999999999</c:v>
                </c:pt>
                <c:pt idx="7189">
                  <c:v>3.4377998999999999</c:v>
                </c:pt>
                <c:pt idx="7190">
                  <c:v>3.4380000000000002</c:v>
                </c:pt>
                <c:pt idx="7191">
                  <c:v>3.4382000000000001</c:v>
                </c:pt>
                <c:pt idx="7192">
                  <c:v>3.4383998</c:v>
                </c:pt>
                <c:pt idx="7193">
                  <c:v>3.4385998</c:v>
                </c:pt>
                <c:pt idx="7194">
                  <c:v>3.4387998999999998</c:v>
                </c:pt>
                <c:pt idx="7195">
                  <c:v>3.4389999000000002</c:v>
                </c:pt>
                <c:pt idx="7196">
                  <c:v>3.4391999000000002</c:v>
                </c:pt>
                <c:pt idx="7197">
                  <c:v>3.4394</c:v>
                </c:pt>
                <c:pt idx="7198">
                  <c:v>3.4396</c:v>
                </c:pt>
                <c:pt idx="7199">
                  <c:v>3.4398</c:v>
                </c:pt>
                <c:pt idx="7200">
                  <c:v>3.4399997999999998</c:v>
                </c:pt>
                <c:pt idx="7201">
                  <c:v>3.4401999000000001</c:v>
                </c:pt>
                <c:pt idx="7202">
                  <c:v>3.4403999000000001</c:v>
                </c:pt>
                <c:pt idx="7203">
                  <c:v>3.4405999</c:v>
                </c:pt>
                <c:pt idx="7204">
                  <c:v>3.4407999999999999</c:v>
                </c:pt>
                <c:pt idx="7205">
                  <c:v>3.4409996999999999</c:v>
                </c:pt>
                <c:pt idx="7206">
                  <c:v>3.4411999999999998</c:v>
                </c:pt>
                <c:pt idx="7207">
                  <c:v>3.4414001000000001</c:v>
                </c:pt>
                <c:pt idx="7208">
                  <c:v>3.4415998000000001</c:v>
                </c:pt>
                <c:pt idx="7209">
                  <c:v>3.4417998999999999</c:v>
                </c:pt>
                <c:pt idx="7210">
                  <c:v>3.4419997000000002</c:v>
                </c:pt>
                <c:pt idx="7211">
                  <c:v>3.4421998999999999</c:v>
                </c:pt>
                <c:pt idx="7212">
                  <c:v>3.4424000000000001</c:v>
                </c:pt>
                <c:pt idx="7213">
                  <c:v>3.4425998</c:v>
                </c:pt>
                <c:pt idx="7214">
                  <c:v>3.4428000000000001</c:v>
                </c:pt>
                <c:pt idx="7215">
                  <c:v>3.4430000999999999</c:v>
                </c:pt>
                <c:pt idx="7216">
                  <c:v>3.4431999000000002</c:v>
                </c:pt>
                <c:pt idx="7217">
                  <c:v>3.4433999000000002</c:v>
                </c:pt>
                <c:pt idx="7218">
                  <c:v>3.4435997</c:v>
                </c:pt>
                <c:pt idx="7219">
                  <c:v>3.4438</c:v>
                </c:pt>
                <c:pt idx="7220">
                  <c:v>3.444</c:v>
                </c:pt>
                <c:pt idx="7221">
                  <c:v>3.4441997999999998</c:v>
                </c:pt>
                <c:pt idx="7222">
                  <c:v>3.4444001000000002</c:v>
                </c:pt>
                <c:pt idx="7223">
                  <c:v>3.4445999</c:v>
                </c:pt>
                <c:pt idx="7224">
                  <c:v>3.4447999</c:v>
                </c:pt>
                <c:pt idx="7225">
                  <c:v>3.4449999</c:v>
                </c:pt>
                <c:pt idx="7226">
                  <c:v>3.4451996999999999</c:v>
                </c:pt>
                <c:pt idx="7227">
                  <c:v>3.4453999999999998</c:v>
                </c:pt>
                <c:pt idx="7228">
                  <c:v>3.4455998000000001</c:v>
                </c:pt>
                <c:pt idx="7229">
                  <c:v>3.4457998000000001</c:v>
                </c:pt>
                <c:pt idx="7230">
                  <c:v>3.4460001</c:v>
                </c:pt>
                <c:pt idx="7231">
                  <c:v>3.4461998999999999</c:v>
                </c:pt>
                <c:pt idx="7232">
                  <c:v>3.4463998999999998</c:v>
                </c:pt>
                <c:pt idx="7233">
                  <c:v>3.4465997000000002</c:v>
                </c:pt>
                <c:pt idx="7234">
                  <c:v>3.4467998</c:v>
                </c:pt>
                <c:pt idx="7235">
                  <c:v>3.4470000000000001</c:v>
                </c:pt>
                <c:pt idx="7236">
                  <c:v>3.4471997999999999</c:v>
                </c:pt>
                <c:pt idx="7237">
                  <c:v>3.4473999000000002</c:v>
                </c:pt>
                <c:pt idx="7238">
                  <c:v>3.4476000999999998</c:v>
                </c:pt>
                <c:pt idx="7239">
                  <c:v>3.4477999000000001</c:v>
                </c:pt>
                <c:pt idx="7240">
                  <c:v>3.448</c:v>
                </c:pt>
                <c:pt idx="7241">
                  <c:v>3.4481997</c:v>
                </c:pt>
                <c:pt idx="7242">
                  <c:v>3.4483997999999998</c:v>
                </c:pt>
                <c:pt idx="7243">
                  <c:v>3.4486001000000002</c:v>
                </c:pt>
                <c:pt idx="7244">
                  <c:v>3.4487998000000002</c:v>
                </c:pt>
                <c:pt idx="7245">
                  <c:v>3.4489999</c:v>
                </c:pt>
                <c:pt idx="7246">
                  <c:v>3.4491999</c:v>
                </c:pt>
                <c:pt idx="7247">
                  <c:v>3.4493999</c:v>
                </c:pt>
                <c:pt idx="7248">
                  <c:v>3.4496000000000002</c:v>
                </c:pt>
                <c:pt idx="7249">
                  <c:v>3.4497998000000001</c:v>
                </c:pt>
                <c:pt idx="7250">
                  <c:v>3.4499998000000001</c:v>
                </c:pt>
                <c:pt idx="7251">
                  <c:v>3.4502001</c:v>
                </c:pt>
                <c:pt idx="7252">
                  <c:v>3.4503998999999999</c:v>
                </c:pt>
                <c:pt idx="7253">
                  <c:v>3.4505998999999998</c:v>
                </c:pt>
                <c:pt idx="7254">
                  <c:v>3.4507998999999998</c:v>
                </c:pt>
                <c:pt idx="7255">
                  <c:v>3.4510000000000001</c:v>
                </c:pt>
                <c:pt idx="7256">
                  <c:v>3.4512</c:v>
                </c:pt>
                <c:pt idx="7257">
                  <c:v>3.4513997999999999</c:v>
                </c:pt>
                <c:pt idx="7258">
                  <c:v>3.4515997999999999</c:v>
                </c:pt>
                <c:pt idx="7259">
                  <c:v>3.4517999000000001</c:v>
                </c:pt>
                <c:pt idx="7260">
                  <c:v>3.4519999000000001</c:v>
                </c:pt>
                <c:pt idx="7261">
                  <c:v>3.4521999000000001</c:v>
                </c:pt>
                <c:pt idx="7262">
                  <c:v>3.4523999999999999</c:v>
                </c:pt>
                <c:pt idx="7263">
                  <c:v>3.4525999999999999</c:v>
                </c:pt>
                <c:pt idx="7264">
                  <c:v>3.4527998000000002</c:v>
                </c:pt>
                <c:pt idx="7265">
                  <c:v>3.4529998000000002</c:v>
                </c:pt>
                <c:pt idx="7266">
                  <c:v>3.4531999</c:v>
                </c:pt>
                <c:pt idx="7267">
                  <c:v>3.4533999</c:v>
                </c:pt>
                <c:pt idx="7268">
                  <c:v>3.4535998999999999</c:v>
                </c:pt>
                <c:pt idx="7269">
                  <c:v>3.4537996999999998</c:v>
                </c:pt>
                <c:pt idx="7270">
                  <c:v>3.4540000000000002</c:v>
                </c:pt>
                <c:pt idx="7271">
                  <c:v>3.4542000000000002</c:v>
                </c:pt>
                <c:pt idx="7272">
                  <c:v>3.4543998</c:v>
                </c:pt>
                <c:pt idx="7273">
                  <c:v>3.4545998999999998</c:v>
                </c:pt>
                <c:pt idx="7274">
                  <c:v>3.4547998999999998</c:v>
                </c:pt>
                <c:pt idx="7275">
                  <c:v>3.4549998999999998</c:v>
                </c:pt>
                <c:pt idx="7276">
                  <c:v>3.4552</c:v>
                </c:pt>
                <c:pt idx="7277">
                  <c:v>3.4553997999999999</c:v>
                </c:pt>
                <c:pt idx="7278">
                  <c:v>3.4556</c:v>
                </c:pt>
                <c:pt idx="7279">
                  <c:v>3.4558000999999998</c:v>
                </c:pt>
                <c:pt idx="7280">
                  <c:v>3.4559999000000001</c:v>
                </c:pt>
                <c:pt idx="7281">
                  <c:v>3.4561999000000001</c:v>
                </c:pt>
                <c:pt idx="7282">
                  <c:v>3.4563997</c:v>
                </c:pt>
                <c:pt idx="7283">
                  <c:v>3.4565999999999999</c:v>
                </c:pt>
                <c:pt idx="7284">
                  <c:v>3.4567999999999999</c:v>
                </c:pt>
                <c:pt idx="7285">
                  <c:v>3.4569998000000002</c:v>
                </c:pt>
                <c:pt idx="7286">
                  <c:v>3.4572001000000001</c:v>
                </c:pt>
                <c:pt idx="7287">
                  <c:v>3.4574001000000001</c:v>
                </c:pt>
                <c:pt idx="7288">
                  <c:v>3.4575998999999999</c:v>
                </c:pt>
                <c:pt idx="7289">
                  <c:v>3.4577998999999999</c:v>
                </c:pt>
                <c:pt idx="7290">
                  <c:v>3.4579996999999998</c:v>
                </c:pt>
                <c:pt idx="7291">
                  <c:v>3.4582000000000002</c:v>
                </c:pt>
                <c:pt idx="7292">
                  <c:v>3.4584000000000001</c:v>
                </c:pt>
                <c:pt idx="7293">
                  <c:v>3.4585998</c:v>
                </c:pt>
                <c:pt idx="7294">
                  <c:v>3.4588000999999999</c:v>
                </c:pt>
                <c:pt idx="7295">
                  <c:v>3.4589998999999998</c:v>
                </c:pt>
                <c:pt idx="7296">
                  <c:v>3.4591999000000002</c:v>
                </c:pt>
                <c:pt idx="7297">
                  <c:v>3.4593999000000002</c:v>
                </c:pt>
                <c:pt idx="7298">
                  <c:v>3.4595997000000001</c:v>
                </c:pt>
                <c:pt idx="7299">
                  <c:v>3.4598</c:v>
                </c:pt>
                <c:pt idx="7300">
                  <c:v>3.4599997999999998</c:v>
                </c:pt>
                <c:pt idx="7301">
                  <c:v>3.4601997999999998</c:v>
                </c:pt>
                <c:pt idx="7302">
                  <c:v>3.4604001000000002</c:v>
                </c:pt>
                <c:pt idx="7303">
                  <c:v>3.4605999000000001</c:v>
                </c:pt>
                <c:pt idx="7304">
                  <c:v>3.4607999</c:v>
                </c:pt>
                <c:pt idx="7305">
                  <c:v>3.4609996999999999</c:v>
                </c:pt>
                <c:pt idx="7306">
                  <c:v>3.4611998000000002</c:v>
                </c:pt>
                <c:pt idx="7307">
                  <c:v>3.4613999999999998</c:v>
                </c:pt>
                <c:pt idx="7308">
                  <c:v>3.4615998000000001</c:v>
                </c:pt>
                <c:pt idx="7309">
                  <c:v>3.4617998999999999</c:v>
                </c:pt>
                <c:pt idx="7310">
                  <c:v>3.4620001</c:v>
                </c:pt>
                <c:pt idx="7311">
                  <c:v>3.4621998999999999</c:v>
                </c:pt>
                <c:pt idx="7312">
                  <c:v>3.4624000000000001</c:v>
                </c:pt>
                <c:pt idx="7313">
                  <c:v>3.4625998</c:v>
                </c:pt>
                <c:pt idx="7314">
                  <c:v>3.4627998</c:v>
                </c:pt>
                <c:pt idx="7315">
                  <c:v>3.4630000999999999</c:v>
                </c:pt>
                <c:pt idx="7316">
                  <c:v>3.4631999000000002</c:v>
                </c:pt>
                <c:pt idx="7317">
                  <c:v>3.4633999000000002</c:v>
                </c:pt>
                <c:pt idx="7318">
                  <c:v>3.4635999000000002</c:v>
                </c:pt>
                <c:pt idx="7319">
                  <c:v>3.4638</c:v>
                </c:pt>
                <c:pt idx="7320">
                  <c:v>3.464</c:v>
                </c:pt>
                <c:pt idx="7321">
                  <c:v>3.4641997999999998</c:v>
                </c:pt>
                <c:pt idx="7322">
                  <c:v>3.4643997999999998</c:v>
                </c:pt>
                <c:pt idx="7323">
                  <c:v>3.4645997999999998</c:v>
                </c:pt>
                <c:pt idx="7324">
                  <c:v>3.4647999</c:v>
                </c:pt>
                <c:pt idx="7325">
                  <c:v>3.4649999</c:v>
                </c:pt>
                <c:pt idx="7326">
                  <c:v>3.4651999</c:v>
                </c:pt>
                <c:pt idx="7327">
                  <c:v>3.4653999999999998</c:v>
                </c:pt>
                <c:pt idx="7328">
                  <c:v>3.4655999999999998</c:v>
                </c:pt>
                <c:pt idx="7329">
                  <c:v>3.4657998000000001</c:v>
                </c:pt>
                <c:pt idx="7330">
                  <c:v>3.4659998000000001</c:v>
                </c:pt>
                <c:pt idx="7331">
                  <c:v>3.4661998999999999</c:v>
                </c:pt>
                <c:pt idx="7332">
                  <c:v>3.4663998999999999</c:v>
                </c:pt>
                <c:pt idx="7333">
                  <c:v>3.4665998999999998</c:v>
                </c:pt>
                <c:pt idx="7334">
                  <c:v>3.4668000000000001</c:v>
                </c:pt>
                <c:pt idx="7335">
                  <c:v>3.4670000000000001</c:v>
                </c:pt>
                <c:pt idx="7336">
                  <c:v>3.4671997999999999</c:v>
                </c:pt>
                <c:pt idx="7337">
                  <c:v>3.4673997999999999</c:v>
                </c:pt>
                <c:pt idx="7338">
                  <c:v>3.4675999000000002</c:v>
                </c:pt>
                <c:pt idx="7339">
                  <c:v>3.4677999000000002</c:v>
                </c:pt>
                <c:pt idx="7340">
                  <c:v>3.4679999000000001</c:v>
                </c:pt>
                <c:pt idx="7341">
                  <c:v>3.4681997</c:v>
                </c:pt>
                <c:pt idx="7342">
                  <c:v>3.4683999999999999</c:v>
                </c:pt>
                <c:pt idx="7343">
                  <c:v>3.4685999999999999</c:v>
                </c:pt>
                <c:pt idx="7344">
                  <c:v>3.4687998000000002</c:v>
                </c:pt>
                <c:pt idx="7345">
                  <c:v>3.4689999</c:v>
                </c:pt>
                <c:pt idx="7346">
                  <c:v>3.4691996999999999</c:v>
                </c:pt>
                <c:pt idx="7347">
                  <c:v>3.4693999</c:v>
                </c:pt>
                <c:pt idx="7348">
                  <c:v>3.4695999999999998</c:v>
                </c:pt>
                <c:pt idx="7349">
                  <c:v>3.4697998000000001</c:v>
                </c:pt>
                <c:pt idx="7350">
                  <c:v>3.47</c:v>
                </c:pt>
                <c:pt idx="7351">
                  <c:v>3.4702001</c:v>
                </c:pt>
                <c:pt idx="7352">
                  <c:v>3.4703998999999999</c:v>
                </c:pt>
                <c:pt idx="7353">
                  <c:v>3.4705998999999998</c:v>
                </c:pt>
                <c:pt idx="7354">
                  <c:v>3.4707997000000002</c:v>
                </c:pt>
                <c:pt idx="7355">
                  <c:v>3.4710000000000001</c:v>
                </c:pt>
                <c:pt idx="7356">
                  <c:v>3.4712000000000001</c:v>
                </c:pt>
                <c:pt idx="7357">
                  <c:v>3.4713997999999999</c:v>
                </c:pt>
                <c:pt idx="7358">
                  <c:v>3.4716000999999999</c:v>
                </c:pt>
                <c:pt idx="7359">
                  <c:v>3.4717999000000002</c:v>
                </c:pt>
                <c:pt idx="7360">
                  <c:v>3.4719999000000001</c:v>
                </c:pt>
                <c:pt idx="7361">
                  <c:v>3.4721999000000001</c:v>
                </c:pt>
                <c:pt idx="7362">
                  <c:v>3.4723997</c:v>
                </c:pt>
                <c:pt idx="7363">
                  <c:v>3.4725999999999999</c:v>
                </c:pt>
                <c:pt idx="7364">
                  <c:v>3.4727999999999999</c:v>
                </c:pt>
                <c:pt idx="7365">
                  <c:v>3.4729998000000002</c:v>
                </c:pt>
                <c:pt idx="7366">
                  <c:v>3.4732001000000001</c:v>
                </c:pt>
                <c:pt idx="7367">
                  <c:v>3.4733999</c:v>
                </c:pt>
                <c:pt idx="7368">
                  <c:v>3.4735999</c:v>
                </c:pt>
                <c:pt idx="7369">
                  <c:v>3.4737998999999999</c:v>
                </c:pt>
                <c:pt idx="7370">
                  <c:v>3.4739996999999998</c:v>
                </c:pt>
                <c:pt idx="7371">
                  <c:v>3.4742000000000002</c:v>
                </c:pt>
                <c:pt idx="7372">
                  <c:v>3.4743998</c:v>
                </c:pt>
                <c:pt idx="7373">
                  <c:v>3.4745998</c:v>
                </c:pt>
                <c:pt idx="7374">
                  <c:v>3.4748000999999999</c:v>
                </c:pt>
                <c:pt idx="7375">
                  <c:v>3.4749998999999998</c:v>
                </c:pt>
                <c:pt idx="7376">
                  <c:v>3.4751998999999998</c:v>
                </c:pt>
                <c:pt idx="7377">
                  <c:v>3.4753997000000001</c:v>
                </c:pt>
                <c:pt idx="7378">
                  <c:v>3.4755997999999999</c:v>
                </c:pt>
                <c:pt idx="7379">
                  <c:v>3.4758</c:v>
                </c:pt>
                <c:pt idx="7380">
                  <c:v>3.4759997999999999</c:v>
                </c:pt>
                <c:pt idx="7381">
                  <c:v>3.4761999000000001</c:v>
                </c:pt>
                <c:pt idx="7382">
                  <c:v>3.4764001000000002</c:v>
                </c:pt>
                <c:pt idx="7383">
                  <c:v>3.4765999000000001</c:v>
                </c:pt>
                <c:pt idx="7384">
                  <c:v>3.4767999999999999</c:v>
                </c:pt>
                <c:pt idx="7385">
                  <c:v>3.4769998000000002</c:v>
                </c:pt>
                <c:pt idx="7386">
                  <c:v>3.4771998000000002</c:v>
                </c:pt>
                <c:pt idx="7387">
                  <c:v>3.4774001000000001</c:v>
                </c:pt>
                <c:pt idx="7388">
                  <c:v>3.4775999</c:v>
                </c:pt>
                <c:pt idx="7389">
                  <c:v>3.4777998999999999</c:v>
                </c:pt>
                <c:pt idx="7390">
                  <c:v>3.4779998999999999</c:v>
                </c:pt>
                <c:pt idx="7391">
                  <c:v>3.4782000000000002</c:v>
                </c:pt>
                <c:pt idx="7392">
                  <c:v>3.4784000000000002</c:v>
                </c:pt>
                <c:pt idx="7393">
                  <c:v>3.4785998</c:v>
                </c:pt>
                <c:pt idx="7394">
                  <c:v>3.4787998</c:v>
                </c:pt>
                <c:pt idx="7395">
                  <c:v>3.4789998999999998</c:v>
                </c:pt>
                <c:pt idx="7396">
                  <c:v>3.4791998999999998</c:v>
                </c:pt>
                <c:pt idx="7397">
                  <c:v>3.4793999000000002</c:v>
                </c:pt>
                <c:pt idx="7398">
                  <c:v>3.4796</c:v>
                </c:pt>
                <c:pt idx="7399">
                  <c:v>3.4798</c:v>
                </c:pt>
                <c:pt idx="7400">
                  <c:v>3.48</c:v>
                </c:pt>
                <c:pt idx="7401">
                  <c:v>3.4801997999999998</c:v>
                </c:pt>
                <c:pt idx="7402">
                  <c:v>3.4803997999999998</c:v>
                </c:pt>
                <c:pt idx="7403">
                  <c:v>3.4805999000000001</c:v>
                </c:pt>
                <c:pt idx="7404">
                  <c:v>3.4807999000000001</c:v>
                </c:pt>
                <c:pt idx="7405">
                  <c:v>3.4809999</c:v>
                </c:pt>
                <c:pt idx="7406">
                  <c:v>3.4811999999999999</c:v>
                </c:pt>
                <c:pt idx="7407">
                  <c:v>3.4813999999999998</c:v>
                </c:pt>
                <c:pt idx="7408">
                  <c:v>3.4815998000000001</c:v>
                </c:pt>
                <c:pt idx="7409">
                  <c:v>3.4817998000000001</c:v>
                </c:pt>
                <c:pt idx="7410">
                  <c:v>3.4819998999999999</c:v>
                </c:pt>
                <c:pt idx="7411">
                  <c:v>3.4821998999999999</c:v>
                </c:pt>
                <c:pt idx="7412">
                  <c:v>3.4823998999999999</c:v>
                </c:pt>
                <c:pt idx="7413">
                  <c:v>3.4825997000000002</c:v>
                </c:pt>
                <c:pt idx="7414">
                  <c:v>3.4828000000000001</c:v>
                </c:pt>
                <c:pt idx="7415">
                  <c:v>3.4830000000000001</c:v>
                </c:pt>
                <c:pt idx="7416">
                  <c:v>3.4831998</c:v>
                </c:pt>
                <c:pt idx="7417">
                  <c:v>3.4833999000000002</c:v>
                </c:pt>
                <c:pt idx="7418">
                  <c:v>3.4835997000000001</c:v>
                </c:pt>
                <c:pt idx="7419">
                  <c:v>3.4837999000000002</c:v>
                </c:pt>
                <c:pt idx="7420">
                  <c:v>3.484</c:v>
                </c:pt>
                <c:pt idx="7421">
                  <c:v>3.4841997999999998</c:v>
                </c:pt>
                <c:pt idx="7422">
                  <c:v>3.4843999999999999</c:v>
                </c:pt>
                <c:pt idx="7423">
                  <c:v>3.4846001000000002</c:v>
                </c:pt>
                <c:pt idx="7424">
                  <c:v>3.4847999000000001</c:v>
                </c:pt>
                <c:pt idx="7425">
                  <c:v>3.4849999</c:v>
                </c:pt>
                <c:pt idx="7426">
                  <c:v>3.4851996999999999</c:v>
                </c:pt>
                <c:pt idx="7427">
                  <c:v>3.4853999999999998</c:v>
                </c:pt>
                <c:pt idx="7428">
                  <c:v>3.4855999999999998</c:v>
                </c:pt>
                <c:pt idx="7429">
                  <c:v>3.4857998000000001</c:v>
                </c:pt>
                <c:pt idx="7430">
                  <c:v>3.4860001</c:v>
                </c:pt>
                <c:pt idx="7431">
                  <c:v>3.4861998999999999</c:v>
                </c:pt>
                <c:pt idx="7432">
                  <c:v>3.4863998999999999</c:v>
                </c:pt>
                <c:pt idx="7433">
                  <c:v>3.4865998999999999</c:v>
                </c:pt>
                <c:pt idx="7434">
                  <c:v>3.4867997000000002</c:v>
                </c:pt>
                <c:pt idx="7435">
                  <c:v>3.4870000000000001</c:v>
                </c:pt>
                <c:pt idx="7436">
                  <c:v>3.4871998</c:v>
                </c:pt>
                <c:pt idx="7437">
                  <c:v>3.4873997999999999</c:v>
                </c:pt>
                <c:pt idx="7438">
                  <c:v>3.4876000999999999</c:v>
                </c:pt>
                <c:pt idx="7439">
                  <c:v>3.4877999000000002</c:v>
                </c:pt>
                <c:pt idx="7440">
                  <c:v>3.4879999000000002</c:v>
                </c:pt>
                <c:pt idx="7441">
                  <c:v>3.4881999000000001</c:v>
                </c:pt>
                <c:pt idx="7442">
                  <c:v>3.4883997</c:v>
                </c:pt>
                <c:pt idx="7443">
                  <c:v>3.4885999999999999</c:v>
                </c:pt>
                <c:pt idx="7444">
                  <c:v>3.4887997999999998</c:v>
                </c:pt>
                <c:pt idx="7445">
                  <c:v>3.4889998000000002</c:v>
                </c:pt>
                <c:pt idx="7446">
                  <c:v>3.4892001000000001</c:v>
                </c:pt>
                <c:pt idx="7447">
                  <c:v>3.4893999</c:v>
                </c:pt>
                <c:pt idx="7448">
                  <c:v>3.4895999</c:v>
                </c:pt>
                <c:pt idx="7449">
                  <c:v>3.4897996999999998</c:v>
                </c:pt>
                <c:pt idx="7450">
                  <c:v>3.4899998000000001</c:v>
                </c:pt>
                <c:pt idx="7451">
                  <c:v>3.4902000000000002</c:v>
                </c:pt>
                <c:pt idx="7452">
                  <c:v>3.4903998000000001</c:v>
                </c:pt>
                <c:pt idx="7453">
                  <c:v>3.4905998999999999</c:v>
                </c:pt>
                <c:pt idx="7454">
                  <c:v>3.4908001</c:v>
                </c:pt>
                <c:pt idx="7455">
                  <c:v>3.4909998999999998</c:v>
                </c:pt>
                <c:pt idx="7456">
                  <c:v>3.4912000000000001</c:v>
                </c:pt>
                <c:pt idx="7457">
                  <c:v>3.4913997999999999</c:v>
                </c:pt>
                <c:pt idx="7458">
                  <c:v>3.4915997999999999</c:v>
                </c:pt>
                <c:pt idx="7459">
                  <c:v>3.4918000999999999</c:v>
                </c:pt>
                <c:pt idx="7460">
                  <c:v>3.4919999000000002</c:v>
                </c:pt>
                <c:pt idx="7461">
                  <c:v>3.4921999000000001</c:v>
                </c:pt>
                <c:pt idx="7462">
                  <c:v>3.4923999000000001</c:v>
                </c:pt>
                <c:pt idx="7463">
                  <c:v>3.4925999999999999</c:v>
                </c:pt>
                <c:pt idx="7464">
                  <c:v>3.4927999999999999</c:v>
                </c:pt>
                <c:pt idx="7465">
                  <c:v>3.4929998000000002</c:v>
                </c:pt>
                <c:pt idx="7466">
                  <c:v>3.4931998000000002</c:v>
                </c:pt>
                <c:pt idx="7467">
                  <c:v>3.4933999</c:v>
                </c:pt>
                <c:pt idx="7468">
                  <c:v>3.4935999</c:v>
                </c:pt>
                <c:pt idx="7469">
                  <c:v>3.4937999</c:v>
                </c:pt>
                <c:pt idx="7470">
                  <c:v>3.4940000000000002</c:v>
                </c:pt>
                <c:pt idx="7471">
                  <c:v>3.4942000000000002</c:v>
                </c:pt>
                <c:pt idx="7472">
                  <c:v>3.4943998000000001</c:v>
                </c:pt>
                <c:pt idx="7473">
                  <c:v>3.4945998</c:v>
                </c:pt>
                <c:pt idx="7474">
                  <c:v>3.4947998999999998</c:v>
                </c:pt>
                <c:pt idx="7475">
                  <c:v>3.4949998999999998</c:v>
                </c:pt>
                <c:pt idx="7476">
                  <c:v>3.4951998999999998</c:v>
                </c:pt>
                <c:pt idx="7477">
                  <c:v>3.4954000000000001</c:v>
                </c:pt>
                <c:pt idx="7478">
                  <c:v>3.4956</c:v>
                </c:pt>
                <c:pt idx="7479">
                  <c:v>3.4958</c:v>
                </c:pt>
                <c:pt idx="7480">
                  <c:v>3.4959997999999999</c:v>
                </c:pt>
                <c:pt idx="7481">
                  <c:v>3.4961997999999999</c:v>
                </c:pt>
                <c:pt idx="7482">
                  <c:v>3.4963999000000001</c:v>
                </c:pt>
                <c:pt idx="7483">
                  <c:v>3.4965999000000001</c:v>
                </c:pt>
                <c:pt idx="7484">
                  <c:v>3.4967999000000001</c:v>
                </c:pt>
                <c:pt idx="7485">
                  <c:v>3.4969996999999999</c:v>
                </c:pt>
                <c:pt idx="7486">
                  <c:v>3.4971999999999999</c:v>
                </c:pt>
                <c:pt idx="7487">
                  <c:v>3.4973999999999998</c:v>
                </c:pt>
                <c:pt idx="7488">
                  <c:v>3.4975998000000001</c:v>
                </c:pt>
                <c:pt idx="7489">
                  <c:v>3.4977999</c:v>
                </c:pt>
                <c:pt idx="7490">
                  <c:v>3.4979996999999998</c:v>
                </c:pt>
                <c:pt idx="7491">
                  <c:v>3.4981998999999999</c:v>
                </c:pt>
                <c:pt idx="7492">
                  <c:v>3.4984000000000002</c:v>
                </c:pt>
                <c:pt idx="7493">
                  <c:v>3.4985998</c:v>
                </c:pt>
                <c:pt idx="7494">
                  <c:v>3.4988000000000001</c:v>
                </c:pt>
                <c:pt idx="7495">
                  <c:v>3.4990000999999999</c:v>
                </c:pt>
                <c:pt idx="7496">
                  <c:v>3.4991998999999998</c:v>
                </c:pt>
                <c:pt idx="7497">
                  <c:v>3.4993998999999998</c:v>
                </c:pt>
                <c:pt idx="7498">
                  <c:v>3.4995997000000001</c:v>
                </c:pt>
                <c:pt idx="7499">
                  <c:v>3.4998</c:v>
                </c:pt>
                <c:pt idx="7500">
                  <c:v>3.5</c:v>
                </c:pt>
                <c:pt idx="7501">
                  <c:v>3.5001997999999999</c:v>
                </c:pt>
                <c:pt idx="7502">
                  <c:v>3.5004000999999998</c:v>
                </c:pt>
                <c:pt idx="7503">
                  <c:v>3.5005999000000001</c:v>
                </c:pt>
                <c:pt idx="7504">
                  <c:v>3.5007999000000001</c:v>
                </c:pt>
                <c:pt idx="7505">
                  <c:v>3.5009999000000001</c:v>
                </c:pt>
                <c:pt idx="7506">
                  <c:v>3.5011996999999999</c:v>
                </c:pt>
                <c:pt idx="7507">
                  <c:v>3.5013999999999998</c:v>
                </c:pt>
                <c:pt idx="7508">
                  <c:v>3.5015998000000002</c:v>
                </c:pt>
                <c:pt idx="7509">
                  <c:v>3.5017998000000001</c:v>
                </c:pt>
                <c:pt idx="7510">
                  <c:v>3.5020001000000001</c:v>
                </c:pt>
                <c:pt idx="7511">
                  <c:v>3.5021998999999999</c:v>
                </c:pt>
                <c:pt idx="7512">
                  <c:v>3.5023998999999999</c:v>
                </c:pt>
                <c:pt idx="7513">
                  <c:v>3.5026000000000002</c:v>
                </c:pt>
                <c:pt idx="7514">
                  <c:v>3.5027997000000002</c:v>
                </c:pt>
                <c:pt idx="7515">
                  <c:v>3.5030000000000001</c:v>
                </c:pt>
                <c:pt idx="7516">
                  <c:v>3.5031998</c:v>
                </c:pt>
                <c:pt idx="7517">
                  <c:v>3.5033998</c:v>
                </c:pt>
                <c:pt idx="7518">
                  <c:v>3.5036000999999999</c:v>
                </c:pt>
                <c:pt idx="7519">
                  <c:v>3.5037999000000002</c:v>
                </c:pt>
                <c:pt idx="7520">
                  <c:v>3.5039999000000002</c:v>
                </c:pt>
                <c:pt idx="7521">
                  <c:v>3.5041997</c:v>
                </c:pt>
                <c:pt idx="7522">
                  <c:v>3.5043997999999998</c:v>
                </c:pt>
                <c:pt idx="7523">
                  <c:v>3.5045999999999999</c:v>
                </c:pt>
                <c:pt idx="7524">
                  <c:v>3.5047997999999998</c:v>
                </c:pt>
                <c:pt idx="7525">
                  <c:v>3.5049999000000001</c:v>
                </c:pt>
                <c:pt idx="7526">
                  <c:v>3.5052001000000002</c:v>
                </c:pt>
                <c:pt idx="7527">
                  <c:v>3.5053999</c:v>
                </c:pt>
                <c:pt idx="7528">
                  <c:v>3.5055999999999998</c:v>
                </c:pt>
                <c:pt idx="7529">
                  <c:v>3.5057998000000001</c:v>
                </c:pt>
                <c:pt idx="7530">
                  <c:v>3.5059998000000001</c:v>
                </c:pt>
                <c:pt idx="7531">
                  <c:v>3.5062001</c:v>
                </c:pt>
                <c:pt idx="7532">
                  <c:v>3.5063998999999999</c:v>
                </c:pt>
                <c:pt idx="7533">
                  <c:v>3.5065998999999999</c:v>
                </c:pt>
                <c:pt idx="7534">
                  <c:v>3.5067998999999999</c:v>
                </c:pt>
                <c:pt idx="7535">
                  <c:v>3.5070000000000001</c:v>
                </c:pt>
                <c:pt idx="7536">
                  <c:v>3.5072000000000001</c:v>
                </c:pt>
                <c:pt idx="7537">
                  <c:v>3.5073998</c:v>
                </c:pt>
                <c:pt idx="7538">
                  <c:v>3.5075997999999999</c:v>
                </c:pt>
                <c:pt idx="7539">
                  <c:v>3.5077999000000002</c:v>
                </c:pt>
                <c:pt idx="7540">
                  <c:v>3.5079999000000002</c:v>
                </c:pt>
                <c:pt idx="7541">
                  <c:v>3.5081999000000001</c:v>
                </c:pt>
                <c:pt idx="7542">
                  <c:v>3.5084</c:v>
                </c:pt>
                <c:pt idx="7543">
                  <c:v>3.5085999999999999</c:v>
                </c:pt>
                <c:pt idx="7544">
                  <c:v>3.5087997999999998</c:v>
                </c:pt>
                <c:pt idx="7545">
                  <c:v>3.5089997999999998</c:v>
                </c:pt>
                <c:pt idx="7546">
                  <c:v>3.5091999</c:v>
                </c:pt>
                <c:pt idx="7547">
                  <c:v>3.5093999</c:v>
                </c:pt>
                <c:pt idx="7548">
                  <c:v>3.5095999</c:v>
                </c:pt>
                <c:pt idx="7549">
                  <c:v>3.5097996999999999</c:v>
                </c:pt>
                <c:pt idx="7550">
                  <c:v>3.51</c:v>
                </c:pt>
                <c:pt idx="7551">
                  <c:v>3.5102000000000002</c:v>
                </c:pt>
                <c:pt idx="7552">
                  <c:v>3.5103998000000001</c:v>
                </c:pt>
                <c:pt idx="7553">
                  <c:v>3.5105998999999999</c:v>
                </c:pt>
                <c:pt idx="7554">
                  <c:v>3.5107998999999999</c:v>
                </c:pt>
                <c:pt idx="7555">
                  <c:v>3.5109998999999998</c:v>
                </c:pt>
                <c:pt idx="7556">
                  <c:v>3.5112000000000001</c:v>
                </c:pt>
                <c:pt idx="7557">
                  <c:v>3.5113997000000001</c:v>
                </c:pt>
                <c:pt idx="7558">
                  <c:v>3.5116000000000001</c:v>
                </c:pt>
                <c:pt idx="7559">
                  <c:v>3.5118000999999999</c:v>
                </c:pt>
                <c:pt idx="7560">
                  <c:v>3.5119997999999999</c:v>
                </c:pt>
                <c:pt idx="7561">
                  <c:v>3.5121999000000002</c:v>
                </c:pt>
                <c:pt idx="7562">
                  <c:v>3.5123997</c:v>
                </c:pt>
                <c:pt idx="7563">
                  <c:v>3.5125999000000001</c:v>
                </c:pt>
                <c:pt idx="7564">
                  <c:v>3.5127999999999999</c:v>
                </c:pt>
                <c:pt idx="7565">
                  <c:v>3.5129997999999998</c:v>
                </c:pt>
                <c:pt idx="7566">
                  <c:v>3.5131999999999999</c:v>
                </c:pt>
                <c:pt idx="7567">
                  <c:v>3.5134001000000001</c:v>
                </c:pt>
                <c:pt idx="7568">
                  <c:v>3.5135999</c:v>
                </c:pt>
                <c:pt idx="7569">
                  <c:v>3.5137999</c:v>
                </c:pt>
                <c:pt idx="7570">
                  <c:v>3.5139996999999998</c:v>
                </c:pt>
                <c:pt idx="7571">
                  <c:v>3.5142000000000002</c:v>
                </c:pt>
                <c:pt idx="7572">
                  <c:v>3.5144000000000002</c:v>
                </c:pt>
                <c:pt idx="7573">
                  <c:v>3.5145998000000001</c:v>
                </c:pt>
                <c:pt idx="7574">
                  <c:v>3.5148001</c:v>
                </c:pt>
                <c:pt idx="7575">
                  <c:v>3.5149998999999998</c:v>
                </c:pt>
                <c:pt idx="7576">
                  <c:v>3.5151998999999998</c:v>
                </c:pt>
                <c:pt idx="7577">
                  <c:v>3.5153998999999998</c:v>
                </c:pt>
                <c:pt idx="7578">
                  <c:v>3.5155997000000001</c:v>
                </c:pt>
                <c:pt idx="7579">
                  <c:v>3.5158</c:v>
                </c:pt>
                <c:pt idx="7580">
                  <c:v>3.5159997999999999</c:v>
                </c:pt>
                <c:pt idx="7581">
                  <c:v>3.5161997999999999</c:v>
                </c:pt>
                <c:pt idx="7582">
                  <c:v>3.5164000999999998</c:v>
                </c:pt>
                <c:pt idx="7583">
                  <c:v>3.5165999000000001</c:v>
                </c:pt>
                <c:pt idx="7584">
                  <c:v>3.5167999000000001</c:v>
                </c:pt>
                <c:pt idx="7585">
                  <c:v>3.5169997</c:v>
                </c:pt>
                <c:pt idx="7586">
                  <c:v>3.5171998000000002</c:v>
                </c:pt>
                <c:pt idx="7587">
                  <c:v>3.5173999999999999</c:v>
                </c:pt>
                <c:pt idx="7588">
                  <c:v>3.5175998000000002</c:v>
                </c:pt>
                <c:pt idx="7589">
                  <c:v>3.5177999</c:v>
                </c:pt>
                <c:pt idx="7590">
                  <c:v>3.5180001000000001</c:v>
                </c:pt>
                <c:pt idx="7591">
                  <c:v>3.5181998999999999</c:v>
                </c:pt>
                <c:pt idx="7592">
                  <c:v>3.5184000000000002</c:v>
                </c:pt>
                <c:pt idx="7593">
                  <c:v>3.5185997000000002</c:v>
                </c:pt>
                <c:pt idx="7594">
                  <c:v>3.5187998</c:v>
                </c:pt>
                <c:pt idx="7595">
                  <c:v>3.5190001</c:v>
                </c:pt>
                <c:pt idx="7596">
                  <c:v>3.5191998</c:v>
                </c:pt>
                <c:pt idx="7597">
                  <c:v>3.5193998999999998</c:v>
                </c:pt>
                <c:pt idx="7598">
                  <c:v>3.5195998999999998</c:v>
                </c:pt>
                <c:pt idx="7599">
                  <c:v>3.5197999000000002</c:v>
                </c:pt>
                <c:pt idx="7600">
                  <c:v>3.52</c:v>
                </c:pt>
                <c:pt idx="7601">
                  <c:v>3.5201997999999999</c:v>
                </c:pt>
                <c:pt idx="7602">
                  <c:v>3.5203997999999999</c:v>
                </c:pt>
                <c:pt idx="7603">
                  <c:v>3.5206000999999998</c:v>
                </c:pt>
                <c:pt idx="7604">
                  <c:v>3.5207999000000001</c:v>
                </c:pt>
                <c:pt idx="7605">
                  <c:v>3.5209999000000001</c:v>
                </c:pt>
                <c:pt idx="7606">
                  <c:v>3.5211999</c:v>
                </c:pt>
                <c:pt idx="7607">
                  <c:v>3.5213999999999999</c:v>
                </c:pt>
                <c:pt idx="7608">
                  <c:v>3.5215999999999998</c:v>
                </c:pt>
                <c:pt idx="7609">
                  <c:v>3.5217998000000001</c:v>
                </c:pt>
                <c:pt idx="7610">
                  <c:v>3.5219998000000001</c:v>
                </c:pt>
                <c:pt idx="7611">
                  <c:v>3.5221998999999999</c:v>
                </c:pt>
                <c:pt idx="7612">
                  <c:v>3.5223998999999999</c:v>
                </c:pt>
                <c:pt idx="7613">
                  <c:v>3.5225998999999999</c:v>
                </c:pt>
                <c:pt idx="7614">
                  <c:v>3.5228000000000002</c:v>
                </c:pt>
                <c:pt idx="7615">
                  <c:v>3.5230000000000001</c:v>
                </c:pt>
                <c:pt idx="7616">
                  <c:v>3.5231998</c:v>
                </c:pt>
                <c:pt idx="7617">
                  <c:v>3.5233998</c:v>
                </c:pt>
                <c:pt idx="7618">
                  <c:v>3.5235998999999998</c:v>
                </c:pt>
                <c:pt idx="7619">
                  <c:v>3.5237999000000002</c:v>
                </c:pt>
                <c:pt idx="7620">
                  <c:v>3.5239999000000002</c:v>
                </c:pt>
                <c:pt idx="7621">
                  <c:v>3.5241997</c:v>
                </c:pt>
                <c:pt idx="7622">
                  <c:v>3.5244</c:v>
                </c:pt>
                <c:pt idx="7623">
                  <c:v>3.5246</c:v>
                </c:pt>
                <c:pt idx="7624">
                  <c:v>3.5247997999999998</c:v>
                </c:pt>
                <c:pt idx="7625">
                  <c:v>3.5249999000000001</c:v>
                </c:pt>
                <c:pt idx="7626">
                  <c:v>3.5251999000000001</c:v>
                </c:pt>
                <c:pt idx="7627">
                  <c:v>3.5253999</c:v>
                </c:pt>
                <c:pt idx="7628">
                  <c:v>3.5255999999999998</c:v>
                </c:pt>
                <c:pt idx="7629">
                  <c:v>3.5257998000000002</c:v>
                </c:pt>
                <c:pt idx="7630">
                  <c:v>3.5259999999999998</c:v>
                </c:pt>
                <c:pt idx="7631">
                  <c:v>3.5262001000000001</c:v>
                </c:pt>
                <c:pt idx="7632">
                  <c:v>3.5263998999999999</c:v>
                </c:pt>
                <c:pt idx="7633">
                  <c:v>3.5265998999999999</c:v>
                </c:pt>
                <c:pt idx="7634">
                  <c:v>3.5267997000000002</c:v>
                </c:pt>
                <c:pt idx="7635">
                  <c:v>3.5270000000000001</c:v>
                </c:pt>
                <c:pt idx="7636">
                  <c:v>3.5272000000000001</c:v>
                </c:pt>
                <c:pt idx="7637">
                  <c:v>3.5273998</c:v>
                </c:pt>
                <c:pt idx="7638">
                  <c:v>3.5276000000000001</c:v>
                </c:pt>
                <c:pt idx="7639">
                  <c:v>3.5278000999999999</c:v>
                </c:pt>
                <c:pt idx="7640">
                  <c:v>3.5279999000000002</c:v>
                </c:pt>
                <c:pt idx="7641">
                  <c:v>3.5281999000000002</c:v>
                </c:pt>
                <c:pt idx="7642">
                  <c:v>3.5283997</c:v>
                </c:pt>
                <c:pt idx="7643">
                  <c:v>3.5286</c:v>
                </c:pt>
                <c:pt idx="7644">
                  <c:v>3.5287999999999999</c:v>
                </c:pt>
                <c:pt idx="7645">
                  <c:v>3.5289997999999998</c:v>
                </c:pt>
                <c:pt idx="7646">
                  <c:v>3.5292001000000002</c:v>
                </c:pt>
                <c:pt idx="7647">
                  <c:v>3.5293999</c:v>
                </c:pt>
                <c:pt idx="7648">
                  <c:v>3.5295999</c:v>
                </c:pt>
                <c:pt idx="7649">
                  <c:v>3.5297999</c:v>
                </c:pt>
                <c:pt idx="7650">
                  <c:v>3.5299996999999999</c:v>
                </c:pt>
                <c:pt idx="7651">
                  <c:v>3.5301999999999998</c:v>
                </c:pt>
                <c:pt idx="7652">
                  <c:v>3.5303998000000001</c:v>
                </c:pt>
                <c:pt idx="7653">
                  <c:v>3.5305998000000001</c:v>
                </c:pt>
                <c:pt idx="7654">
                  <c:v>3.5308001</c:v>
                </c:pt>
                <c:pt idx="7655">
                  <c:v>3.5309998999999999</c:v>
                </c:pt>
                <c:pt idx="7656">
                  <c:v>3.5311998999999998</c:v>
                </c:pt>
                <c:pt idx="7657">
                  <c:v>3.5313997000000001</c:v>
                </c:pt>
                <c:pt idx="7658">
                  <c:v>3.5315998</c:v>
                </c:pt>
                <c:pt idx="7659">
                  <c:v>3.5318000000000001</c:v>
                </c:pt>
                <c:pt idx="7660">
                  <c:v>3.5319997999999999</c:v>
                </c:pt>
                <c:pt idx="7661">
                  <c:v>3.5321999000000002</c:v>
                </c:pt>
                <c:pt idx="7662">
                  <c:v>3.5324000999999998</c:v>
                </c:pt>
                <c:pt idx="7663">
                  <c:v>3.5325999000000001</c:v>
                </c:pt>
                <c:pt idx="7664">
                  <c:v>3.5327999999999999</c:v>
                </c:pt>
                <c:pt idx="7665">
                  <c:v>3.5329997999999998</c:v>
                </c:pt>
                <c:pt idx="7666">
                  <c:v>3.5331997999999998</c:v>
                </c:pt>
                <c:pt idx="7667">
                  <c:v>3.5334001000000002</c:v>
                </c:pt>
                <c:pt idx="7668">
                  <c:v>3.5335999</c:v>
                </c:pt>
                <c:pt idx="7669">
                  <c:v>3.5337999</c:v>
                </c:pt>
                <c:pt idx="7670">
                  <c:v>3.5339999</c:v>
                </c:pt>
                <c:pt idx="7671">
                  <c:v>3.5341999999999998</c:v>
                </c:pt>
                <c:pt idx="7672">
                  <c:v>3.5344000000000002</c:v>
                </c:pt>
                <c:pt idx="7673">
                  <c:v>3.5345998000000001</c:v>
                </c:pt>
                <c:pt idx="7674">
                  <c:v>3.5347998</c:v>
                </c:pt>
                <c:pt idx="7675">
                  <c:v>3.5349998</c:v>
                </c:pt>
                <c:pt idx="7676">
                  <c:v>3.5351998999999998</c:v>
                </c:pt>
                <c:pt idx="7677">
                  <c:v>3.5353998999999998</c:v>
                </c:pt>
                <c:pt idx="7678">
                  <c:v>3.5355998999999998</c:v>
                </c:pt>
                <c:pt idx="7679">
                  <c:v>3.5358000000000001</c:v>
                </c:pt>
                <c:pt idx="7680">
                  <c:v>3.536</c:v>
                </c:pt>
                <c:pt idx="7681">
                  <c:v>3.5361997999999999</c:v>
                </c:pt>
                <c:pt idx="7682">
                  <c:v>3.5363997999999999</c:v>
                </c:pt>
                <c:pt idx="7683">
                  <c:v>3.5365999000000001</c:v>
                </c:pt>
                <c:pt idx="7684">
                  <c:v>3.5367999000000001</c:v>
                </c:pt>
                <c:pt idx="7685">
                  <c:v>3.5369999000000001</c:v>
                </c:pt>
                <c:pt idx="7686">
                  <c:v>3.5371999999999999</c:v>
                </c:pt>
                <c:pt idx="7687">
                  <c:v>3.5373999999999999</c:v>
                </c:pt>
                <c:pt idx="7688">
                  <c:v>3.5375998000000002</c:v>
                </c:pt>
                <c:pt idx="7689">
                  <c:v>3.5377998000000002</c:v>
                </c:pt>
                <c:pt idx="7690">
                  <c:v>3.5379999</c:v>
                </c:pt>
                <c:pt idx="7691">
                  <c:v>3.5381999</c:v>
                </c:pt>
                <c:pt idx="7692">
                  <c:v>3.5383998999999999</c:v>
                </c:pt>
                <c:pt idx="7693">
                  <c:v>3.5385996999999998</c:v>
                </c:pt>
                <c:pt idx="7694">
                  <c:v>3.5388000000000002</c:v>
                </c:pt>
                <c:pt idx="7695">
                  <c:v>3.5390000000000001</c:v>
                </c:pt>
                <c:pt idx="7696">
                  <c:v>3.5391998</c:v>
                </c:pt>
                <c:pt idx="7697">
                  <c:v>3.5393998999999998</c:v>
                </c:pt>
                <c:pt idx="7698">
                  <c:v>3.5395997000000001</c:v>
                </c:pt>
                <c:pt idx="7699">
                  <c:v>3.5397999000000002</c:v>
                </c:pt>
                <c:pt idx="7700">
                  <c:v>3.54</c:v>
                </c:pt>
                <c:pt idx="7701">
                  <c:v>3.5401997999999999</c:v>
                </c:pt>
                <c:pt idx="7702">
                  <c:v>3.5404</c:v>
                </c:pt>
                <c:pt idx="7703">
                  <c:v>3.5406000999999998</c:v>
                </c:pt>
                <c:pt idx="7704">
                  <c:v>3.5407999000000001</c:v>
                </c:pt>
                <c:pt idx="7705">
                  <c:v>3.5409999000000001</c:v>
                </c:pt>
                <c:pt idx="7706">
                  <c:v>3.5411997</c:v>
                </c:pt>
                <c:pt idx="7707">
                  <c:v>3.5413999999999999</c:v>
                </c:pt>
                <c:pt idx="7708">
                  <c:v>3.5415999999999999</c:v>
                </c:pt>
                <c:pt idx="7709">
                  <c:v>3.5417998000000002</c:v>
                </c:pt>
                <c:pt idx="7710">
                  <c:v>3.5420001000000001</c:v>
                </c:pt>
                <c:pt idx="7711">
                  <c:v>3.5421999</c:v>
                </c:pt>
                <c:pt idx="7712">
                  <c:v>3.5423998999999999</c:v>
                </c:pt>
                <c:pt idx="7713">
                  <c:v>3.5425998999999999</c:v>
                </c:pt>
                <c:pt idx="7714">
                  <c:v>3.5427997000000002</c:v>
                </c:pt>
                <c:pt idx="7715">
                  <c:v>3.5430000000000001</c:v>
                </c:pt>
                <c:pt idx="7716">
                  <c:v>3.5432000000000001</c:v>
                </c:pt>
                <c:pt idx="7717">
                  <c:v>3.5433998</c:v>
                </c:pt>
                <c:pt idx="7718">
                  <c:v>3.5436000999999999</c:v>
                </c:pt>
                <c:pt idx="7719">
                  <c:v>3.5437998999999998</c:v>
                </c:pt>
                <c:pt idx="7720">
                  <c:v>3.5439999000000002</c:v>
                </c:pt>
                <c:pt idx="7721">
                  <c:v>3.5441999000000002</c:v>
                </c:pt>
                <c:pt idx="7722">
                  <c:v>3.5443997</c:v>
                </c:pt>
                <c:pt idx="7723">
                  <c:v>3.5446</c:v>
                </c:pt>
                <c:pt idx="7724">
                  <c:v>3.5447997999999998</c:v>
                </c:pt>
                <c:pt idx="7725">
                  <c:v>3.5449997999999998</c:v>
                </c:pt>
                <c:pt idx="7726">
                  <c:v>3.5452001000000002</c:v>
                </c:pt>
                <c:pt idx="7727">
                  <c:v>3.5453999</c:v>
                </c:pt>
                <c:pt idx="7728">
                  <c:v>3.5455999</c:v>
                </c:pt>
                <c:pt idx="7729">
                  <c:v>3.5457996999999999</c:v>
                </c:pt>
                <c:pt idx="7730">
                  <c:v>3.5459998000000001</c:v>
                </c:pt>
                <c:pt idx="7731">
                  <c:v>3.5461999999999998</c:v>
                </c:pt>
                <c:pt idx="7732">
                  <c:v>3.5463998000000001</c:v>
                </c:pt>
                <c:pt idx="7733">
                  <c:v>3.5465998999999999</c:v>
                </c:pt>
                <c:pt idx="7734">
                  <c:v>3.5468001</c:v>
                </c:pt>
                <c:pt idx="7735">
                  <c:v>3.5469998999999999</c:v>
                </c:pt>
                <c:pt idx="7736">
                  <c:v>3.5472000000000001</c:v>
                </c:pt>
                <c:pt idx="7737">
                  <c:v>3.5473998</c:v>
                </c:pt>
                <c:pt idx="7738">
                  <c:v>3.5475998</c:v>
                </c:pt>
                <c:pt idx="7739">
                  <c:v>3.5478000999999999</c:v>
                </c:pt>
                <c:pt idx="7740">
                  <c:v>3.5479999000000002</c:v>
                </c:pt>
                <c:pt idx="7741">
                  <c:v>3.5481999000000002</c:v>
                </c:pt>
                <c:pt idx="7742">
                  <c:v>3.5483999000000002</c:v>
                </c:pt>
                <c:pt idx="7743">
                  <c:v>3.5486</c:v>
                </c:pt>
                <c:pt idx="7744">
                  <c:v>3.5488</c:v>
                </c:pt>
                <c:pt idx="7745">
                  <c:v>3.5489997999999998</c:v>
                </c:pt>
                <c:pt idx="7746">
                  <c:v>3.5491997999999998</c:v>
                </c:pt>
                <c:pt idx="7747">
                  <c:v>3.5493999000000001</c:v>
                </c:pt>
                <c:pt idx="7748">
                  <c:v>3.5495999</c:v>
                </c:pt>
                <c:pt idx="7749">
                  <c:v>3.5497999</c:v>
                </c:pt>
                <c:pt idx="7750">
                  <c:v>3.55</c:v>
                </c:pt>
                <c:pt idx="7751">
                  <c:v>3.5501999999999998</c:v>
                </c:pt>
                <c:pt idx="7752">
                  <c:v>3.5503999999999998</c:v>
                </c:pt>
                <c:pt idx="7753">
                  <c:v>3.5505998000000001</c:v>
                </c:pt>
                <c:pt idx="7754">
                  <c:v>3.5507998000000001</c:v>
                </c:pt>
                <c:pt idx="7755">
                  <c:v>3.5509998999999999</c:v>
                </c:pt>
                <c:pt idx="7756">
                  <c:v>3.5511998999999999</c:v>
                </c:pt>
                <c:pt idx="7757">
                  <c:v>3.5513998999999998</c:v>
                </c:pt>
                <c:pt idx="7758">
                  <c:v>3.5516000000000001</c:v>
                </c:pt>
                <c:pt idx="7759">
                  <c:v>3.5518000000000001</c:v>
                </c:pt>
                <c:pt idx="7760">
                  <c:v>3.5519997999999999</c:v>
                </c:pt>
                <c:pt idx="7761">
                  <c:v>3.5521997999999999</c:v>
                </c:pt>
                <c:pt idx="7762">
                  <c:v>3.5523999000000002</c:v>
                </c:pt>
                <c:pt idx="7763">
                  <c:v>3.5525999000000001</c:v>
                </c:pt>
                <c:pt idx="7764">
                  <c:v>3.5527999000000001</c:v>
                </c:pt>
                <c:pt idx="7765">
                  <c:v>3.5529997</c:v>
                </c:pt>
                <c:pt idx="7766">
                  <c:v>3.5531999999999999</c:v>
                </c:pt>
                <c:pt idx="7767">
                  <c:v>3.5533999999999999</c:v>
                </c:pt>
                <c:pt idx="7768">
                  <c:v>3.5535998000000002</c:v>
                </c:pt>
                <c:pt idx="7769">
                  <c:v>3.5537999</c:v>
                </c:pt>
                <c:pt idx="7770">
                  <c:v>3.5539996999999999</c:v>
                </c:pt>
                <c:pt idx="7771">
                  <c:v>3.5541999</c:v>
                </c:pt>
                <c:pt idx="7772">
                  <c:v>3.5543999999999998</c:v>
                </c:pt>
                <c:pt idx="7773">
                  <c:v>3.5545998000000001</c:v>
                </c:pt>
                <c:pt idx="7774">
                  <c:v>3.5548000000000002</c:v>
                </c:pt>
                <c:pt idx="7775">
                  <c:v>3.5550001</c:v>
                </c:pt>
                <c:pt idx="7776">
                  <c:v>3.5551998999999999</c:v>
                </c:pt>
                <c:pt idx="7777">
                  <c:v>3.5553998999999998</c:v>
                </c:pt>
                <c:pt idx="7778">
                  <c:v>3.5555997000000001</c:v>
                </c:pt>
                <c:pt idx="7779">
                  <c:v>3.5558000000000001</c:v>
                </c:pt>
                <c:pt idx="7780">
                  <c:v>3.556</c:v>
                </c:pt>
                <c:pt idx="7781">
                  <c:v>3.5561997999999999</c:v>
                </c:pt>
                <c:pt idx="7782">
                  <c:v>3.5564000999999998</c:v>
                </c:pt>
                <c:pt idx="7783">
                  <c:v>3.5565999000000001</c:v>
                </c:pt>
                <c:pt idx="7784">
                  <c:v>3.5567999000000001</c:v>
                </c:pt>
                <c:pt idx="7785">
                  <c:v>3.5569999000000001</c:v>
                </c:pt>
                <c:pt idx="7786">
                  <c:v>3.5571997</c:v>
                </c:pt>
                <c:pt idx="7787">
                  <c:v>3.5573999999999999</c:v>
                </c:pt>
                <c:pt idx="7788">
                  <c:v>3.5575998000000002</c:v>
                </c:pt>
                <c:pt idx="7789">
                  <c:v>3.5577998000000002</c:v>
                </c:pt>
                <c:pt idx="7790">
                  <c:v>3.5580001000000001</c:v>
                </c:pt>
                <c:pt idx="7791">
                  <c:v>3.5581999</c:v>
                </c:pt>
                <c:pt idx="7792">
                  <c:v>3.5583998999999999</c:v>
                </c:pt>
                <c:pt idx="7793">
                  <c:v>3.5585998999999999</c:v>
                </c:pt>
                <c:pt idx="7794">
                  <c:v>3.5587996999999998</c:v>
                </c:pt>
                <c:pt idx="7795">
                  <c:v>3.5590000000000002</c:v>
                </c:pt>
                <c:pt idx="7796">
                  <c:v>3.5591998</c:v>
                </c:pt>
                <c:pt idx="7797">
                  <c:v>3.5593998</c:v>
                </c:pt>
                <c:pt idx="7798">
                  <c:v>3.5596000999999999</c:v>
                </c:pt>
                <c:pt idx="7799">
                  <c:v>3.5597998999999998</c:v>
                </c:pt>
                <c:pt idx="7800">
                  <c:v>3.5599999000000002</c:v>
                </c:pt>
                <c:pt idx="7801">
                  <c:v>3.5601997000000001</c:v>
                </c:pt>
                <c:pt idx="7802">
                  <c:v>3.5603997999999999</c:v>
                </c:pt>
                <c:pt idx="7803">
                  <c:v>3.5606</c:v>
                </c:pt>
                <c:pt idx="7804">
                  <c:v>3.5607997999999998</c:v>
                </c:pt>
                <c:pt idx="7805">
                  <c:v>3.5609999000000001</c:v>
                </c:pt>
                <c:pt idx="7806">
                  <c:v>3.5612001000000002</c:v>
                </c:pt>
                <c:pt idx="7807">
                  <c:v>3.5613999000000001</c:v>
                </c:pt>
                <c:pt idx="7808">
                  <c:v>3.5615999999999999</c:v>
                </c:pt>
                <c:pt idx="7809">
                  <c:v>3.5617998000000002</c:v>
                </c:pt>
                <c:pt idx="7810">
                  <c:v>3.5619998000000002</c:v>
                </c:pt>
                <c:pt idx="7811">
                  <c:v>3.5622001000000001</c:v>
                </c:pt>
                <c:pt idx="7812">
                  <c:v>3.5623999</c:v>
                </c:pt>
                <c:pt idx="7813">
                  <c:v>3.5625998999999999</c:v>
                </c:pt>
                <c:pt idx="7814">
                  <c:v>3.5627998999999999</c:v>
                </c:pt>
                <c:pt idx="7815">
                  <c:v>3.5630000000000002</c:v>
                </c:pt>
                <c:pt idx="7816">
                  <c:v>3.5632000000000001</c:v>
                </c:pt>
                <c:pt idx="7817">
                  <c:v>3.5633998</c:v>
                </c:pt>
                <c:pt idx="7818">
                  <c:v>3.5635998</c:v>
                </c:pt>
                <c:pt idx="7819">
                  <c:v>3.5637998999999998</c:v>
                </c:pt>
                <c:pt idx="7820">
                  <c:v>3.5639999000000002</c:v>
                </c:pt>
                <c:pt idx="7821">
                  <c:v>3.5641999000000002</c:v>
                </c:pt>
                <c:pt idx="7822">
                  <c:v>3.5644</c:v>
                </c:pt>
                <c:pt idx="7823">
                  <c:v>3.5646</c:v>
                </c:pt>
                <c:pt idx="7824">
                  <c:v>3.5647997999999999</c:v>
                </c:pt>
                <c:pt idx="7825">
                  <c:v>3.5649997999999998</c:v>
                </c:pt>
                <c:pt idx="7826">
                  <c:v>3.5651999000000001</c:v>
                </c:pt>
                <c:pt idx="7827">
                  <c:v>3.5653999000000001</c:v>
                </c:pt>
                <c:pt idx="7828">
                  <c:v>3.5655999</c:v>
                </c:pt>
                <c:pt idx="7829">
                  <c:v>3.5657999999999999</c:v>
                </c:pt>
                <c:pt idx="7830">
                  <c:v>3.5659999999999998</c:v>
                </c:pt>
                <c:pt idx="7831">
                  <c:v>3.5661999999999998</c:v>
                </c:pt>
                <c:pt idx="7832">
                  <c:v>3.5663998000000001</c:v>
                </c:pt>
                <c:pt idx="7833">
                  <c:v>3.5665998000000001</c:v>
                </c:pt>
                <c:pt idx="7834">
                  <c:v>3.5667998999999999</c:v>
                </c:pt>
                <c:pt idx="7835">
                  <c:v>3.5669998999999999</c:v>
                </c:pt>
                <c:pt idx="7836">
                  <c:v>3.5671998999999999</c:v>
                </c:pt>
                <c:pt idx="7837">
                  <c:v>3.5673997000000002</c:v>
                </c:pt>
                <c:pt idx="7838">
                  <c:v>3.5676000000000001</c:v>
                </c:pt>
                <c:pt idx="7839">
                  <c:v>3.5678000000000001</c:v>
                </c:pt>
                <c:pt idx="7840">
                  <c:v>3.5679997999999999</c:v>
                </c:pt>
                <c:pt idx="7841">
                  <c:v>3.5681999000000002</c:v>
                </c:pt>
                <c:pt idx="7842">
                  <c:v>3.5683997000000001</c:v>
                </c:pt>
                <c:pt idx="7843">
                  <c:v>3.5685999000000002</c:v>
                </c:pt>
                <c:pt idx="7844">
                  <c:v>3.5688</c:v>
                </c:pt>
                <c:pt idx="7845">
                  <c:v>3.5689997999999998</c:v>
                </c:pt>
                <c:pt idx="7846">
                  <c:v>3.5691999999999999</c:v>
                </c:pt>
                <c:pt idx="7847">
                  <c:v>3.5694001000000002</c:v>
                </c:pt>
                <c:pt idx="7848">
                  <c:v>3.5695999</c:v>
                </c:pt>
                <c:pt idx="7849">
                  <c:v>3.5697999</c:v>
                </c:pt>
                <c:pt idx="7850">
                  <c:v>3.5699996999999999</c:v>
                </c:pt>
                <c:pt idx="7851">
                  <c:v>3.5701999999999998</c:v>
                </c:pt>
                <c:pt idx="7852">
                  <c:v>3.5703999999999998</c:v>
                </c:pt>
                <c:pt idx="7853">
                  <c:v>3.5705998000000001</c:v>
                </c:pt>
                <c:pt idx="7854">
                  <c:v>3.5708001</c:v>
                </c:pt>
                <c:pt idx="7855">
                  <c:v>3.5709998999999999</c:v>
                </c:pt>
                <c:pt idx="7856">
                  <c:v>3.5711998999999999</c:v>
                </c:pt>
                <c:pt idx="7857">
                  <c:v>3.5713998999999998</c:v>
                </c:pt>
                <c:pt idx="7858">
                  <c:v>3.5715997000000002</c:v>
                </c:pt>
                <c:pt idx="7859">
                  <c:v>3.5718000000000001</c:v>
                </c:pt>
                <c:pt idx="7860">
                  <c:v>3.5719997999999999</c:v>
                </c:pt>
                <c:pt idx="7861">
                  <c:v>3.5721997999999999</c:v>
                </c:pt>
                <c:pt idx="7862">
                  <c:v>3.5724000999999999</c:v>
                </c:pt>
                <c:pt idx="7863">
                  <c:v>3.5725999000000002</c:v>
                </c:pt>
                <c:pt idx="7864">
                  <c:v>3.5727999000000001</c:v>
                </c:pt>
                <c:pt idx="7865">
                  <c:v>3.5729997</c:v>
                </c:pt>
                <c:pt idx="7866">
                  <c:v>3.5731997</c:v>
                </c:pt>
                <c:pt idx="7867">
                  <c:v>3.5733999999999999</c:v>
                </c:pt>
                <c:pt idx="7868">
                  <c:v>3.5735998000000002</c:v>
                </c:pt>
                <c:pt idx="7869">
                  <c:v>3.5737998000000002</c:v>
                </c:pt>
                <c:pt idx="7870">
                  <c:v>3.5740001000000001</c:v>
                </c:pt>
                <c:pt idx="7871">
                  <c:v>3.5741999</c:v>
                </c:pt>
                <c:pt idx="7872">
                  <c:v>3.5743999</c:v>
                </c:pt>
                <c:pt idx="7873">
                  <c:v>3.5745996999999998</c:v>
                </c:pt>
                <c:pt idx="7874">
                  <c:v>3.5747998000000001</c:v>
                </c:pt>
                <c:pt idx="7875">
                  <c:v>3.5750000000000002</c:v>
                </c:pt>
                <c:pt idx="7876">
                  <c:v>3.5751998</c:v>
                </c:pt>
                <c:pt idx="7877">
                  <c:v>3.5753998999999999</c:v>
                </c:pt>
                <c:pt idx="7878">
                  <c:v>3.5755998999999998</c:v>
                </c:pt>
                <c:pt idx="7879">
                  <c:v>3.5757998999999998</c:v>
                </c:pt>
                <c:pt idx="7880">
                  <c:v>3.5760000000000001</c:v>
                </c:pt>
                <c:pt idx="7881">
                  <c:v>3.5761997999999999</c:v>
                </c:pt>
                <c:pt idx="7882">
                  <c:v>3.5763997999999999</c:v>
                </c:pt>
                <c:pt idx="7883">
                  <c:v>3.5766000999999998</c:v>
                </c:pt>
                <c:pt idx="7884">
                  <c:v>3.5767999000000001</c:v>
                </c:pt>
                <c:pt idx="7885">
                  <c:v>3.5769999000000001</c:v>
                </c:pt>
                <c:pt idx="7886">
                  <c:v>3.5771999000000001</c:v>
                </c:pt>
                <c:pt idx="7887">
                  <c:v>3.5773999999999999</c:v>
                </c:pt>
                <c:pt idx="7888">
                  <c:v>3.5775999999999999</c:v>
                </c:pt>
                <c:pt idx="7889">
                  <c:v>3.5777998000000002</c:v>
                </c:pt>
                <c:pt idx="7890">
                  <c:v>3.5779998000000002</c:v>
                </c:pt>
                <c:pt idx="7891">
                  <c:v>3.5781999</c:v>
                </c:pt>
                <c:pt idx="7892">
                  <c:v>3.5783999</c:v>
                </c:pt>
                <c:pt idx="7893">
                  <c:v>3.5785998999999999</c:v>
                </c:pt>
                <c:pt idx="7894">
                  <c:v>3.5788000000000002</c:v>
                </c:pt>
                <c:pt idx="7895">
                  <c:v>3.5790000000000002</c:v>
                </c:pt>
                <c:pt idx="7896">
                  <c:v>3.5791998</c:v>
                </c:pt>
                <c:pt idx="7897">
                  <c:v>3.5793998</c:v>
                </c:pt>
                <c:pt idx="7898">
                  <c:v>3.5795998999999998</c:v>
                </c:pt>
                <c:pt idx="7899">
                  <c:v>3.5797998999999998</c:v>
                </c:pt>
                <c:pt idx="7900">
                  <c:v>3.5799998999999998</c:v>
                </c:pt>
                <c:pt idx="7901">
                  <c:v>3.5801997000000001</c:v>
                </c:pt>
                <c:pt idx="7902">
                  <c:v>3.5804</c:v>
                </c:pt>
                <c:pt idx="7903">
                  <c:v>3.5806</c:v>
                </c:pt>
                <c:pt idx="7904">
                  <c:v>3.5807997999999999</c:v>
                </c:pt>
                <c:pt idx="7905">
                  <c:v>3.5809999000000001</c:v>
                </c:pt>
                <c:pt idx="7906">
                  <c:v>3.5811999000000001</c:v>
                </c:pt>
                <c:pt idx="7907">
                  <c:v>3.5813999000000001</c:v>
                </c:pt>
                <c:pt idx="7908">
                  <c:v>3.5815999999999999</c:v>
                </c:pt>
                <c:pt idx="7909">
                  <c:v>3.5817996999999999</c:v>
                </c:pt>
                <c:pt idx="7910">
                  <c:v>3.5819999999999999</c:v>
                </c:pt>
                <c:pt idx="7911">
                  <c:v>3.5822001000000001</c:v>
                </c:pt>
                <c:pt idx="7912">
                  <c:v>3.5823998000000001</c:v>
                </c:pt>
                <c:pt idx="7913">
                  <c:v>3.5825998999999999</c:v>
                </c:pt>
                <c:pt idx="7914">
                  <c:v>3.5827996999999998</c:v>
                </c:pt>
                <c:pt idx="7915">
                  <c:v>3.5829998999999999</c:v>
                </c:pt>
                <c:pt idx="7916">
                  <c:v>3.5832000000000002</c:v>
                </c:pt>
                <c:pt idx="7917">
                  <c:v>3.5833998</c:v>
                </c:pt>
                <c:pt idx="7918">
                  <c:v>3.5836000000000001</c:v>
                </c:pt>
                <c:pt idx="7919">
                  <c:v>3.5838000999999999</c:v>
                </c:pt>
                <c:pt idx="7920">
                  <c:v>3.5839998999999998</c:v>
                </c:pt>
                <c:pt idx="7921">
                  <c:v>3.5841999000000002</c:v>
                </c:pt>
                <c:pt idx="7922">
                  <c:v>3.5843997000000001</c:v>
                </c:pt>
                <c:pt idx="7923">
                  <c:v>3.5846</c:v>
                </c:pt>
                <c:pt idx="7924">
                  <c:v>3.5848</c:v>
                </c:pt>
                <c:pt idx="7925">
                  <c:v>3.5849997999999998</c:v>
                </c:pt>
                <c:pt idx="7926">
                  <c:v>3.5852000999999998</c:v>
                </c:pt>
                <c:pt idx="7927">
                  <c:v>3.5853999000000001</c:v>
                </c:pt>
                <c:pt idx="7928">
                  <c:v>3.5855999000000001</c:v>
                </c:pt>
                <c:pt idx="7929">
                  <c:v>3.5857999</c:v>
                </c:pt>
                <c:pt idx="7930">
                  <c:v>3.5859996999999999</c:v>
                </c:pt>
                <c:pt idx="7931">
                  <c:v>3.5861999999999998</c:v>
                </c:pt>
                <c:pt idx="7932">
                  <c:v>3.5863998000000001</c:v>
                </c:pt>
                <c:pt idx="7933">
                  <c:v>3.5865998000000001</c:v>
                </c:pt>
                <c:pt idx="7934">
                  <c:v>3.5868001</c:v>
                </c:pt>
                <c:pt idx="7935">
                  <c:v>3.5869998999999999</c:v>
                </c:pt>
                <c:pt idx="7936">
                  <c:v>3.5871998999999999</c:v>
                </c:pt>
                <c:pt idx="7937">
                  <c:v>3.5873997000000002</c:v>
                </c:pt>
                <c:pt idx="7938">
                  <c:v>3.5875998</c:v>
                </c:pt>
                <c:pt idx="7939">
                  <c:v>3.5878000000000001</c:v>
                </c:pt>
                <c:pt idx="7940">
                  <c:v>3.5879998</c:v>
                </c:pt>
                <c:pt idx="7941">
                  <c:v>3.5881999000000002</c:v>
                </c:pt>
                <c:pt idx="7942">
                  <c:v>3.5884000999999999</c:v>
                </c:pt>
                <c:pt idx="7943">
                  <c:v>3.5885999000000002</c:v>
                </c:pt>
                <c:pt idx="7944">
                  <c:v>3.5888</c:v>
                </c:pt>
                <c:pt idx="7945">
                  <c:v>3.5889997</c:v>
                </c:pt>
                <c:pt idx="7946">
                  <c:v>3.5891997999999998</c:v>
                </c:pt>
                <c:pt idx="7947">
                  <c:v>3.5894001000000002</c:v>
                </c:pt>
                <c:pt idx="7948">
                  <c:v>3.5895997999999998</c:v>
                </c:pt>
                <c:pt idx="7949">
                  <c:v>3.5897999</c:v>
                </c:pt>
                <c:pt idx="7950">
                  <c:v>3.5899999</c:v>
                </c:pt>
                <c:pt idx="7951">
                  <c:v>3.5901999</c:v>
                </c:pt>
                <c:pt idx="7952">
                  <c:v>3.5903999999999998</c:v>
                </c:pt>
                <c:pt idx="7953">
                  <c:v>3.5905998000000001</c:v>
                </c:pt>
                <c:pt idx="7954">
                  <c:v>3.5907998000000001</c:v>
                </c:pt>
                <c:pt idx="7955">
                  <c:v>3.5910001</c:v>
                </c:pt>
                <c:pt idx="7956">
                  <c:v>3.5911998999999999</c:v>
                </c:pt>
                <c:pt idx="7957">
                  <c:v>3.5913998999999999</c:v>
                </c:pt>
                <c:pt idx="7958">
                  <c:v>3.5915998999999998</c:v>
                </c:pt>
                <c:pt idx="7959">
                  <c:v>3.5918000000000001</c:v>
                </c:pt>
                <c:pt idx="7960">
                  <c:v>3.5920000000000001</c:v>
                </c:pt>
                <c:pt idx="7961">
                  <c:v>3.5921997999999999</c:v>
                </c:pt>
                <c:pt idx="7962">
                  <c:v>3.5923997999999999</c:v>
                </c:pt>
                <c:pt idx="7963">
                  <c:v>3.5925999000000002</c:v>
                </c:pt>
                <c:pt idx="7964">
                  <c:v>3.5927999000000002</c:v>
                </c:pt>
                <c:pt idx="7965">
                  <c:v>3.5929999000000001</c:v>
                </c:pt>
                <c:pt idx="7966">
                  <c:v>3.5931999999999999</c:v>
                </c:pt>
                <c:pt idx="7967">
                  <c:v>3.5933999999999999</c:v>
                </c:pt>
                <c:pt idx="7968">
                  <c:v>3.5935997999999998</c:v>
                </c:pt>
                <c:pt idx="7969">
                  <c:v>3.5937998000000002</c:v>
                </c:pt>
                <c:pt idx="7970">
                  <c:v>3.5939999</c:v>
                </c:pt>
                <c:pt idx="7971">
                  <c:v>3.5941999</c:v>
                </c:pt>
                <c:pt idx="7972">
                  <c:v>3.5943999</c:v>
                </c:pt>
                <c:pt idx="7973">
                  <c:v>3.5945996999999998</c:v>
                </c:pt>
                <c:pt idx="7974">
                  <c:v>3.5948000000000002</c:v>
                </c:pt>
                <c:pt idx="7975">
                  <c:v>3.5950000000000002</c:v>
                </c:pt>
                <c:pt idx="7976">
                  <c:v>3.5951998000000001</c:v>
                </c:pt>
                <c:pt idx="7977">
                  <c:v>3.5953998999999999</c:v>
                </c:pt>
                <c:pt idx="7978">
                  <c:v>3.5955997000000002</c:v>
                </c:pt>
                <c:pt idx="7979">
                  <c:v>3.5957998999999998</c:v>
                </c:pt>
                <c:pt idx="7980">
                  <c:v>3.5960000000000001</c:v>
                </c:pt>
                <c:pt idx="7981">
                  <c:v>3.5961997999999999</c:v>
                </c:pt>
                <c:pt idx="7982">
                  <c:v>3.5964</c:v>
                </c:pt>
                <c:pt idx="7983">
                  <c:v>3.5966000999999999</c:v>
                </c:pt>
                <c:pt idx="7984">
                  <c:v>3.5967999000000002</c:v>
                </c:pt>
                <c:pt idx="7985">
                  <c:v>3.5969999000000001</c:v>
                </c:pt>
                <c:pt idx="7986">
                  <c:v>3.5971997</c:v>
                </c:pt>
                <c:pt idx="7987">
                  <c:v>3.5973999999999999</c:v>
                </c:pt>
                <c:pt idx="7988">
                  <c:v>3.5975999999999999</c:v>
                </c:pt>
                <c:pt idx="7989">
                  <c:v>3.5977998000000002</c:v>
                </c:pt>
                <c:pt idx="7990">
                  <c:v>3.5979999999999999</c:v>
                </c:pt>
                <c:pt idx="7991">
                  <c:v>3.5981998000000002</c:v>
                </c:pt>
                <c:pt idx="7992">
                  <c:v>3.5983999</c:v>
                </c:pt>
                <c:pt idx="7993">
                  <c:v>3.5985999</c:v>
                </c:pt>
                <c:pt idx="7994">
                  <c:v>3.5987996999999998</c:v>
                </c:pt>
                <c:pt idx="7995">
                  <c:v>3.5990000000000002</c:v>
                </c:pt>
                <c:pt idx="7996">
                  <c:v>3.5992000000000002</c:v>
                </c:pt>
                <c:pt idx="7997">
                  <c:v>3.5993998</c:v>
                </c:pt>
                <c:pt idx="7998">
                  <c:v>3.5996001</c:v>
                </c:pt>
                <c:pt idx="7999">
                  <c:v>3.5997998999999998</c:v>
                </c:pt>
                <c:pt idx="8000">
                  <c:v>3.5999998999999998</c:v>
                </c:pt>
                <c:pt idx="8001">
                  <c:v>3.6001998999999998</c:v>
                </c:pt>
                <c:pt idx="8002">
                  <c:v>3.6003997000000001</c:v>
                </c:pt>
                <c:pt idx="8003">
                  <c:v>3.6006</c:v>
                </c:pt>
                <c:pt idx="8004">
                  <c:v>3.6007997999999999</c:v>
                </c:pt>
                <c:pt idx="8005">
                  <c:v>3.6009997999999999</c:v>
                </c:pt>
                <c:pt idx="8006">
                  <c:v>3.6012000999999998</c:v>
                </c:pt>
                <c:pt idx="8007">
                  <c:v>3.6013999000000001</c:v>
                </c:pt>
                <c:pt idx="8008">
                  <c:v>3.6015999000000001</c:v>
                </c:pt>
                <c:pt idx="8009">
                  <c:v>3.6017996999999999</c:v>
                </c:pt>
                <c:pt idx="8010">
                  <c:v>3.6019998000000002</c:v>
                </c:pt>
                <c:pt idx="8011">
                  <c:v>3.6021999999999998</c:v>
                </c:pt>
                <c:pt idx="8012">
                  <c:v>3.6023998000000002</c:v>
                </c:pt>
                <c:pt idx="8013">
                  <c:v>3.6025999</c:v>
                </c:pt>
                <c:pt idx="8014">
                  <c:v>3.6028001000000001</c:v>
                </c:pt>
                <c:pt idx="8015">
                  <c:v>3.6029998999999999</c:v>
                </c:pt>
                <c:pt idx="8016">
                  <c:v>3.6032000000000002</c:v>
                </c:pt>
                <c:pt idx="8017">
                  <c:v>3.6033998</c:v>
                </c:pt>
                <c:pt idx="8018">
                  <c:v>3.6035998</c:v>
                </c:pt>
                <c:pt idx="8019">
                  <c:v>3.6038001</c:v>
                </c:pt>
                <c:pt idx="8020">
                  <c:v>3.6039998999999998</c:v>
                </c:pt>
                <c:pt idx="8021">
                  <c:v>3.6041998999999998</c:v>
                </c:pt>
                <c:pt idx="8022">
                  <c:v>3.6043999000000002</c:v>
                </c:pt>
                <c:pt idx="8023">
                  <c:v>3.6046</c:v>
                </c:pt>
                <c:pt idx="8024">
                  <c:v>3.6048</c:v>
                </c:pt>
                <c:pt idx="8025">
                  <c:v>3.6049997999999999</c:v>
                </c:pt>
                <c:pt idx="8026">
                  <c:v>3.6051997999999998</c:v>
                </c:pt>
                <c:pt idx="8027">
                  <c:v>3.6053997999999998</c:v>
                </c:pt>
                <c:pt idx="8028">
                  <c:v>3.6055999000000001</c:v>
                </c:pt>
                <c:pt idx="8029">
                  <c:v>3.6057999000000001</c:v>
                </c:pt>
                <c:pt idx="8030">
                  <c:v>3.6059999</c:v>
                </c:pt>
                <c:pt idx="8031">
                  <c:v>3.6061999999999999</c:v>
                </c:pt>
                <c:pt idx="8032">
                  <c:v>3.6063999999999998</c:v>
                </c:pt>
                <c:pt idx="8033">
                  <c:v>3.6065998000000001</c:v>
                </c:pt>
                <c:pt idx="8034">
                  <c:v>3.6067998000000001</c:v>
                </c:pt>
                <c:pt idx="8035">
                  <c:v>3.6069998999999999</c:v>
                </c:pt>
                <c:pt idx="8036">
                  <c:v>3.6071998999999999</c:v>
                </c:pt>
                <c:pt idx="8037">
                  <c:v>3.6073998999999999</c:v>
                </c:pt>
                <c:pt idx="8038">
                  <c:v>3.6076000000000001</c:v>
                </c:pt>
                <c:pt idx="8039">
                  <c:v>3.6078000000000001</c:v>
                </c:pt>
                <c:pt idx="8040">
                  <c:v>3.6079998</c:v>
                </c:pt>
                <c:pt idx="8041">
                  <c:v>3.6081998</c:v>
                </c:pt>
                <c:pt idx="8042">
                  <c:v>3.6083999000000002</c:v>
                </c:pt>
                <c:pt idx="8043">
                  <c:v>3.6085999000000002</c:v>
                </c:pt>
                <c:pt idx="8044">
                  <c:v>3.6087999000000002</c:v>
                </c:pt>
                <c:pt idx="8045">
                  <c:v>3.6089997</c:v>
                </c:pt>
                <c:pt idx="8046">
                  <c:v>3.6092</c:v>
                </c:pt>
                <c:pt idx="8047">
                  <c:v>3.6093999999999999</c:v>
                </c:pt>
                <c:pt idx="8048">
                  <c:v>3.6095997999999998</c:v>
                </c:pt>
                <c:pt idx="8049">
                  <c:v>3.6097999000000001</c:v>
                </c:pt>
                <c:pt idx="8050">
                  <c:v>3.6099996999999999</c:v>
                </c:pt>
                <c:pt idx="8051">
                  <c:v>3.6101999</c:v>
                </c:pt>
                <c:pt idx="8052">
                  <c:v>3.6103999999999998</c:v>
                </c:pt>
                <c:pt idx="8053">
                  <c:v>3.6105998000000001</c:v>
                </c:pt>
                <c:pt idx="8054">
                  <c:v>3.6107999999999998</c:v>
                </c:pt>
                <c:pt idx="8055">
                  <c:v>3.6110001</c:v>
                </c:pt>
                <c:pt idx="8056">
                  <c:v>3.6111998999999999</c:v>
                </c:pt>
                <c:pt idx="8057">
                  <c:v>3.6113998999999999</c:v>
                </c:pt>
                <c:pt idx="8058">
                  <c:v>3.6115997000000002</c:v>
                </c:pt>
                <c:pt idx="8059">
                  <c:v>3.6118000000000001</c:v>
                </c:pt>
                <c:pt idx="8060">
                  <c:v>3.6120000000000001</c:v>
                </c:pt>
                <c:pt idx="8061">
                  <c:v>3.6121998</c:v>
                </c:pt>
                <c:pt idx="8062">
                  <c:v>3.6124000999999999</c:v>
                </c:pt>
                <c:pt idx="8063">
                  <c:v>3.6125997999999999</c:v>
                </c:pt>
                <c:pt idx="8064">
                  <c:v>3.6127999000000002</c:v>
                </c:pt>
                <c:pt idx="8065">
                  <c:v>3.6129999000000002</c:v>
                </c:pt>
                <c:pt idx="8066">
                  <c:v>3.6131997</c:v>
                </c:pt>
                <c:pt idx="8067">
                  <c:v>3.6133999999999999</c:v>
                </c:pt>
                <c:pt idx="8068">
                  <c:v>3.6135999999999999</c:v>
                </c:pt>
                <c:pt idx="8069">
                  <c:v>3.6137997999999998</c:v>
                </c:pt>
                <c:pt idx="8070">
                  <c:v>3.6140001000000002</c:v>
                </c:pt>
                <c:pt idx="8071">
                  <c:v>3.6141999</c:v>
                </c:pt>
                <c:pt idx="8072">
                  <c:v>3.6143999</c:v>
                </c:pt>
                <c:pt idx="8073">
                  <c:v>3.6145999</c:v>
                </c:pt>
                <c:pt idx="8074">
                  <c:v>3.6147996999999998</c:v>
                </c:pt>
                <c:pt idx="8075">
                  <c:v>3.6150000000000002</c:v>
                </c:pt>
                <c:pt idx="8076">
                  <c:v>3.6151998000000001</c:v>
                </c:pt>
                <c:pt idx="8077">
                  <c:v>3.6153998000000001</c:v>
                </c:pt>
                <c:pt idx="8078">
                  <c:v>3.6156001</c:v>
                </c:pt>
                <c:pt idx="8079">
                  <c:v>3.6157998999999998</c:v>
                </c:pt>
                <c:pt idx="8080">
                  <c:v>3.6159998999999998</c:v>
                </c:pt>
                <c:pt idx="8081">
                  <c:v>3.6161997000000001</c:v>
                </c:pt>
                <c:pt idx="8082">
                  <c:v>3.6163997999999999</c:v>
                </c:pt>
                <c:pt idx="8083">
                  <c:v>3.6166</c:v>
                </c:pt>
                <c:pt idx="8084">
                  <c:v>3.6167997999999999</c:v>
                </c:pt>
                <c:pt idx="8085">
                  <c:v>3.6169999000000002</c:v>
                </c:pt>
                <c:pt idx="8086">
                  <c:v>3.6172000999999998</c:v>
                </c:pt>
                <c:pt idx="8087">
                  <c:v>3.6173999000000001</c:v>
                </c:pt>
                <c:pt idx="8088">
                  <c:v>3.6175999999999999</c:v>
                </c:pt>
                <c:pt idx="8089">
                  <c:v>3.6177997999999998</c:v>
                </c:pt>
                <c:pt idx="8090">
                  <c:v>3.6179998000000002</c:v>
                </c:pt>
                <c:pt idx="8091">
                  <c:v>3.6182001000000001</c:v>
                </c:pt>
                <c:pt idx="8092">
                  <c:v>3.6183999</c:v>
                </c:pt>
                <c:pt idx="8093">
                  <c:v>3.6185999</c:v>
                </c:pt>
                <c:pt idx="8094">
                  <c:v>3.6187999</c:v>
                </c:pt>
                <c:pt idx="8095">
                  <c:v>3.6190000000000002</c:v>
                </c:pt>
                <c:pt idx="8096">
                  <c:v>3.6192000000000002</c:v>
                </c:pt>
                <c:pt idx="8097">
                  <c:v>3.6193998000000001</c:v>
                </c:pt>
                <c:pt idx="8098">
                  <c:v>3.6195998</c:v>
                </c:pt>
                <c:pt idx="8099">
                  <c:v>3.6197998999999998</c:v>
                </c:pt>
                <c:pt idx="8100">
                  <c:v>3.6199998999999998</c:v>
                </c:pt>
                <c:pt idx="8101">
                  <c:v>3.6201998999999998</c:v>
                </c:pt>
                <c:pt idx="8102">
                  <c:v>3.6204000000000001</c:v>
                </c:pt>
                <c:pt idx="8103">
                  <c:v>3.6206</c:v>
                </c:pt>
                <c:pt idx="8104">
                  <c:v>3.6207997999999999</c:v>
                </c:pt>
                <c:pt idx="8105">
                  <c:v>3.6209997999999999</c:v>
                </c:pt>
                <c:pt idx="8106">
                  <c:v>3.6211997999999999</c:v>
                </c:pt>
                <c:pt idx="8107">
                  <c:v>3.6213999000000001</c:v>
                </c:pt>
                <c:pt idx="8108">
                  <c:v>3.6215999000000001</c:v>
                </c:pt>
                <c:pt idx="8109">
                  <c:v>3.6217999000000001</c:v>
                </c:pt>
                <c:pt idx="8110">
                  <c:v>3.6219999999999999</c:v>
                </c:pt>
                <c:pt idx="8111">
                  <c:v>3.6221999999999999</c:v>
                </c:pt>
                <c:pt idx="8112">
                  <c:v>3.6223998000000002</c:v>
                </c:pt>
                <c:pt idx="8113">
                  <c:v>3.6225998000000001</c:v>
                </c:pt>
                <c:pt idx="8114">
                  <c:v>3.6227999</c:v>
                </c:pt>
                <c:pt idx="8115">
                  <c:v>3.6229998999999999</c:v>
                </c:pt>
                <c:pt idx="8116">
                  <c:v>3.6231998999999999</c:v>
                </c:pt>
                <c:pt idx="8117">
                  <c:v>3.6233996999999998</c:v>
                </c:pt>
                <c:pt idx="8118">
                  <c:v>3.6236000000000002</c:v>
                </c:pt>
                <c:pt idx="8119">
                  <c:v>3.6238000000000001</c:v>
                </c:pt>
                <c:pt idx="8120">
                  <c:v>3.6239998</c:v>
                </c:pt>
                <c:pt idx="8121">
                  <c:v>3.6241998999999998</c:v>
                </c:pt>
                <c:pt idx="8122">
                  <c:v>3.6243997000000001</c:v>
                </c:pt>
                <c:pt idx="8123">
                  <c:v>3.6245999000000002</c:v>
                </c:pt>
                <c:pt idx="8124">
                  <c:v>3.6248</c:v>
                </c:pt>
                <c:pt idx="8125">
                  <c:v>3.6249997999999999</c:v>
                </c:pt>
                <c:pt idx="8126">
                  <c:v>3.6252</c:v>
                </c:pt>
                <c:pt idx="8127">
                  <c:v>3.6254000999999998</c:v>
                </c:pt>
                <c:pt idx="8128">
                  <c:v>3.6255999000000001</c:v>
                </c:pt>
                <c:pt idx="8129">
                  <c:v>3.6257999000000001</c:v>
                </c:pt>
                <c:pt idx="8130">
                  <c:v>3.6259996999999999</c:v>
                </c:pt>
                <c:pt idx="8131">
                  <c:v>3.6261999999999999</c:v>
                </c:pt>
                <c:pt idx="8132">
                  <c:v>3.6263999999999998</c:v>
                </c:pt>
                <c:pt idx="8133">
                  <c:v>3.6265998000000002</c:v>
                </c:pt>
                <c:pt idx="8134">
                  <c:v>3.6268001000000001</c:v>
                </c:pt>
                <c:pt idx="8135">
                  <c:v>3.6269998999999999</c:v>
                </c:pt>
                <c:pt idx="8136">
                  <c:v>3.6271998999999999</c:v>
                </c:pt>
                <c:pt idx="8137">
                  <c:v>3.6273998999999999</c:v>
                </c:pt>
                <c:pt idx="8138">
                  <c:v>3.6275997000000002</c:v>
                </c:pt>
                <c:pt idx="8139">
                  <c:v>3.6278000000000001</c:v>
                </c:pt>
                <c:pt idx="8140">
                  <c:v>3.6279998</c:v>
                </c:pt>
                <c:pt idx="8141">
                  <c:v>3.6281998</c:v>
                </c:pt>
                <c:pt idx="8142">
                  <c:v>3.6284000999999999</c:v>
                </c:pt>
                <c:pt idx="8143">
                  <c:v>3.6285999000000002</c:v>
                </c:pt>
                <c:pt idx="8144">
                  <c:v>3.6287999000000002</c:v>
                </c:pt>
                <c:pt idx="8145">
                  <c:v>3.6289999000000002</c:v>
                </c:pt>
                <c:pt idx="8146">
                  <c:v>3.6291997</c:v>
                </c:pt>
                <c:pt idx="8147">
                  <c:v>3.6294</c:v>
                </c:pt>
                <c:pt idx="8148">
                  <c:v>3.6295997999999998</c:v>
                </c:pt>
                <c:pt idx="8149">
                  <c:v>3.6297997999999998</c:v>
                </c:pt>
                <c:pt idx="8150">
                  <c:v>3.6300001000000002</c:v>
                </c:pt>
                <c:pt idx="8151">
                  <c:v>3.6301999</c:v>
                </c:pt>
                <c:pt idx="8152">
                  <c:v>3.6303999</c:v>
                </c:pt>
                <c:pt idx="8153">
                  <c:v>3.6305996999999999</c:v>
                </c:pt>
                <c:pt idx="8154">
                  <c:v>3.6307998000000001</c:v>
                </c:pt>
                <c:pt idx="8155">
                  <c:v>3.6309999999999998</c:v>
                </c:pt>
                <c:pt idx="8156">
                  <c:v>3.6311998000000001</c:v>
                </c:pt>
                <c:pt idx="8157">
                  <c:v>3.6313998999999999</c:v>
                </c:pt>
                <c:pt idx="8158">
                  <c:v>3.6316001</c:v>
                </c:pt>
                <c:pt idx="8159">
                  <c:v>3.6317998999999999</c:v>
                </c:pt>
                <c:pt idx="8160">
                  <c:v>3.6320000000000001</c:v>
                </c:pt>
                <c:pt idx="8161">
                  <c:v>3.6321998</c:v>
                </c:pt>
                <c:pt idx="8162">
                  <c:v>3.6323998</c:v>
                </c:pt>
                <c:pt idx="8163">
                  <c:v>3.6326000999999999</c:v>
                </c:pt>
                <c:pt idx="8164">
                  <c:v>3.6327999000000002</c:v>
                </c:pt>
                <c:pt idx="8165">
                  <c:v>3.6329999000000002</c:v>
                </c:pt>
                <c:pt idx="8166">
                  <c:v>3.6331999000000001</c:v>
                </c:pt>
                <c:pt idx="8167">
                  <c:v>3.6334</c:v>
                </c:pt>
                <c:pt idx="8168">
                  <c:v>3.6335999999999999</c:v>
                </c:pt>
                <c:pt idx="8169">
                  <c:v>3.6337997999999998</c:v>
                </c:pt>
                <c:pt idx="8170">
                  <c:v>3.6339997999999998</c:v>
                </c:pt>
                <c:pt idx="8171">
                  <c:v>3.6341999</c:v>
                </c:pt>
                <c:pt idx="8172">
                  <c:v>3.6343999</c:v>
                </c:pt>
                <c:pt idx="8173">
                  <c:v>3.6345999</c:v>
                </c:pt>
                <c:pt idx="8174">
                  <c:v>3.6347999999999998</c:v>
                </c:pt>
                <c:pt idx="8175">
                  <c:v>3.6349999999999998</c:v>
                </c:pt>
                <c:pt idx="8176">
                  <c:v>3.6351998000000001</c:v>
                </c:pt>
                <c:pt idx="8177">
                  <c:v>3.6353998000000001</c:v>
                </c:pt>
                <c:pt idx="8178">
                  <c:v>3.6355998999999999</c:v>
                </c:pt>
                <c:pt idx="8179">
                  <c:v>3.6357998999999999</c:v>
                </c:pt>
                <c:pt idx="8180">
                  <c:v>3.6359998999999998</c:v>
                </c:pt>
                <c:pt idx="8181">
                  <c:v>3.6362000000000001</c:v>
                </c:pt>
                <c:pt idx="8182">
                  <c:v>3.6364000000000001</c:v>
                </c:pt>
                <c:pt idx="8183">
                  <c:v>3.6366000000000001</c:v>
                </c:pt>
                <c:pt idx="8184">
                  <c:v>3.6367997999999999</c:v>
                </c:pt>
                <c:pt idx="8185">
                  <c:v>3.6369997999999999</c:v>
                </c:pt>
                <c:pt idx="8186">
                  <c:v>3.6371999000000002</c:v>
                </c:pt>
                <c:pt idx="8187">
                  <c:v>3.6373999000000001</c:v>
                </c:pt>
                <c:pt idx="8188">
                  <c:v>3.6375999000000001</c:v>
                </c:pt>
                <c:pt idx="8189">
                  <c:v>3.6377997</c:v>
                </c:pt>
                <c:pt idx="8190">
                  <c:v>3.6379999999999999</c:v>
                </c:pt>
                <c:pt idx="8191">
                  <c:v>3.6381999999999999</c:v>
                </c:pt>
                <c:pt idx="8192">
                  <c:v>3.6383998000000002</c:v>
                </c:pt>
                <c:pt idx="8193">
                  <c:v>3.6385999</c:v>
                </c:pt>
                <c:pt idx="8194">
                  <c:v>3.6387996999999999</c:v>
                </c:pt>
                <c:pt idx="8195">
                  <c:v>3.6389999</c:v>
                </c:pt>
                <c:pt idx="8196">
                  <c:v>3.6392000000000002</c:v>
                </c:pt>
                <c:pt idx="8197">
                  <c:v>3.6393998000000001</c:v>
                </c:pt>
                <c:pt idx="8198">
                  <c:v>3.6396000000000002</c:v>
                </c:pt>
                <c:pt idx="8199">
                  <c:v>3.6398001</c:v>
                </c:pt>
                <c:pt idx="8200">
                  <c:v>3.6399998999999998</c:v>
                </c:pt>
                <c:pt idx="8201">
                  <c:v>3.6401998999999998</c:v>
                </c:pt>
                <c:pt idx="8202">
                  <c:v>3.6403997000000001</c:v>
                </c:pt>
                <c:pt idx="8203">
                  <c:v>3.6406000000000001</c:v>
                </c:pt>
                <c:pt idx="8204">
                  <c:v>3.6408</c:v>
                </c:pt>
                <c:pt idx="8205">
                  <c:v>3.6409997999999999</c:v>
                </c:pt>
                <c:pt idx="8206">
                  <c:v>3.6412000999999998</c:v>
                </c:pt>
                <c:pt idx="8207">
                  <c:v>3.6413999000000001</c:v>
                </c:pt>
                <c:pt idx="8208">
                  <c:v>3.6415999000000001</c:v>
                </c:pt>
                <c:pt idx="8209">
                  <c:v>3.6417999000000001</c:v>
                </c:pt>
                <c:pt idx="8210">
                  <c:v>3.6419997</c:v>
                </c:pt>
                <c:pt idx="8211">
                  <c:v>3.6421999999999999</c:v>
                </c:pt>
                <c:pt idx="8212">
                  <c:v>3.6423998000000002</c:v>
                </c:pt>
                <c:pt idx="8213">
                  <c:v>3.6425998000000002</c:v>
                </c:pt>
                <c:pt idx="8214">
                  <c:v>3.6428001000000001</c:v>
                </c:pt>
                <c:pt idx="8215">
                  <c:v>3.6429999</c:v>
                </c:pt>
                <c:pt idx="8216">
                  <c:v>3.6431998999999999</c:v>
                </c:pt>
                <c:pt idx="8217">
                  <c:v>3.6433996999999998</c:v>
                </c:pt>
                <c:pt idx="8218">
                  <c:v>3.6435997000000002</c:v>
                </c:pt>
                <c:pt idx="8219">
                  <c:v>3.6438000000000001</c:v>
                </c:pt>
                <c:pt idx="8220">
                  <c:v>3.6439998</c:v>
                </c:pt>
                <c:pt idx="8221">
                  <c:v>3.6441998</c:v>
                </c:pt>
                <c:pt idx="8222">
                  <c:v>3.6444000999999999</c:v>
                </c:pt>
                <c:pt idx="8223">
                  <c:v>3.6445998999999998</c:v>
                </c:pt>
                <c:pt idx="8224">
                  <c:v>3.6447999000000002</c:v>
                </c:pt>
                <c:pt idx="8225">
                  <c:v>3.6449997000000001</c:v>
                </c:pt>
                <c:pt idx="8226">
                  <c:v>3.6451997999999999</c:v>
                </c:pt>
                <c:pt idx="8227">
                  <c:v>3.6454</c:v>
                </c:pt>
                <c:pt idx="8228">
                  <c:v>3.6455997999999998</c:v>
                </c:pt>
                <c:pt idx="8229">
                  <c:v>3.6457999000000001</c:v>
                </c:pt>
                <c:pt idx="8230">
                  <c:v>3.6459999000000001</c:v>
                </c:pt>
                <c:pt idx="8231">
                  <c:v>3.6461999</c:v>
                </c:pt>
                <c:pt idx="8232">
                  <c:v>3.6463999999999999</c:v>
                </c:pt>
                <c:pt idx="8233">
                  <c:v>3.6465998000000002</c:v>
                </c:pt>
                <c:pt idx="8234">
                  <c:v>3.6467998000000001</c:v>
                </c:pt>
                <c:pt idx="8235">
                  <c:v>3.6470001000000001</c:v>
                </c:pt>
                <c:pt idx="8236">
                  <c:v>3.6471998999999999</c:v>
                </c:pt>
                <c:pt idx="8237">
                  <c:v>3.6473998999999999</c:v>
                </c:pt>
                <c:pt idx="8238">
                  <c:v>3.6475998999999999</c:v>
                </c:pt>
                <c:pt idx="8239">
                  <c:v>3.6478000000000002</c:v>
                </c:pt>
                <c:pt idx="8240">
                  <c:v>3.6480000000000001</c:v>
                </c:pt>
                <c:pt idx="8241">
                  <c:v>3.6481998</c:v>
                </c:pt>
                <c:pt idx="8242">
                  <c:v>3.6483998</c:v>
                </c:pt>
                <c:pt idx="8243">
                  <c:v>3.6485998999999998</c:v>
                </c:pt>
                <c:pt idx="8244">
                  <c:v>3.6487999000000002</c:v>
                </c:pt>
                <c:pt idx="8245">
                  <c:v>3.6489999000000002</c:v>
                </c:pt>
                <c:pt idx="8246">
                  <c:v>3.6492</c:v>
                </c:pt>
                <c:pt idx="8247">
                  <c:v>3.6494</c:v>
                </c:pt>
                <c:pt idx="8248">
                  <c:v>3.6495997999999998</c:v>
                </c:pt>
                <c:pt idx="8249">
                  <c:v>3.6497997999999998</c:v>
                </c:pt>
                <c:pt idx="8250">
                  <c:v>3.6499999000000001</c:v>
                </c:pt>
                <c:pt idx="8251">
                  <c:v>3.6501999000000001</c:v>
                </c:pt>
                <c:pt idx="8252">
                  <c:v>3.6503999</c:v>
                </c:pt>
                <c:pt idx="8253">
                  <c:v>3.6505996999999999</c:v>
                </c:pt>
                <c:pt idx="8254">
                  <c:v>3.6507999999999998</c:v>
                </c:pt>
                <c:pt idx="8255">
                  <c:v>3.6509999999999998</c:v>
                </c:pt>
                <c:pt idx="8256">
                  <c:v>3.6511998000000001</c:v>
                </c:pt>
                <c:pt idx="8257">
                  <c:v>3.6513998999999999</c:v>
                </c:pt>
                <c:pt idx="8258">
                  <c:v>3.6515998999999999</c:v>
                </c:pt>
                <c:pt idx="8259">
                  <c:v>3.6517998999999999</c:v>
                </c:pt>
                <c:pt idx="8260">
                  <c:v>3.6520000000000001</c:v>
                </c:pt>
                <c:pt idx="8261">
                  <c:v>3.6521997000000002</c:v>
                </c:pt>
                <c:pt idx="8262">
                  <c:v>3.6524000000000001</c:v>
                </c:pt>
                <c:pt idx="8263">
                  <c:v>3.6526000000000001</c:v>
                </c:pt>
                <c:pt idx="8264">
                  <c:v>3.6527997999999999</c:v>
                </c:pt>
                <c:pt idx="8265">
                  <c:v>3.6529999000000002</c:v>
                </c:pt>
                <c:pt idx="8266">
                  <c:v>3.6531997</c:v>
                </c:pt>
                <c:pt idx="8267">
                  <c:v>3.6533999000000001</c:v>
                </c:pt>
                <c:pt idx="8268">
                  <c:v>3.6536</c:v>
                </c:pt>
                <c:pt idx="8269">
                  <c:v>3.6537997999999998</c:v>
                </c:pt>
                <c:pt idx="8270">
                  <c:v>3.6539999999999999</c:v>
                </c:pt>
                <c:pt idx="8271">
                  <c:v>3.6542001000000002</c:v>
                </c:pt>
                <c:pt idx="8272">
                  <c:v>3.6543999</c:v>
                </c:pt>
                <c:pt idx="8273">
                  <c:v>3.6545999</c:v>
                </c:pt>
                <c:pt idx="8274">
                  <c:v>3.6547996999999999</c:v>
                </c:pt>
                <c:pt idx="8275">
                  <c:v>3.6549999999999998</c:v>
                </c:pt>
                <c:pt idx="8276">
                  <c:v>3.6551999999999998</c:v>
                </c:pt>
                <c:pt idx="8277">
                  <c:v>3.6553998000000001</c:v>
                </c:pt>
                <c:pt idx="8278">
                  <c:v>3.6556001</c:v>
                </c:pt>
                <c:pt idx="8279">
                  <c:v>3.6557998999999999</c:v>
                </c:pt>
                <c:pt idx="8280">
                  <c:v>3.6559998999999999</c:v>
                </c:pt>
                <c:pt idx="8281">
                  <c:v>3.6561998999999998</c:v>
                </c:pt>
                <c:pt idx="8282">
                  <c:v>3.6563997000000001</c:v>
                </c:pt>
                <c:pt idx="8283">
                  <c:v>3.6566000000000001</c:v>
                </c:pt>
                <c:pt idx="8284">
                  <c:v>3.6567997999999999</c:v>
                </c:pt>
                <c:pt idx="8285">
                  <c:v>3.6569997999999999</c:v>
                </c:pt>
                <c:pt idx="8286">
                  <c:v>3.6572000999999998</c:v>
                </c:pt>
                <c:pt idx="8287">
                  <c:v>3.6573999000000001</c:v>
                </c:pt>
                <c:pt idx="8288">
                  <c:v>3.6575999000000001</c:v>
                </c:pt>
                <c:pt idx="8289">
                  <c:v>3.6577997</c:v>
                </c:pt>
                <c:pt idx="8290">
                  <c:v>3.6579997999999998</c:v>
                </c:pt>
                <c:pt idx="8291">
                  <c:v>3.6581999999999999</c:v>
                </c:pt>
                <c:pt idx="8292">
                  <c:v>3.6583998000000002</c:v>
                </c:pt>
                <c:pt idx="8293">
                  <c:v>3.6585999</c:v>
                </c:pt>
                <c:pt idx="8294">
                  <c:v>3.6588001000000001</c:v>
                </c:pt>
                <c:pt idx="8295">
                  <c:v>3.6589999</c:v>
                </c:pt>
                <c:pt idx="8296">
                  <c:v>3.6591999999999998</c:v>
                </c:pt>
                <c:pt idx="8297">
                  <c:v>3.6593996999999998</c:v>
                </c:pt>
                <c:pt idx="8298">
                  <c:v>3.6595998000000001</c:v>
                </c:pt>
                <c:pt idx="8299">
                  <c:v>3.6598001</c:v>
                </c:pt>
                <c:pt idx="8300">
                  <c:v>3.6599998</c:v>
                </c:pt>
                <c:pt idx="8301">
                  <c:v>3.6601998999999998</c:v>
                </c:pt>
                <c:pt idx="8302">
                  <c:v>3.6603998999999998</c:v>
                </c:pt>
                <c:pt idx="8303">
                  <c:v>3.6605998999999998</c:v>
                </c:pt>
                <c:pt idx="8304">
                  <c:v>3.6608000000000001</c:v>
                </c:pt>
                <c:pt idx="8305">
                  <c:v>3.6609997999999999</c:v>
                </c:pt>
                <c:pt idx="8306">
                  <c:v>3.6611997999999999</c:v>
                </c:pt>
                <c:pt idx="8307">
                  <c:v>3.6613997999999999</c:v>
                </c:pt>
                <c:pt idx="8308">
                  <c:v>3.6615999000000001</c:v>
                </c:pt>
                <c:pt idx="8309">
                  <c:v>3.6617999000000001</c:v>
                </c:pt>
                <c:pt idx="8310">
                  <c:v>3.6619999000000001</c:v>
                </c:pt>
                <c:pt idx="8311">
                  <c:v>3.6621999999999999</c:v>
                </c:pt>
                <c:pt idx="8312">
                  <c:v>3.6623999999999999</c:v>
                </c:pt>
                <c:pt idx="8313">
                  <c:v>3.6625998000000002</c:v>
                </c:pt>
                <c:pt idx="8314">
                  <c:v>3.6627998000000002</c:v>
                </c:pt>
                <c:pt idx="8315">
                  <c:v>3.6629999</c:v>
                </c:pt>
                <c:pt idx="8316">
                  <c:v>3.6631999</c:v>
                </c:pt>
                <c:pt idx="8317">
                  <c:v>3.6633998999999999</c:v>
                </c:pt>
                <c:pt idx="8318">
                  <c:v>3.6636000000000002</c:v>
                </c:pt>
                <c:pt idx="8319">
                  <c:v>3.6638000000000002</c:v>
                </c:pt>
                <c:pt idx="8320">
                  <c:v>3.6639998</c:v>
                </c:pt>
                <c:pt idx="8321">
                  <c:v>3.6641998</c:v>
                </c:pt>
                <c:pt idx="8322">
                  <c:v>3.6643998999999998</c:v>
                </c:pt>
                <c:pt idx="8323">
                  <c:v>3.6645998999999998</c:v>
                </c:pt>
                <c:pt idx="8324">
                  <c:v>3.6647999000000002</c:v>
                </c:pt>
                <c:pt idx="8325">
                  <c:v>3.6649997000000001</c:v>
                </c:pt>
                <c:pt idx="8326">
                  <c:v>3.6652</c:v>
                </c:pt>
                <c:pt idx="8327">
                  <c:v>3.6654</c:v>
                </c:pt>
                <c:pt idx="8328">
                  <c:v>3.6655997999999999</c:v>
                </c:pt>
                <c:pt idx="8329">
                  <c:v>3.6657999000000001</c:v>
                </c:pt>
                <c:pt idx="8330">
                  <c:v>3.6659997</c:v>
                </c:pt>
                <c:pt idx="8331">
                  <c:v>3.6661999000000001</c:v>
                </c:pt>
                <c:pt idx="8332">
                  <c:v>3.6663999999999999</c:v>
                </c:pt>
                <c:pt idx="8333">
                  <c:v>3.6665998000000002</c:v>
                </c:pt>
                <c:pt idx="8334">
                  <c:v>3.6667999999999998</c:v>
                </c:pt>
                <c:pt idx="8335">
                  <c:v>3.6670001000000001</c:v>
                </c:pt>
                <c:pt idx="8336">
                  <c:v>3.6671999</c:v>
                </c:pt>
                <c:pt idx="8337">
                  <c:v>3.6673998999999999</c:v>
                </c:pt>
                <c:pt idx="8338">
                  <c:v>3.6675996999999998</c:v>
                </c:pt>
                <c:pt idx="8339">
                  <c:v>3.6677998999999999</c:v>
                </c:pt>
                <c:pt idx="8340">
                  <c:v>3.6680000000000001</c:v>
                </c:pt>
                <c:pt idx="8341">
                  <c:v>3.6681998</c:v>
                </c:pt>
                <c:pt idx="8342">
                  <c:v>3.6684000000000001</c:v>
                </c:pt>
                <c:pt idx="8343">
                  <c:v>3.6685998</c:v>
                </c:pt>
                <c:pt idx="8344">
                  <c:v>3.6687998999999998</c:v>
                </c:pt>
                <c:pt idx="8345">
                  <c:v>3.6689999000000002</c:v>
                </c:pt>
                <c:pt idx="8346">
                  <c:v>3.6691997000000001</c:v>
                </c:pt>
                <c:pt idx="8347">
                  <c:v>3.6694</c:v>
                </c:pt>
                <c:pt idx="8348">
                  <c:v>3.6696</c:v>
                </c:pt>
                <c:pt idx="8349">
                  <c:v>3.6697997999999998</c:v>
                </c:pt>
                <c:pt idx="8350">
                  <c:v>3.6700001000000002</c:v>
                </c:pt>
                <c:pt idx="8351">
                  <c:v>3.6701999000000001</c:v>
                </c:pt>
                <c:pt idx="8352">
                  <c:v>3.6703999</c:v>
                </c:pt>
                <c:pt idx="8353">
                  <c:v>3.6705999</c:v>
                </c:pt>
                <c:pt idx="8354">
                  <c:v>3.6707996999999999</c:v>
                </c:pt>
                <c:pt idx="8355">
                  <c:v>3.6709999999999998</c:v>
                </c:pt>
                <c:pt idx="8356">
                  <c:v>3.6711998000000001</c:v>
                </c:pt>
                <c:pt idx="8357">
                  <c:v>3.6713998000000001</c:v>
                </c:pt>
                <c:pt idx="8358">
                  <c:v>3.6716001</c:v>
                </c:pt>
                <c:pt idx="8359">
                  <c:v>3.6717998999999999</c:v>
                </c:pt>
                <c:pt idx="8360">
                  <c:v>3.6719998999999999</c:v>
                </c:pt>
                <c:pt idx="8361">
                  <c:v>3.6721997000000002</c:v>
                </c:pt>
                <c:pt idx="8362">
                  <c:v>3.6723998</c:v>
                </c:pt>
                <c:pt idx="8363">
                  <c:v>3.6726000000000001</c:v>
                </c:pt>
                <c:pt idx="8364">
                  <c:v>3.6727997999999999</c:v>
                </c:pt>
                <c:pt idx="8365">
                  <c:v>3.6729999000000002</c:v>
                </c:pt>
                <c:pt idx="8366">
                  <c:v>3.6732000999999999</c:v>
                </c:pt>
                <c:pt idx="8367">
                  <c:v>3.6733999000000002</c:v>
                </c:pt>
                <c:pt idx="8368">
                  <c:v>3.6736</c:v>
                </c:pt>
                <c:pt idx="8369">
                  <c:v>3.6737997999999998</c:v>
                </c:pt>
                <c:pt idx="8370">
                  <c:v>3.6739997999999998</c:v>
                </c:pt>
                <c:pt idx="8371">
                  <c:v>3.6742001000000002</c:v>
                </c:pt>
                <c:pt idx="8372">
                  <c:v>3.6743999000000001</c:v>
                </c:pt>
                <c:pt idx="8373">
                  <c:v>3.6745999</c:v>
                </c:pt>
                <c:pt idx="8374">
                  <c:v>3.6747999</c:v>
                </c:pt>
                <c:pt idx="8375">
                  <c:v>3.6749999999999998</c:v>
                </c:pt>
                <c:pt idx="8376">
                  <c:v>3.6751999999999998</c:v>
                </c:pt>
                <c:pt idx="8377">
                  <c:v>3.6753998000000001</c:v>
                </c:pt>
                <c:pt idx="8378">
                  <c:v>3.6755998000000001</c:v>
                </c:pt>
                <c:pt idx="8379">
                  <c:v>3.6757998000000001</c:v>
                </c:pt>
                <c:pt idx="8380">
                  <c:v>3.6759998999999999</c:v>
                </c:pt>
                <c:pt idx="8381">
                  <c:v>3.6761998999999999</c:v>
                </c:pt>
                <c:pt idx="8382">
                  <c:v>3.6763998999999998</c:v>
                </c:pt>
                <c:pt idx="8383">
                  <c:v>3.6766000000000001</c:v>
                </c:pt>
                <c:pt idx="8384">
                  <c:v>3.6768000000000001</c:v>
                </c:pt>
                <c:pt idx="8385">
                  <c:v>3.6769997999999999</c:v>
                </c:pt>
                <c:pt idx="8386">
                  <c:v>3.6771997999999999</c:v>
                </c:pt>
                <c:pt idx="8387">
                  <c:v>3.6773999000000002</c:v>
                </c:pt>
                <c:pt idx="8388">
                  <c:v>3.6775999000000001</c:v>
                </c:pt>
                <c:pt idx="8389">
                  <c:v>3.6777999000000001</c:v>
                </c:pt>
                <c:pt idx="8390">
                  <c:v>3.6779999999999999</c:v>
                </c:pt>
                <c:pt idx="8391">
                  <c:v>3.6781999999999999</c:v>
                </c:pt>
                <c:pt idx="8392">
                  <c:v>3.6783998000000002</c:v>
                </c:pt>
                <c:pt idx="8393">
                  <c:v>3.6785998000000002</c:v>
                </c:pt>
                <c:pt idx="8394">
                  <c:v>3.6787999</c:v>
                </c:pt>
                <c:pt idx="8395">
                  <c:v>3.6789999</c:v>
                </c:pt>
                <c:pt idx="8396">
                  <c:v>3.6791999</c:v>
                </c:pt>
                <c:pt idx="8397">
                  <c:v>3.6793996999999998</c:v>
                </c:pt>
                <c:pt idx="8398">
                  <c:v>3.6796000000000002</c:v>
                </c:pt>
                <c:pt idx="8399">
                  <c:v>3.6798000000000002</c:v>
                </c:pt>
                <c:pt idx="8400">
                  <c:v>3.6799998</c:v>
                </c:pt>
                <c:pt idx="8401">
                  <c:v>3.6801998999999999</c:v>
                </c:pt>
                <c:pt idx="8402">
                  <c:v>3.6803997000000002</c:v>
                </c:pt>
                <c:pt idx="8403">
                  <c:v>3.6805998999999998</c:v>
                </c:pt>
                <c:pt idx="8404">
                  <c:v>3.6808000000000001</c:v>
                </c:pt>
                <c:pt idx="8405">
                  <c:v>3.6809997999999999</c:v>
                </c:pt>
                <c:pt idx="8406">
                  <c:v>3.6812</c:v>
                </c:pt>
                <c:pt idx="8407">
                  <c:v>3.6814000999999998</c:v>
                </c:pt>
                <c:pt idx="8408">
                  <c:v>3.6815999000000001</c:v>
                </c:pt>
                <c:pt idx="8409">
                  <c:v>3.6817999000000001</c:v>
                </c:pt>
                <c:pt idx="8410">
                  <c:v>3.6819997</c:v>
                </c:pt>
                <c:pt idx="8411">
                  <c:v>3.6821999999999999</c:v>
                </c:pt>
                <c:pt idx="8412">
                  <c:v>3.6823999999999999</c:v>
                </c:pt>
                <c:pt idx="8413">
                  <c:v>3.6825998000000002</c:v>
                </c:pt>
                <c:pt idx="8414">
                  <c:v>3.6828001000000001</c:v>
                </c:pt>
                <c:pt idx="8415">
                  <c:v>3.6829998000000002</c:v>
                </c:pt>
                <c:pt idx="8416">
                  <c:v>3.6831999</c:v>
                </c:pt>
                <c:pt idx="8417">
                  <c:v>3.6833998999999999</c:v>
                </c:pt>
                <c:pt idx="8418">
                  <c:v>3.6835996999999998</c:v>
                </c:pt>
                <c:pt idx="8419">
                  <c:v>3.6838000000000002</c:v>
                </c:pt>
                <c:pt idx="8420">
                  <c:v>3.6839998</c:v>
                </c:pt>
                <c:pt idx="8421">
                  <c:v>3.6841998</c:v>
                </c:pt>
                <c:pt idx="8422">
                  <c:v>3.6844001</c:v>
                </c:pt>
                <c:pt idx="8423">
                  <c:v>3.6845998999999998</c:v>
                </c:pt>
                <c:pt idx="8424">
                  <c:v>3.6847998999999998</c:v>
                </c:pt>
                <c:pt idx="8425">
                  <c:v>3.6849999000000002</c:v>
                </c:pt>
                <c:pt idx="8426">
                  <c:v>3.6851997000000001</c:v>
                </c:pt>
                <c:pt idx="8427">
                  <c:v>3.6854</c:v>
                </c:pt>
                <c:pt idx="8428">
                  <c:v>3.6855997999999999</c:v>
                </c:pt>
                <c:pt idx="8429">
                  <c:v>3.6857997999999998</c:v>
                </c:pt>
                <c:pt idx="8430">
                  <c:v>3.6860000999999998</c:v>
                </c:pt>
                <c:pt idx="8431">
                  <c:v>3.6861999000000001</c:v>
                </c:pt>
                <c:pt idx="8432">
                  <c:v>3.6863999000000001</c:v>
                </c:pt>
                <c:pt idx="8433">
                  <c:v>3.6865996999999999</c:v>
                </c:pt>
                <c:pt idx="8434">
                  <c:v>3.6867998000000002</c:v>
                </c:pt>
                <c:pt idx="8435">
                  <c:v>3.6869999999999998</c:v>
                </c:pt>
                <c:pt idx="8436">
                  <c:v>3.6871998000000001</c:v>
                </c:pt>
                <c:pt idx="8437">
                  <c:v>3.6873999</c:v>
                </c:pt>
                <c:pt idx="8438">
                  <c:v>3.6876001</c:v>
                </c:pt>
                <c:pt idx="8439">
                  <c:v>3.6877998999999999</c:v>
                </c:pt>
                <c:pt idx="8440">
                  <c:v>3.6880000000000002</c:v>
                </c:pt>
                <c:pt idx="8441">
                  <c:v>3.6881998</c:v>
                </c:pt>
                <c:pt idx="8442">
                  <c:v>3.6883998</c:v>
                </c:pt>
                <c:pt idx="8443">
                  <c:v>3.6886000999999999</c:v>
                </c:pt>
                <c:pt idx="8444">
                  <c:v>3.6887998999999998</c:v>
                </c:pt>
                <c:pt idx="8445">
                  <c:v>3.6889999000000002</c:v>
                </c:pt>
                <c:pt idx="8446">
                  <c:v>3.6891999000000002</c:v>
                </c:pt>
                <c:pt idx="8447">
                  <c:v>3.6894</c:v>
                </c:pt>
                <c:pt idx="8448">
                  <c:v>3.6896</c:v>
                </c:pt>
                <c:pt idx="8449">
                  <c:v>3.6897997999999999</c:v>
                </c:pt>
                <c:pt idx="8450">
                  <c:v>3.6899997999999998</c:v>
                </c:pt>
                <c:pt idx="8451">
                  <c:v>3.6901999000000001</c:v>
                </c:pt>
                <c:pt idx="8452">
                  <c:v>3.6903999000000001</c:v>
                </c:pt>
                <c:pt idx="8453">
                  <c:v>3.6905999</c:v>
                </c:pt>
                <c:pt idx="8454">
                  <c:v>3.6907999999999999</c:v>
                </c:pt>
                <c:pt idx="8455">
                  <c:v>3.6909999999999998</c:v>
                </c:pt>
                <c:pt idx="8456">
                  <c:v>3.6911998000000001</c:v>
                </c:pt>
                <c:pt idx="8457">
                  <c:v>3.6913998000000001</c:v>
                </c:pt>
                <c:pt idx="8458">
                  <c:v>3.6915998000000001</c:v>
                </c:pt>
                <c:pt idx="8459">
                  <c:v>3.6917998999999999</c:v>
                </c:pt>
                <c:pt idx="8460">
                  <c:v>3.6919998999999999</c:v>
                </c:pt>
                <c:pt idx="8461">
                  <c:v>3.6921998999999999</c:v>
                </c:pt>
                <c:pt idx="8462">
                  <c:v>3.6924000000000001</c:v>
                </c:pt>
                <c:pt idx="8463">
                  <c:v>3.6926000000000001</c:v>
                </c:pt>
                <c:pt idx="8464">
                  <c:v>3.6927998</c:v>
                </c:pt>
                <c:pt idx="8465">
                  <c:v>3.6929997999999999</c:v>
                </c:pt>
                <c:pt idx="8466">
                  <c:v>3.6931999000000002</c:v>
                </c:pt>
                <c:pt idx="8467">
                  <c:v>3.6933999000000002</c:v>
                </c:pt>
                <c:pt idx="8468">
                  <c:v>3.6935999000000002</c:v>
                </c:pt>
                <c:pt idx="8469">
                  <c:v>3.6937997</c:v>
                </c:pt>
                <c:pt idx="8470">
                  <c:v>3.694</c:v>
                </c:pt>
                <c:pt idx="8471">
                  <c:v>3.6941999999999999</c:v>
                </c:pt>
                <c:pt idx="8472">
                  <c:v>3.6943997999999998</c:v>
                </c:pt>
                <c:pt idx="8473">
                  <c:v>3.6945999</c:v>
                </c:pt>
                <c:pt idx="8474">
                  <c:v>3.6947996999999999</c:v>
                </c:pt>
                <c:pt idx="8475">
                  <c:v>3.6949999</c:v>
                </c:pt>
                <c:pt idx="8476">
                  <c:v>3.6951999999999998</c:v>
                </c:pt>
                <c:pt idx="8477">
                  <c:v>3.6953998000000001</c:v>
                </c:pt>
                <c:pt idx="8478">
                  <c:v>3.6956000000000002</c:v>
                </c:pt>
                <c:pt idx="8479">
                  <c:v>3.6958001</c:v>
                </c:pt>
                <c:pt idx="8480">
                  <c:v>3.6959998999999999</c:v>
                </c:pt>
                <c:pt idx="8481">
                  <c:v>3.6961998999999999</c:v>
                </c:pt>
                <c:pt idx="8482">
                  <c:v>3.6963997000000002</c:v>
                </c:pt>
                <c:pt idx="8483">
                  <c:v>3.6966000000000001</c:v>
                </c:pt>
                <c:pt idx="8484">
                  <c:v>3.6968000000000001</c:v>
                </c:pt>
                <c:pt idx="8485">
                  <c:v>3.6969997999999999</c:v>
                </c:pt>
                <c:pt idx="8486">
                  <c:v>3.6972000999999999</c:v>
                </c:pt>
                <c:pt idx="8487">
                  <c:v>3.6973999000000002</c:v>
                </c:pt>
                <c:pt idx="8488">
                  <c:v>3.6975999000000002</c:v>
                </c:pt>
                <c:pt idx="8489">
                  <c:v>3.6977999000000001</c:v>
                </c:pt>
                <c:pt idx="8490">
                  <c:v>3.6979997</c:v>
                </c:pt>
                <c:pt idx="8491">
                  <c:v>3.6981999999999999</c:v>
                </c:pt>
                <c:pt idx="8492">
                  <c:v>3.6983997999999998</c:v>
                </c:pt>
                <c:pt idx="8493">
                  <c:v>3.6985998000000002</c:v>
                </c:pt>
                <c:pt idx="8494">
                  <c:v>3.6988001000000001</c:v>
                </c:pt>
                <c:pt idx="8495">
                  <c:v>3.6989999</c:v>
                </c:pt>
                <c:pt idx="8496">
                  <c:v>3.6991999</c:v>
                </c:pt>
                <c:pt idx="8497">
                  <c:v>3.6993999</c:v>
                </c:pt>
                <c:pt idx="8498">
                  <c:v>3.6995996999999998</c:v>
                </c:pt>
                <c:pt idx="8499">
                  <c:v>3.6998000000000002</c:v>
                </c:pt>
                <c:pt idx="8500">
                  <c:v>3.6999998000000001</c:v>
                </c:pt>
                <c:pt idx="8501">
                  <c:v>3.7001998</c:v>
                </c:pt>
                <c:pt idx="8502">
                  <c:v>3.7004001</c:v>
                </c:pt>
                <c:pt idx="8503">
                  <c:v>3.7005998999999998</c:v>
                </c:pt>
                <c:pt idx="8504">
                  <c:v>3.7007998999999998</c:v>
                </c:pt>
                <c:pt idx="8505">
                  <c:v>3.7009997000000001</c:v>
                </c:pt>
                <c:pt idx="8506">
                  <c:v>3.7011997999999999</c:v>
                </c:pt>
                <c:pt idx="8507">
                  <c:v>3.7014</c:v>
                </c:pt>
                <c:pt idx="8508">
                  <c:v>3.7015997999999999</c:v>
                </c:pt>
                <c:pt idx="8509">
                  <c:v>3.7017999000000001</c:v>
                </c:pt>
                <c:pt idx="8510">
                  <c:v>3.7020000999999998</c:v>
                </c:pt>
                <c:pt idx="8511">
                  <c:v>3.7021999000000001</c:v>
                </c:pt>
                <c:pt idx="8512">
                  <c:v>3.7023999999999999</c:v>
                </c:pt>
                <c:pt idx="8513">
                  <c:v>3.7025998000000002</c:v>
                </c:pt>
                <c:pt idx="8514">
                  <c:v>3.7027998000000002</c:v>
                </c:pt>
                <c:pt idx="8515">
                  <c:v>3.7030001000000001</c:v>
                </c:pt>
                <c:pt idx="8516">
                  <c:v>3.7031999</c:v>
                </c:pt>
                <c:pt idx="8517">
                  <c:v>3.7033999</c:v>
                </c:pt>
                <c:pt idx="8518">
                  <c:v>3.7035998999999999</c:v>
                </c:pt>
                <c:pt idx="8519">
                  <c:v>3.7038000000000002</c:v>
                </c:pt>
                <c:pt idx="8520">
                  <c:v>3.7040000000000002</c:v>
                </c:pt>
                <c:pt idx="8521">
                  <c:v>3.7041998</c:v>
                </c:pt>
                <c:pt idx="8522">
                  <c:v>3.7043998</c:v>
                </c:pt>
                <c:pt idx="8523">
                  <c:v>3.7045998999999998</c:v>
                </c:pt>
                <c:pt idx="8524">
                  <c:v>3.7047998999999998</c:v>
                </c:pt>
                <c:pt idx="8525">
                  <c:v>3.7049998999999998</c:v>
                </c:pt>
                <c:pt idx="8526">
                  <c:v>3.7052</c:v>
                </c:pt>
                <c:pt idx="8527">
                  <c:v>3.7054</c:v>
                </c:pt>
                <c:pt idx="8528">
                  <c:v>3.7055997999999999</c:v>
                </c:pt>
                <c:pt idx="8529">
                  <c:v>3.7057997999999999</c:v>
                </c:pt>
                <c:pt idx="8530">
                  <c:v>3.7059999000000001</c:v>
                </c:pt>
                <c:pt idx="8531">
                  <c:v>3.7061999000000001</c:v>
                </c:pt>
                <c:pt idx="8532">
                  <c:v>3.7063999000000001</c:v>
                </c:pt>
                <c:pt idx="8533">
                  <c:v>3.7065996999999999</c:v>
                </c:pt>
                <c:pt idx="8534">
                  <c:v>3.7067999999999999</c:v>
                </c:pt>
                <c:pt idx="8535">
                  <c:v>3.7069999999999999</c:v>
                </c:pt>
                <c:pt idx="8536">
                  <c:v>3.7071998000000002</c:v>
                </c:pt>
                <c:pt idx="8537">
                  <c:v>3.7073998000000001</c:v>
                </c:pt>
                <c:pt idx="8538">
                  <c:v>3.7075998999999999</c:v>
                </c:pt>
                <c:pt idx="8539">
                  <c:v>3.7077998999999999</c:v>
                </c:pt>
                <c:pt idx="8540">
                  <c:v>3.7079998999999999</c:v>
                </c:pt>
                <c:pt idx="8541">
                  <c:v>3.7081997000000002</c:v>
                </c:pt>
                <c:pt idx="8542">
                  <c:v>3.7084000000000001</c:v>
                </c:pt>
                <c:pt idx="8543">
                  <c:v>3.7086000000000001</c:v>
                </c:pt>
                <c:pt idx="8544">
                  <c:v>3.7087998</c:v>
                </c:pt>
                <c:pt idx="8545">
                  <c:v>3.7089998999999998</c:v>
                </c:pt>
                <c:pt idx="8546">
                  <c:v>3.7091997000000001</c:v>
                </c:pt>
                <c:pt idx="8547">
                  <c:v>3.7093999000000002</c:v>
                </c:pt>
                <c:pt idx="8548">
                  <c:v>3.7096</c:v>
                </c:pt>
                <c:pt idx="8549">
                  <c:v>3.7097997999999999</c:v>
                </c:pt>
                <c:pt idx="8550">
                  <c:v>3.71</c:v>
                </c:pt>
                <c:pt idx="8551">
                  <c:v>3.7102000999999998</c:v>
                </c:pt>
                <c:pt idx="8552">
                  <c:v>3.7103999000000001</c:v>
                </c:pt>
                <c:pt idx="8553">
                  <c:v>3.7105999000000001</c:v>
                </c:pt>
                <c:pt idx="8554">
                  <c:v>3.7107996999999999</c:v>
                </c:pt>
                <c:pt idx="8555">
                  <c:v>3.7109999999999999</c:v>
                </c:pt>
                <c:pt idx="8556">
                  <c:v>3.7111999999999998</c:v>
                </c:pt>
                <c:pt idx="8557">
                  <c:v>3.7113998000000001</c:v>
                </c:pt>
                <c:pt idx="8558">
                  <c:v>3.7116001000000001</c:v>
                </c:pt>
                <c:pt idx="8559">
                  <c:v>3.7117998999999999</c:v>
                </c:pt>
                <c:pt idx="8560">
                  <c:v>3.7119998999999999</c:v>
                </c:pt>
                <c:pt idx="8561">
                  <c:v>3.7121998999999999</c:v>
                </c:pt>
                <c:pt idx="8562">
                  <c:v>3.7123997000000002</c:v>
                </c:pt>
                <c:pt idx="8563">
                  <c:v>3.7126000000000001</c:v>
                </c:pt>
                <c:pt idx="8564">
                  <c:v>3.7127998</c:v>
                </c:pt>
                <c:pt idx="8565">
                  <c:v>3.7129998</c:v>
                </c:pt>
                <c:pt idx="8566">
                  <c:v>3.7132000999999999</c:v>
                </c:pt>
                <c:pt idx="8567">
                  <c:v>3.7133999000000002</c:v>
                </c:pt>
                <c:pt idx="8568">
                  <c:v>3.7135999000000002</c:v>
                </c:pt>
                <c:pt idx="8569">
                  <c:v>3.7137997</c:v>
                </c:pt>
                <c:pt idx="8570">
                  <c:v>3.7139997</c:v>
                </c:pt>
                <c:pt idx="8571">
                  <c:v>3.7141999999999999</c:v>
                </c:pt>
                <c:pt idx="8572">
                  <c:v>3.7143997999999998</c:v>
                </c:pt>
                <c:pt idx="8573">
                  <c:v>3.7145997999999998</c:v>
                </c:pt>
                <c:pt idx="8574">
                  <c:v>3.7148001000000002</c:v>
                </c:pt>
                <c:pt idx="8575">
                  <c:v>3.7149999</c:v>
                </c:pt>
                <c:pt idx="8576">
                  <c:v>3.7151999</c:v>
                </c:pt>
                <c:pt idx="8577">
                  <c:v>3.7153996999999999</c:v>
                </c:pt>
                <c:pt idx="8578">
                  <c:v>3.7155998000000001</c:v>
                </c:pt>
                <c:pt idx="8579">
                  <c:v>3.7158000000000002</c:v>
                </c:pt>
                <c:pt idx="8580">
                  <c:v>3.7159998000000001</c:v>
                </c:pt>
                <c:pt idx="8581">
                  <c:v>3.7161998999999999</c:v>
                </c:pt>
                <c:pt idx="8582">
                  <c:v>3.7163998999999999</c:v>
                </c:pt>
                <c:pt idx="8583">
                  <c:v>3.7165998999999998</c:v>
                </c:pt>
                <c:pt idx="8584">
                  <c:v>3.7168000000000001</c:v>
                </c:pt>
                <c:pt idx="8585">
                  <c:v>3.7169998</c:v>
                </c:pt>
                <c:pt idx="8586">
                  <c:v>3.7171997999999999</c:v>
                </c:pt>
                <c:pt idx="8587">
                  <c:v>3.7174000999999999</c:v>
                </c:pt>
                <c:pt idx="8588">
                  <c:v>3.7175999000000002</c:v>
                </c:pt>
                <c:pt idx="8589">
                  <c:v>3.7177999000000002</c:v>
                </c:pt>
                <c:pt idx="8590">
                  <c:v>3.7179999000000001</c:v>
                </c:pt>
                <c:pt idx="8591">
                  <c:v>3.7181999999999999</c:v>
                </c:pt>
                <c:pt idx="8592">
                  <c:v>3.7183999999999999</c:v>
                </c:pt>
                <c:pt idx="8593">
                  <c:v>3.7185997999999998</c:v>
                </c:pt>
                <c:pt idx="8594">
                  <c:v>3.7187998000000002</c:v>
                </c:pt>
                <c:pt idx="8595">
                  <c:v>3.7189999</c:v>
                </c:pt>
                <c:pt idx="8596">
                  <c:v>3.7191999</c:v>
                </c:pt>
                <c:pt idx="8597">
                  <c:v>3.7193999</c:v>
                </c:pt>
                <c:pt idx="8598">
                  <c:v>3.7195999999999998</c:v>
                </c:pt>
                <c:pt idx="8599">
                  <c:v>3.7198000000000002</c:v>
                </c:pt>
                <c:pt idx="8600">
                  <c:v>3.7199998000000001</c:v>
                </c:pt>
                <c:pt idx="8601">
                  <c:v>3.7201998000000001</c:v>
                </c:pt>
                <c:pt idx="8602">
                  <c:v>3.7203998999999999</c:v>
                </c:pt>
                <c:pt idx="8603">
                  <c:v>3.7205998999999998</c:v>
                </c:pt>
                <c:pt idx="8604">
                  <c:v>3.7207998999999998</c:v>
                </c:pt>
                <c:pt idx="8605">
                  <c:v>3.7209997000000001</c:v>
                </c:pt>
                <c:pt idx="8606">
                  <c:v>3.7212000000000001</c:v>
                </c:pt>
                <c:pt idx="8607">
                  <c:v>3.7214</c:v>
                </c:pt>
                <c:pt idx="8608">
                  <c:v>3.7215997999999999</c:v>
                </c:pt>
                <c:pt idx="8609">
                  <c:v>3.7217999000000002</c:v>
                </c:pt>
                <c:pt idx="8610">
                  <c:v>3.7219999000000001</c:v>
                </c:pt>
                <c:pt idx="8611">
                  <c:v>3.7221999000000001</c:v>
                </c:pt>
                <c:pt idx="8612">
                  <c:v>3.7223999999999999</c:v>
                </c:pt>
                <c:pt idx="8613">
                  <c:v>3.7225997</c:v>
                </c:pt>
                <c:pt idx="8614">
                  <c:v>3.7227999999999999</c:v>
                </c:pt>
                <c:pt idx="8615">
                  <c:v>3.7229999999999999</c:v>
                </c:pt>
                <c:pt idx="8616">
                  <c:v>3.7231998000000002</c:v>
                </c:pt>
                <c:pt idx="8617">
                  <c:v>3.7233999</c:v>
                </c:pt>
                <c:pt idx="8618">
                  <c:v>3.7235996999999998</c:v>
                </c:pt>
                <c:pt idx="8619">
                  <c:v>3.7237998999999999</c:v>
                </c:pt>
                <c:pt idx="8620">
                  <c:v>3.7240000000000002</c:v>
                </c:pt>
                <c:pt idx="8621">
                  <c:v>3.7241998000000001</c:v>
                </c:pt>
                <c:pt idx="8622">
                  <c:v>3.7244000000000002</c:v>
                </c:pt>
                <c:pt idx="8623">
                  <c:v>3.7246001</c:v>
                </c:pt>
                <c:pt idx="8624">
                  <c:v>3.7247998999999998</c:v>
                </c:pt>
                <c:pt idx="8625">
                  <c:v>3.7249998999999998</c:v>
                </c:pt>
                <c:pt idx="8626">
                  <c:v>3.7251997000000001</c:v>
                </c:pt>
                <c:pt idx="8627">
                  <c:v>3.7254</c:v>
                </c:pt>
                <c:pt idx="8628">
                  <c:v>3.7256</c:v>
                </c:pt>
                <c:pt idx="8629">
                  <c:v>3.7257997999999999</c:v>
                </c:pt>
                <c:pt idx="8630">
                  <c:v>3.7260000999999998</c:v>
                </c:pt>
                <c:pt idx="8631">
                  <c:v>3.7261999000000001</c:v>
                </c:pt>
                <c:pt idx="8632">
                  <c:v>3.7263999000000001</c:v>
                </c:pt>
                <c:pt idx="8633">
                  <c:v>3.7265999000000001</c:v>
                </c:pt>
                <c:pt idx="8634">
                  <c:v>3.7267996999999999</c:v>
                </c:pt>
                <c:pt idx="8635">
                  <c:v>3.7269999999999999</c:v>
                </c:pt>
                <c:pt idx="8636">
                  <c:v>3.7271998000000002</c:v>
                </c:pt>
                <c:pt idx="8637">
                  <c:v>3.7273998000000002</c:v>
                </c:pt>
                <c:pt idx="8638">
                  <c:v>3.7276001000000001</c:v>
                </c:pt>
                <c:pt idx="8639">
                  <c:v>3.7277998999999999</c:v>
                </c:pt>
                <c:pt idx="8640">
                  <c:v>3.7279998999999999</c:v>
                </c:pt>
                <c:pt idx="8641">
                  <c:v>3.7281996999999998</c:v>
                </c:pt>
                <c:pt idx="8642">
                  <c:v>3.7283998</c:v>
                </c:pt>
                <c:pt idx="8643">
                  <c:v>3.7286000000000001</c:v>
                </c:pt>
                <c:pt idx="8644">
                  <c:v>3.7287998</c:v>
                </c:pt>
                <c:pt idx="8645">
                  <c:v>3.7289998999999998</c:v>
                </c:pt>
                <c:pt idx="8646">
                  <c:v>3.7292000999999999</c:v>
                </c:pt>
                <c:pt idx="8647">
                  <c:v>3.7293999000000002</c:v>
                </c:pt>
                <c:pt idx="8648">
                  <c:v>3.7296</c:v>
                </c:pt>
                <c:pt idx="8649">
                  <c:v>3.7297997000000001</c:v>
                </c:pt>
                <c:pt idx="8650">
                  <c:v>3.7299997999999999</c:v>
                </c:pt>
                <c:pt idx="8651">
                  <c:v>3.7302000999999998</c:v>
                </c:pt>
                <c:pt idx="8652">
                  <c:v>3.7303997999999998</c:v>
                </c:pt>
                <c:pt idx="8653">
                  <c:v>3.7305999000000001</c:v>
                </c:pt>
                <c:pt idx="8654">
                  <c:v>3.7307999000000001</c:v>
                </c:pt>
                <c:pt idx="8655">
                  <c:v>3.7309999</c:v>
                </c:pt>
                <c:pt idx="8656">
                  <c:v>3.7311999999999999</c:v>
                </c:pt>
                <c:pt idx="8657">
                  <c:v>3.7313998000000002</c:v>
                </c:pt>
                <c:pt idx="8658">
                  <c:v>3.7315998000000001</c:v>
                </c:pt>
                <c:pt idx="8659">
                  <c:v>3.7317998000000001</c:v>
                </c:pt>
                <c:pt idx="8660">
                  <c:v>3.7319998999999999</c:v>
                </c:pt>
                <c:pt idx="8661">
                  <c:v>3.7321998999999999</c:v>
                </c:pt>
                <c:pt idx="8662">
                  <c:v>3.7323998999999999</c:v>
                </c:pt>
                <c:pt idx="8663">
                  <c:v>3.7326000000000001</c:v>
                </c:pt>
                <c:pt idx="8664">
                  <c:v>3.7328000000000001</c:v>
                </c:pt>
                <c:pt idx="8665">
                  <c:v>3.7329998</c:v>
                </c:pt>
                <c:pt idx="8666">
                  <c:v>3.7331998</c:v>
                </c:pt>
                <c:pt idx="8667">
                  <c:v>3.7333999000000002</c:v>
                </c:pt>
                <c:pt idx="8668">
                  <c:v>3.7335999000000002</c:v>
                </c:pt>
                <c:pt idx="8669">
                  <c:v>3.7337999000000002</c:v>
                </c:pt>
                <c:pt idx="8670">
                  <c:v>3.734</c:v>
                </c:pt>
                <c:pt idx="8671">
                  <c:v>3.7342</c:v>
                </c:pt>
                <c:pt idx="8672">
                  <c:v>3.7343997999999998</c:v>
                </c:pt>
                <c:pt idx="8673">
                  <c:v>3.7345997999999998</c:v>
                </c:pt>
                <c:pt idx="8674">
                  <c:v>3.7347999000000001</c:v>
                </c:pt>
                <c:pt idx="8675">
                  <c:v>3.7349999</c:v>
                </c:pt>
                <c:pt idx="8676">
                  <c:v>3.7351999</c:v>
                </c:pt>
                <c:pt idx="8677">
                  <c:v>3.7353996999999999</c:v>
                </c:pt>
                <c:pt idx="8678">
                  <c:v>3.7355999999999998</c:v>
                </c:pt>
                <c:pt idx="8679">
                  <c:v>3.7357999999999998</c:v>
                </c:pt>
                <c:pt idx="8680">
                  <c:v>3.7359998000000001</c:v>
                </c:pt>
                <c:pt idx="8681">
                  <c:v>3.7361998999999999</c:v>
                </c:pt>
                <c:pt idx="8682">
                  <c:v>3.7363997000000002</c:v>
                </c:pt>
                <c:pt idx="8683">
                  <c:v>3.7365998999999999</c:v>
                </c:pt>
                <c:pt idx="8684">
                  <c:v>3.7368000000000001</c:v>
                </c:pt>
                <c:pt idx="8685">
                  <c:v>3.7369998</c:v>
                </c:pt>
                <c:pt idx="8686">
                  <c:v>3.7372000000000001</c:v>
                </c:pt>
                <c:pt idx="8687">
                  <c:v>3.7374000999999999</c:v>
                </c:pt>
                <c:pt idx="8688">
                  <c:v>3.7375997999999999</c:v>
                </c:pt>
                <c:pt idx="8689">
                  <c:v>3.7377999000000002</c:v>
                </c:pt>
                <c:pt idx="8690">
                  <c:v>3.7379997</c:v>
                </c:pt>
                <c:pt idx="8691">
                  <c:v>3.7381999000000001</c:v>
                </c:pt>
                <c:pt idx="8692">
                  <c:v>3.7383999999999999</c:v>
                </c:pt>
                <c:pt idx="8693">
                  <c:v>3.7385997999999998</c:v>
                </c:pt>
                <c:pt idx="8694">
                  <c:v>3.7387999999999999</c:v>
                </c:pt>
                <c:pt idx="8695">
                  <c:v>3.7389998000000002</c:v>
                </c:pt>
                <c:pt idx="8696">
                  <c:v>3.7391999</c:v>
                </c:pt>
                <c:pt idx="8697">
                  <c:v>3.7393999</c:v>
                </c:pt>
                <c:pt idx="8698">
                  <c:v>3.7395996999999999</c:v>
                </c:pt>
                <c:pt idx="8699">
                  <c:v>3.7397999999999998</c:v>
                </c:pt>
                <c:pt idx="8700">
                  <c:v>3.74</c:v>
                </c:pt>
                <c:pt idx="8701">
                  <c:v>3.7401998000000001</c:v>
                </c:pt>
                <c:pt idx="8702">
                  <c:v>3.7404001</c:v>
                </c:pt>
                <c:pt idx="8703">
                  <c:v>3.7405998999999999</c:v>
                </c:pt>
                <c:pt idx="8704">
                  <c:v>3.7407998999999998</c:v>
                </c:pt>
                <c:pt idx="8705">
                  <c:v>3.7409998999999998</c:v>
                </c:pt>
                <c:pt idx="8706">
                  <c:v>3.7411997000000001</c:v>
                </c:pt>
                <c:pt idx="8707">
                  <c:v>3.7414000000000001</c:v>
                </c:pt>
                <c:pt idx="8708">
                  <c:v>3.7415997999999999</c:v>
                </c:pt>
                <c:pt idx="8709">
                  <c:v>3.7417997999999999</c:v>
                </c:pt>
                <c:pt idx="8710">
                  <c:v>3.7420000999999998</c:v>
                </c:pt>
                <c:pt idx="8711">
                  <c:v>3.7421999000000001</c:v>
                </c:pt>
                <c:pt idx="8712">
                  <c:v>3.7423999000000001</c:v>
                </c:pt>
                <c:pt idx="8713">
                  <c:v>3.7425997</c:v>
                </c:pt>
                <c:pt idx="8714">
                  <c:v>3.7427997999999998</c:v>
                </c:pt>
                <c:pt idx="8715">
                  <c:v>3.7429999999999999</c:v>
                </c:pt>
                <c:pt idx="8716">
                  <c:v>3.7431998000000002</c:v>
                </c:pt>
                <c:pt idx="8717">
                  <c:v>3.7433999</c:v>
                </c:pt>
                <c:pt idx="8718">
                  <c:v>3.7436001000000001</c:v>
                </c:pt>
                <c:pt idx="8719">
                  <c:v>3.7437999</c:v>
                </c:pt>
                <c:pt idx="8720">
                  <c:v>3.7440000000000002</c:v>
                </c:pt>
                <c:pt idx="8721">
                  <c:v>3.7441998000000001</c:v>
                </c:pt>
                <c:pt idx="8722">
                  <c:v>3.7443998000000001</c:v>
                </c:pt>
                <c:pt idx="8723">
                  <c:v>3.7446001</c:v>
                </c:pt>
                <c:pt idx="8724">
                  <c:v>3.7447998999999998</c:v>
                </c:pt>
                <c:pt idx="8725">
                  <c:v>3.7449998999999998</c:v>
                </c:pt>
                <c:pt idx="8726">
                  <c:v>3.7451998999999998</c:v>
                </c:pt>
                <c:pt idx="8727">
                  <c:v>3.7454000000000001</c:v>
                </c:pt>
                <c:pt idx="8728">
                  <c:v>3.7456</c:v>
                </c:pt>
                <c:pt idx="8729">
                  <c:v>3.7457997999999999</c:v>
                </c:pt>
                <c:pt idx="8730">
                  <c:v>3.7459997999999999</c:v>
                </c:pt>
                <c:pt idx="8731">
                  <c:v>3.7461997999999999</c:v>
                </c:pt>
                <c:pt idx="8732">
                  <c:v>3.7463999000000001</c:v>
                </c:pt>
                <c:pt idx="8733">
                  <c:v>3.7465999000000001</c:v>
                </c:pt>
                <c:pt idx="8734">
                  <c:v>3.7467999000000001</c:v>
                </c:pt>
                <c:pt idx="8735">
                  <c:v>3.7469999999999999</c:v>
                </c:pt>
                <c:pt idx="8736">
                  <c:v>3.7471999999999999</c:v>
                </c:pt>
                <c:pt idx="8737">
                  <c:v>3.7473998000000002</c:v>
                </c:pt>
                <c:pt idx="8738">
                  <c:v>3.7475998000000001</c:v>
                </c:pt>
                <c:pt idx="8739">
                  <c:v>3.7477999</c:v>
                </c:pt>
                <c:pt idx="8740">
                  <c:v>3.7479998999999999</c:v>
                </c:pt>
                <c:pt idx="8741">
                  <c:v>3.7481998999999999</c:v>
                </c:pt>
                <c:pt idx="8742">
                  <c:v>3.7484000000000002</c:v>
                </c:pt>
                <c:pt idx="8743">
                  <c:v>3.7486000000000002</c:v>
                </c:pt>
                <c:pt idx="8744">
                  <c:v>3.7487998</c:v>
                </c:pt>
                <c:pt idx="8745">
                  <c:v>3.7489998</c:v>
                </c:pt>
                <c:pt idx="8746">
                  <c:v>3.7491998999999998</c:v>
                </c:pt>
                <c:pt idx="8747">
                  <c:v>3.7493998999999998</c:v>
                </c:pt>
                <c:pt idx="8748">
                  <c:v>3.7495999000000002</c:v>
                </c:pt>
                <c:pt idx="8749">
                  <c:v>3.7497997000000001</c:v>
                </c:pt>
                <c:pt idx="8750">
                  <c:v>3.75</c:v>
                </c:pt>
                <c:pt idx="8751">
                  <c:v>3.7502</c:v>
                </c:pt>
                <c:pt idx="8752">
                  <c:v>3.7503997999999998</c:v>
                </c:pt>
                <c:pt idx="8753">
                  <c:v>3.7505999000000001</c:v>
                </c:pt>
                <c:pt idx="8754">
                  <c:v>3.7507997</c:v>
                </c:pt>
                <c:pt idx="8755">
                  <c:v>3.7509999000000001</c:v>
                </c:pt>
                <c:pt idx="8756">
                  <c:v>3.7511999999999999</c:v>
                </c:pt>
                <c:pt idx="8757">
                  <c:v>3.7513998000000002</c:v>
                </c:pt>
                <c:pt idx="8758">
                  <c:v>3.7515999999999998</c:v>
                </c:pt>
                <c:pt idx="8759">
                  <c:v>3.7518001000000001</c:v>
                </c:pt>
                <c:pt idx="8760">
                  <c:v>3.7519998999999999</c:v>
                </c:pt>
                <c:pt idx="8761">
                  <c:v>3.7521998999999999</c:v>
                </c:pt>
                <c:pt idx="8762">
                  <c:v>3.7523996999999998</c:v>
                </c:pt>
                <c:pt idx="8763">
                  <c:v>3.7526000000000002</c:v>
                </c:pt>
                <c:pt idx="8764">
                  <c:v>3.7528000000000001</c:v>
                </c:pt>
                <c:pt idx="8765">
                  <c:v>3.7529998</c:v>
                </c:pt>
                <c:pt idx="8766">
                  <c:v>3.7532000999999999</c:v>
                </c:pt>
                <c:pt idx="8767">
                  <c:v>3.7533998</c:v>
                </c:pt>
                <c:pt idx="8768">
                  <c:v>3.7535999000000002</c:v>
                </c:pt>
                <c:pt idx="8769">
                  <c:v>3.7537999000000002</c:v>
                </c:pt>
                <c:pt idx="8770">
                  <c:v>3.7539997000000001</c:v>
                </c:pt>
                <c:pt idx="8771">
                  <c:v>3.7542</c:v>
                </c:pt>
                <c:pt idx="8772">
                  <c:v>3.7543997999999998</c:v>
                </c:pt>
                <c:pt idx="8773">
                  <c:v>3.7545997999999998</c:v>
                </c:pt>
                <c:pt idx="8774">
                  <c:v>3.7548001000000002</c:v>
                </c:pt>
                <c:pt idx="8775">
                  <c:v>3.7549999000000001</c:v>
                </c:pt>
                <c:pt idx="8776">
                  <c:v>3.7551999</c:v>
                </c:pt>
                <c:pt idx="8777">
                  <c:v>3.7553999</c:v>
                </c:pt>
                <c:pt idx="8778">
                  <c:v>3.7555996999999999</c:v>
                </c:pt>
                <c:pt idx="8779">
                  <c:v>3.7557999999999998</c:v>
                </c:pt>
                <c:pt idx="8780">
                  <c:v>3.7559998000000001</c:v>
                </c:pt>
                <c:pt idx="8781">
                  <c:v>3.7561998000000001</c:v>
                </c:pt>
                <c:pt idx="8782">
                  <c:v>3.7564001</c:v>
                </c:pt>
                <c:pt idx="8783">
                  <c:v>3.7565998999999999</c:v>
                </c:pt>
                <c:pt idx="8784">
                  <c:v>3.7567998999999999</c:v>
                </c:pt>
                <c:pt idx="8785">
                  <c:v>3.7569997000000002</c:v>
                </c:pt>
                <c:pt idx="8786">
                  <c:v>3.7571998</c:v>
                </c:pt>
                <c:pt idx="8787">
                  <c:v>3.7574000000000001</c:v>
                </c:pt>
                <c:pt idx="8788">
                  <c:v>3.7575997999999999</c:v>
                </c:pt>
                <c:pt idx="8789">
                  <c:v>3.7577999000000002</c:v>
                </c:pt>
                <c:pt idx="8790">
                  <c:v>3.7580000999999998</c:v>
                </c:pt>
                <c:pt idx="8791">
                  <c:v>3.7581999000000001</c:v>
                </c:pt>
                <c:pt idx="8792">
                  <c:v>3.7584</c:v>
                </c:pt>
                <c:pt idx="8793">
                  <c:v>3.7585997999999998</c:v>
                </c:pt>
                <c:pt idx="8794">
                  <c:v>3.7587997999999998</c:v>
                </c:pt>
                <c:pt idx="8795">
                  <c:v>3.7590001000000002</c:v>
                </c:pt>
                <c:pt idx="8796">
                  <c:v>3.7591999</c:v>
                </c:pt>
                <c:pt idx="8797">
                  <c:v>3.7593999</c:v>
                </c:pt>
                <c:pt idx="8798">
                  <c:v>3.7595999</c:v>
                </c:pt>
                <c:pt idx="8799">
                  <c:v>3.7597999999999998</c:v>
                </c:pt>
                <c:pt idx="8800">
                  <c:v>3.76</c:v>
                </c:pt>
                <c:pt idx="8801">
                  <c:v>3.7601998000000001</c:v>
                </c:pt>
                <c:pt idx="8802">
                  <c:v>3.7603998000000001</c:v>
                </c:pt>
                <c:pt idx="8803">
                  <c:v>3.7605998999999999</c:v>
                </c:pt>
                <c:pt idx="8804">
                  <c:v>3.7607998999999999</c:v>
                </c:pt>
                <c:pt idx="8805">
                  <c:v>3.7609998999999998</c:v>
                </c:pt>
                <c:pt idx="8806">
                  <c:v>3.7612000000000001</c:v>
                </c:pt>
                <c:pt idx="8807">
                  <c:v>3.7614000000000001</c:v>
                </c:pt>
                <c:pt idx="8808">
                  <c:v>3.7615997999999999</c:v>
                </c:pt>
                <c:pt idx="8809">
                  <c:v>3.7617997999999999</c:v>
                </c:pt>
                <c:pt idx="8810">
                  <c:v>3.7619997999999999</c:v>
                </c:pt>
                <c:pt idx="8811">
                  <c:v>3.7621999000000002</c:v>
                </c:pt>
                <c:pt idx="8812">
                  <c:v>3.7623999000000001</c:v>
                </c:pt>
                <c:pt idx="8813">
                  <c:v>3.7625999000000001</c:v>
                </c:pt>
                <c:pt idx="8814">
                  <c:v>3.7627999999999999</c:v>
                </c:pt>
                <c:pt idx="8815">
                  <c:v>3.7629999999999999</c:v>
                </c:pt>
                <c:pt idx="8816">
                  <c:v>3.7631998000000002</c:v>
                </c:pt>
                <c:pt idx="8817">
                  <c:v>3.7633998000000002</c:v>
                </c:pt>
                <c:pt idx="8818">
                  <c:v>3.7635999</c:v>
                </c:pt>
                <c:pt idx="8819">
                  <c:v>3.7637999</c:v>
                </c:pt>
                <c:pt idx="8820">
                  <c:v>3.7639999</c:v>
                </c:pt>
                <c:pt idx="8821">
                  <c:v>3.7641996999999998</c:v>
                </c:pt>
                <c:pt idx="8822">
                  <c:v>3.7644000000000002</c:v>
                </c:pt>
                <c:pt idx="8823">
                  <c:v>3.7646000000000002</c:v>
                </c:pt>
                <c:pt idx="8824">
                  <c:v>3.7647998</c:v>
                </c:pt>
                <c:pt idx="8825">
                  <c:v>3.7649998999999998</c:v>
                </c:pt>
                <c:pt idx="8826">
                  <c:v>3.7651997000000001</c:v>
                </c:pt>
                <c:pt idx="8827">
                  <c:v>3.7653998999999998</c:v>
                </c:pt>
                <c:pt idx="8828">
                  <c:v>3.7656000000000001</c:v>
                </c:pt>
                <c:pt idx="8829">
                  <c:v>3.7657997999999999</c:v>
                </c:pt>
                <c:pt idx="8830">
                  <c:v>3.766</c:v>
                </c:pt>
                <c:pt idx="8831">
                  <c:v>3.7662000999999998</c:v>
                </c:pt>
                <c:pt idx="8832">
                  <c:v>3.7663999000000001</c:v>
                </c:pt>
                <c:pt idx="8833">
                  <c:v>3.7665999000000001</c:v>
                </c:pt>
                <c:pt idx="8834">
                  <c:v>3.7667997</c:v>
                </c:pt>
                <c:pt idx="8835">
                  <c:v>3.7669999999999999</c:v>
                </c:pt>
                <c:pt idx="8836">
                  <c:v>3.7671999999999999</c:v>
                </c:pt>
                <c:pt idx="8837">
                  <c:v>3.7673998000000002</c:v>
                </c:pt>
                <c:pt idx="8838">
                  <c:v>3.7676001000000001</c:v>
                </c:pt>
                <c:pt idx="8839">
                  <c:v>3.7677999</c:v>
                </c:pt>
                <c:pt idx="8840">
                  <c:v>3.7679999</c:v>
                </c:pt>
                <c:pt idx="8841">
                  <c:v>3.7681998999999999</c:v>
                </c:pt>
                <c:pt idx="8842">
                  <c:v>3.7683996999999998</c:v>
                </c:pt>
                <c:pt idx="8843">
                  <c:v>3.7686000000000002</c:v>
                </c:pt>
                <c:pt idx="8844">
                  <c:v>3.7687998</c:v>
                </c:pt>
                <c:pt idx="8845">
                  <c:v>3.7689998</c:v>
                </c:pt>
                <c:pt idx="8846">
                  <c:v>3.7692000999999999</c:v>
                </c:pt>
                <c:pt idx="8847">
                  <c:v>3.7693998999999998</c:v>
                </c:pt>
                <c:pt idx="8848">
                  <c:v>3.7695998999999998</c:v>
                </c:pt>
                <c:pt idx="8849">
                  <c:v>3.7697999000000002</c:v>
                </c:pt>
                <c:pt idx="8850">
                  <c:v>3.7699997000000001</c:v>
                </c:pt>
                <c:pt idx="8851">
                  <c:v>3.7702</c:v>
                </c:pt>
                <c:pt idx="8852">
                  <c:v>3.7703997999999999</c:v>
                </c:pt>
                <c:pt idx="8853">
                  <c:v>3.7705997999999998</c:v>
                </c:pt>
                <c:pt idx="8854">
                  <c:v>3.7708001000000002</c:v>
                </c:pt>
                <c:pt idx="8855">
                  <c:v>3.7709999000000001</c:v>
                </c:pt>
                <c:pt idx="8856">
                  <c:v>3.7711999</c:v>
                </c:pt>
                <c:pt idx="8857">
                  <c:v>3.7713996999999999</c:v>
                </c:pt>
                <c:pt idx="8858">
                  <c:v>3.7715998000000002</c:v>
                </c:pt>
                <c:pt idx="8859">
                  <c:v>3.7717999999999998</c:v>
                </c:pt>
                <c:pt idx="8860">
                  <c:v>3.7719998000000001</c:v>
                </c:pt>
                <c:pt idx="8861">
                  <c:v>3.7721998999999999</c:v>
                </c:pt>
                <c:pt idx="8862">
                  <c:v>3.7723998999999999</c:v>
                </c:pt>
                <c:pt idx="8863">
                  <c:v>3.7725998999999999</c:v>
                </c:pt>
                <c:pt idx="8864">
                  <c:v>3.7728000000000002</c:v>
                </c:pt>
                <c:pt idx="8865">
                  <c:v>3.7729998</c:v>
                </c:pt>
                <c:pt idx="8866">
                  <c:v>3.7731998</c:v>
                </c:pt>
                <c:pt idx="8867">
                  <c:v>3.7734000999999999</c:v>
                </c:pt>
                <c:pt idx="8868">
                  <c:v>3.7735998999999998</c:v>
                </c:pt>
                <c:pt idx="8869">
                  <c:v>3.7737999000000002</c:v>
                </c:pt>
                <c:pt idx="8870">
                  <c:v>3.7739999000000002</c:v>
                </c:pt>
                <c:pt idx="8871">
                  <c:v>3.7742</c:v>
                </c:pt>
                <c:pt idx="8872">
                  <c:v>3.7744</c:v>
                </c:pt>
                <c:pt idx="8873">
                  <c:v>3.7745997999999998</c:v>
                </c:pt>
                <c:pt idx="8874">
                  <c:v>3.7747997999999998</c:v>
                </c:pt>
                <c:pt idx="8875">
                  <c:v>3.7749999000000001</c:v>
                </c:pt>
                <c:pt idx="8876">
                  <c:v>3.7751999000000001</c:v>
                </c:pt>
                <c:pt idx="8877">
                  <c:v>3.7753999</c:v>
                </c:pt>
                <c:pt idx="8878">
                  <c:v>3.7755999999999998</c:v>
                </c:pt>
                <c:pt idx="8879">
                  <c:v>3.7757999999999998</c:v>
                </c:pt>
                <c:pt idx="8880">
                  <c:v>3.7759998000000001</c:v>
                </c:pt>
                <c:pt idx="8881">
                  <c:v>3.7761998000000001</c:v>
                </c:pt>
                <c:pt idx="8882">
                  <c:v>3.7763998999999999</c:v>
                </c:pt>
                <c:pt idx="8883">
                  <c:v>3.7765998999999999</c:v>
                </c:pt>
                <c:pt idx="8884">
                  <c:v>3.7767998999999999</c:v>
                </c:pt>
                <c:pt idx="8885">
                  <c:v>3.7769997000000002</c:v>
                </c:pt>
                <c:pt idx="8886">
                  <c:v>3.7772000000000001</c:v>
                </c:pt>
                <c:pt idx="8887">
                  <c:v>3.7774000000000001</c:v>
                </c:pt>
                <c:pt idx="8888">
                  <c:v>3.7775998</c:v>
                </c:pt>
                <c:pt idx="8889">
                  <c:v>3.7777997999999999</c:v>
                </c:pt>
                <c:pt idx="8890">
                  <c:v>3.7779999000000002</c:v>
                </c:pt>
                <c:pt idx="8891">
                  <c:v>3.7781999000000002</c:v>
                </c:pt>
                <c:pt idx="8892">
                  <c:v>3.7783999000000001</c:v>
                </c:pt>
                <c:pt idx="8893">
                  <c:v>3.7785997</c:v>
                </c:pt>
                <c:pt idx="8894">
                  <c:v>3.7787999999999999</c:v>
                </c:pt>
                <c:pt idx="8895">
                  <c:v>3.7789999999999999</c:v>
                </c:pt>
                <c:pt idx="8896">
                  <c:v>3.7791998000000002</c:v>
                </c:pt>
                <c:pt idx="8897">
                  <c:v>3.7793999</c:v>
                </c:pt>
                <c:pt idx="8898">
                  <c:v>3.7795996999999999</c:v>
                </c:pt>
                <c:pt idx="8899">
                  <c:v>3.7797999</c:v>
                </c:pt>
                <c:pt idx="8900">
                  <c:v>3.78</c:v>
                </c:pt>
                <c:pt idx="8901">
                  <c:v>3.7801998000000001</c:v>
                </c:pt>
                <c:pt idx="8902">
                  <c:v>3.7804000000000002</c:v>
                </c:pt>
                <c:pt idx="8903">
                  <c:v>3.7806001</c:v>
                </c:pt>
                <c:pt idx="8904">
                  <c:v>3.7807998999999999</c:v>
                </c:pt>
                <c:pt idx="8905">
                  <c:v>3.7809998999999999</c:v>
                </c:pt>
                <c:pt idx="8906">
                  <c:v>3.7811997000000002</c:v>
                </c:pt>
                <c:pt idx="8907">
                  <c:v>3.7814000000000001</c:v>
                </c:pt>
                <c:pt idx="8908">
                  <c:v>3.7816000000000001</c:v>
                </c:pt>
                <c:pt idx="8909">
                  <c:v>3.7817997999999999</c:v>
                </c:pt>
                <c:pt idx="8910">
                  <c:v>3.7820000999999999</c:v>
                </c:pt>
                <c:pt idx="8911">
                  <c:v>3.7821999000000002</c:v>
                </c:pt>
                <c:pt idx="8912">
                  <c:v>3.7823999000000001</c:v>
                </c:pt>
                <c:pt idx="8913">
                  <c:v>3.7825999000000001</c:v>
                </c:pt>
                <c:pt idx="8914">
                  <c:v>3.7827997</c:v>
                </c:pt>
                <c:pt idx="8915">
                  <c:v>3.7829999999999999</c:v>
                </c:pt>
                <c:pt idx="8916">
                  <c:v>3.7831997999999998</c:v>
                </c:pt>
                <c:pt idx="8917">
                  <c:v>3.7833998000000002</c:v>
                </c:pt>
                <c:pt idx="8918">
                  <c:v>3.7836001000000001</c:v>
                </c:pt>
                <c:pt idx="8919">
                  <c:v>3.7837999</c:v>
                </c:pt>
                <c:pt idx="8920">
                  <c:v>3.7839999</c:v>
                </c:pt>
                <c:pt idx="8921">
                  <c:v>3.7841996999999998</c:v>
                </c:pt>
                <c:pt idx="8922">
                  <c:v>3.7843996999999998</c:v>
                </c:pt>
                <c:pt idx="8923">
                  <c:v>3.7846000000000002</c:v>
                </c:pt>
                <c:pt idx="8924">
                  <c:v>3.7847998</c:v>
                </c:pt>
                <c:pt idx="8925">
                  <c:v>3.7849998</c:v>
                </c:pt>
                <c:pt idx="8926">
                  <c:v>3.7852001</c:v>
                </c:pt>
                <c:pt idx="8927">
                  <c:v>3.7853998999999998</c:v>
                </c:pt>
                <c:pt idx="8928">
                  <c:v>3.7855998999999998</c:v>
                </c:pt>
                <c:pt idx="8929">
                  <c:v>3.7857997000000001</c:v>
                </c:pt>
                <c:pt idx="8930">
                  <c:v>3.7859997999999999</c:v>
                </c:pt>
                <c:pt idx="8931">
                  <c:v>3.7862</c:v>
                </c:pt>
                <c:pt idx="8932">
                  <c:v>3.7863997999999999</c:v>
                </c:pt>
                <c:pt idx="8933">
                  <c:v>3.7865999000000001</c:v>
                </c:pt>
                <c:pt idx="8934">
                  <c:v>3.7867999000000001</c:v>
                </c:pt>
                <c:pt idx="8935">
                  <c:v>3.7869999000000001</c:v>
                </c:pt>
                <c:pt idx="8936">
                  <c:v>3.7871999999999999</c:v>
                </c:pt>
                <c:pt idx="8937">
                  <c:v>3.7873998000000002</c:v>
                </c:pt>
                <c:pt idx="8938">
                  <c:v>3.7875998000000002</c:v>
                </c:pt>
                <c:pt idx="8939">
                  <c:v>3.7878001000000001</c:v>
                </c:pt>
                <c:pt idx="8940">
                  <c:v>3.7879999</c:v>
                </c:pt>
                <c:pt idx="8941">
                  <c:v>3.7881999</c:v>
                </c:pt>
                <c:pt idx="8942">
                  <c:v>3.7883998999999999</c:v>
                </c:pt>
                <c:pt idx="8943">
                  <c:v>3.7886000000000002</c:v>
                </c:pt>
                <c:pt idx="8944">
                  <c:v>3.7888000000000002</c:v>
                </c:pt>
                <c:pt idx="8945">
                  <c:v>3.7889998</c:v>
                </c:pt>
                <c:pt idx="8946">
                  <c:v>3.7891998</c:v>
                </c:pt>
                <c:pt idx="8947">
                  <c:v>3.7893998999999998</c:v>
                </c:pt>
                <c:pt idx="8948">
                  <c:v>3.7895998999999998</c:v>
                </c:pt>
                <c:pt idx="8949">
                  <c:v>3.7897999000000002</c:v>
                </c:pt>
                <c:pt idx="8950">
                  <c:v>3.79</c:v>
                </c:pt>
                <c:pt idx="8951">
                  <c:v>3.7902</c:v>
                </c:pt>
                <c:pt idx="8952">
                  <c:v>3.7903997999999999</c:v>
                </c:pt>
                <c:pt idx="8953">
                  <c:v>3.7905997999999999</c:v>
                </c:pt>
                <c:pt idx="8954">
                  <c:v>3.7907999000000001</c:v>
                </c:pt>
                <c:pt idx="8955">
                  <c:v>3.7909999000000001</c:v>
                </c:pt>
                <c:pt idx="8956">
                  <c:v>3.7911999000000001</c:v>
                </c:pt>
                <c:pt idx="8957">
                  <c:v>3.7913996999999999</c:v>
                </c:pt>
                <c:pt idx="8958">
                  <c:v>3.7915999999999999</c:v>
                </c:pt>
                <c:pt idx="8959">
                  <c:v>3.7917999999999998</c:v>
                </c:pt>
                <c:pt idx="8960">
                  <c:v>3.7919998000000001</c:v>
                </c:pt>
                <c:pt idx="8961">
                  <c:v>3.7921999</c:v>
                </c:pt>
                <c:pt idx="8962">
                  <c:v>3.7923998999999999</c:v>
                </c:pt>
                <c:pt idx="8963">
                  <c:v>3.7925998999999999</c:v>
                </c:pt>
                <c:pt idx="8964">
                  <c:v>3.7927998999999999</c:v>
                </c:pt>
                <c:pt idx="8965">
                  <c:v>3.7929997000000002</c:v>
                </c:pt>
                <c:pt idx="8966">
                  <c:v>3.7932000000000001</c:v>
                </c:pt>
                <c:pt idx="8967">
                  <c:v>3.7934000000000001</c:v>
                </c:pt>
                <c:pt idx="8968">
                  <c:v>3.7935998</c:v>
                </c:pt>
                <c:pt idx="8969">
                  <c:v>3.7937998999999998</c:v>
                </c:pt>
                <c:pt idx="8970">
                  <c:v>3.7939997000000001</c:v>
                </c:pt>
                <c:pt idx="8971">
                  <c:v>3.7941999000000002</c:v>
                </c:pt>
                <c:pt idx="8972">
                  <c:v>3.7944</c:v>
                </c:pt>
                <c:pt idx="8973">
                  <c:v>3.7945997999999999</c:v>
                </c:pt>
                <c:pt idx="8974">
                  <c:v>3.7948</c:v>
                </c:pt>
                <c:pt idx="8975">
                  <c:v>3.7949997999999998</c:v>
                </c:pt>
                <c:pt idx="8976">
                  <c:v>3.7951999000000001</c:v>
                </c:pt>
                <c:pt idx="8977">
                  <c:v>3.7953999</c:v>
                </c:pt>
                <c:pt idx="8978">
                  <c:v>3.7955996999999999</c:v>
                </c:pt>
                <c:pt idx="8979">
                  <c:v>3.7957999999999998</c:v>
                </c:pt>
                <c:pt idx="8980">
                  <c:v>3.7959999999999998</c:v>
                </c:pt>
                <c:pt idx="8981">
                  <c:v>3.7961998000000001</c:v>
                </c:pt>
                <c:pt idx="8982">
                  <c:v>3.7964001000000001</c:v>
                </c:pt>
                <c:pt idx="8983">
                  <c:v>3.7965998999999999</c:v>
                </c:pt>
                <c:pt idx="8984">
                  <c:v>3.7967998999999999</c:v>
                </c:pt>
                <c:pt idx="8985">
                  <c:v>3.7969998999999999</c:v>
                </c:pt>
                <c:pt idx="8986">
                  <c:v>3.7971997000000002</c:v>
                </c:pt>
                <c:pt idx="8987">
                  <c:v>3.7974000000000001</c:v>
                </c:pt>
                <c:pt idx="8988">
                  <c:v>3.7975998</c:v>
                </c:pt>
                <c:pt idx="8989">
                  <c:v>3.7977997999999999</c:v>
                </c:pt>
                <c:pt idx="8990">
                  <c:v>3.7980000999999999</c:v>
                </c:pt>
                <c:pt idx="8991">
                  <c:v>3.7981999000000002</c:v>
                </c:pt>
                <c:pt idx="8992">
                  <c:v>3.7983999000000002</c:v>
                </c:pt>
                <c:pt idx="8993">
                  <c:v>3.7985997</c:v>
                </c:pt>
                <c:pt idx="8994">
                  <c:v>3.7987997999999998</c:v>
                </c:pt>
                <c:pt idx="8995">
                  <c:v>3.7989999999999999</c:v>
                </c:pt>
                <c:pt idx="8996">
                  <c:v>3.7991997999999998</c:v>
                </c:pt>
                <c:pt idx="8997">
                  <c:v>3.7993999000000001</c:v>
                </c:pt>
                <c:pt idx="8998">
                  <c:v>3.7996001000000001</c:v>
                </c:pt>
                <c:pt idx="8999">
                  <c:v>3.7997999</c:v>
                </c:pt>
                <c:pt idx="9000">
                  <c:v>3.8</c:v>
                </c:pt>
                <c:pt idx="9001">
                  <c:v>3.8001996999999998</c:v>
                </c:pt>
                <c:pt idx="9002">
                  <c:v>3.8003998000000001</c:v>
                </c:pt>
                <c:pt idx="9003">
                  <c:v>3.8006001</c:v>
                </c:pt>
                <c:pt idx="9004">
                  <c:v>3.8007998000000001</c:v>
                </c:pt>
                <c:pt idx="9005">
                  <c:v>3.8009998999999999</c:v>
                </c:pt>
                <c:pt idx="9006">
                  <c:v>3.8011998999999999</c:v>
                </c:pt>
                <c:pt idx="9007">
                  <c:v>3.8013998999999998</c:v>
                </c:pt>
                <c:pt idx="9008">
                  <c:v>3.8016000000000001</c:v>
                </c:pt>
                <c:pt idx="9009">
                  <c:v>3.8017998</c:v>
                </c:pt>
                <c:pt idx="9010">
                  <c:v>3.8019997999999999</c:v>
                </c:pt>
                <c:pt idx="9011">
                  <c:v>3.8021997999999999</c:v>
                </c:pt>
                <c:pt idx="9012">
                  <c:v>3.8023999000000002</c:v>
                </c:pt>
                <c:pt idx="9013">
                  <c:v>3.8025999000000001</c:v>
                </c:pt>
                <c:pt idx="9014">
                  <c:v>3.8027999000000001</c:v>
                </c:pt>
                <c:pt idx="9015">
                  <c:v>3.8029999999999999</c:v>
                </c:pt>
                <c:pt idx="9016">
                  <c:v>3.8031999999999999</c:v>
                </c:pt>
                <c:pt idx="9017">
                  <c:v>3.8033998000000002</c:v>
                </c:pt>
                <c:pt idx="9018">
                  <c:v>3.8035998000000002</c:v>
                </c:pt>
                <c:pt idx="9019">
                  <c:v>3.8037999</c:v>
                </c:pt>
                <c:pt idx="9020">
                  <c:v>3.8039999</c:v>
                </c:pt>
                <c:pt idx="9021">
                  <c:v>3.8041999</c:v>
                </c:pt>
                <c:pt idx="9022">
                  <c:v>3.8043999999999998</c:v>
                </c:pt>
                <c:pt idx="9023">
                  <c:v>3.8046000000000002</c:v>
                </c:pt>
                <c:pt idx="9024">
                  <c:v>3.8047998000000001</c:v>
                </c:pt>
                <c:pt idx="9025">
                  <c:v>3.8049998</c:v>
                </c:pt>
                <c:pt idx="9026">
                  <c:v>3.8051998999999999</c:v>
                </c:pt>
                <c:pt idx="9027">
                  <c:v>3.8053998999999998</c:v>
                </c:pt>
                <c:pt idx="9028">
                  <c:v>3.8055998999999998</c:v>
                </c:pt>
                <c:pt idx="9029">
                  <c:v>3.8057997000000001</c:v>
                </c:pt>
                <c:pt idx="9030">
                  <c:v>3.806</c:v>
                </c:pt>
                <c:pt idx="9031">
                  <c:v>3.8062</c:v>
                </c:pt>
                <c:pt idx="9032">
                  <c:v>3.8063997999999999</c:v>
                </c:pt>
                <c:pt idx="9033">
                  <c:v>3.8065999000000001</c:v>
                </c:pt>
                <c:pt idx="9034">
                  <c:v>3.8067997</c:v>
                </c:pt>
                <c:pt idx="9035">
                  <c:v>3.8069999000000001</c:v>
                </c:pt>
                <c:pt idx="9036">
                  <c:v>3.8071999999999999</c:v>
                </c:pt>
                <c:pt idx="9037">
                  <c:v>3.8073996999999999</c:v>
                </c:pt>
                <c:pt idx="9038">
                  <c:v>3.8075999999999999</c:v>
                </c:pt>
                <c:pt idx="9039">
                  <c:v>3.8078001000000001</c:v>
                </c:pt>
                <c:pt idx="9040">
                  <c:v>3.8079998000000002</c:v>
                </c:pt>
                <c:pt idx="9041">
                  <c:v>3.8081999</c:v>
                </c:pt>
                <c:pt idx="9042">
                  <c:v>3.8083996999999998</c:v>
                </c:pt>
                <c:pt idx="9043">
                  <c:v>3.8085998999999999</c:v>
                </c:pt>
                <c:pt idx="9044">
                  <c:v>3.8088000000000002</c:v>
                </c:pt>
                <c:pt idx="9045">
                  <c:v>3.8089998</c:v>
                </c:pt>
                <c:pt idx="9046">
                  <c:v>3.8092000000000001</c:v>
                </c:pt>
                <c:pt idx="9047">
                  <c:v>3.8093998</c:v>
                </c:pt>
                <c:pt idx="9048">
                  <c:v>3.8095998999999998</c:v>
                </c:pt>
                <c:pt idx="9049">
                  <c:v>3.8097998999999998</c:v>
                </c:pt>
                <c:pt idx="9050">
                  <c:v>3.8099997000000001</c:v>
                </c:pt>
                <c:pt idx="9051">
                  <c:v>3.8102</c:v>
                </c:pt>
                <c:pt idx="9052">
                  <c:v>3.8104</c:v>
                </c:pt>
                <c:pt idx="9053">
                  <c:v>3.8105997999999999</c:v>
                </c:pt>
                <c:pt idx="9054">
                  <c:v>3.8108000999999998</c:v>
                </c:pt>
                <c:pt idx="9055">
                  <c:v>3.8109999000000001</c:v>
                </c:pt>
                <c:pt idx="9056">
                  <c:v>3.8111999000000001</c:v>
                </c:pt>
                <c:pt idx="9057">
                  <c:v>3.8113999000000001</c:v>
                </c:pt>
                <c:pt idx="9058">
                  <c:v>3.8115996999999999</c:v>
                </c:pt>
                <c:pt idx="9059">
                  <c:v>3.8117999999999999</c:v>
                </c:pt>
                <c:pt idx="9060">
                  <c:v>3.8119998000000002</c:v>
                </c:pt>
                <c:pt idx="9061">
                  <c:v>3.8121998000000001</c:v>
                </c:pt>
                <c:pt idx="9062">
                  <c:v>3.8124001000000001</c:v>
                </c:pt>
                <c:pt idx="9063">
                  <c:v>3.8125998999999999</c:v>
                </c:pt>
                <c:pt idx="9064">
                  <c:v>3.8127998999999999</c:v>
                </c:pt>
                <c:pt idx="9065">
                  <c:v>3.8129997000000002</c:v>
                </c:pt>
                <c:pt idx="9066">
                  <c:v>3.8131998</c:v>
                </c:pt>
                <c:pt idx="9067">
                  <c:v>3.8134000000000001</c:v>
                </c:pt>
                <c:pt idx="9068">
                  <c:v>3.8135998</c:v>
                </c:pt>
                <c:pt idx="9069">
                  <c:v>3.8137998999999998</c:v>
                </c:pt>
                <c:pt idx="9070">
                  <c:v>3.8140000999999999</c:v>
                </c:pt>
                <c:pt idx="9071">
                  <c:v>3.8141999000000002</c:v>
                </c:pt>
                <c:pt idx="9072">
                  <c:v>3.8144</c:v>
                </c:pt>
                <c:pt idx="9073">
                  <c:v>3.8145997999999999</c:v>
                </c:pt>
                <c:pt idx="9074">
                  <c:v>3.8147997999999999</c:v>
                </c:pt>
                <c:pt idx="9075">
                  <c:v>3.8150000999999998</c:v>
                </c:pt>
                <c:pt idx="9076">
                  <c:v>3.8151999000000001</c:v>
                </c:pt>
                <c:pt idx="9077">
                  <c:v>3.8153999000000001</c:v>
                </c:pt>
                <c:pt idx="9078">
                  <c:v>3.8155999</c:v>
                </c:pt>
                <c:pt idx="9079">
                  <c:v>3.8157999999999999</c:v>
                </c:pt>
                <c:pt idx="9080">
                  <c:v>3.8159999999999998</c:v>
                </c:pt>
                <c:pt idx="9081">
                  <c:v>3.8161998000000001</c:v>
                </c:pt>
                <c:pt idx="9082">
                  <c:v>3.8163998000000001</c:v>
                </c:pt>
                <c:pt idx="9083">
                  <c:v>3.8165998000000001</c:v>
                </c:pt>
                <c:pt idx="9084">
                  <c:v>3.8167998999999999</c:v>
                </c:pt>
                <c:pt idx="9085">
                  <c:v>3.8169998999999999</c:v>
                </c:pt>
                <c:pt idx="9086">
                  <c:v>3.8171998999999999</c:v>
                </c:pt>
                <c:pt idx="9087">
                  <c:v>3.8174000000000001</c:v>
                </c:pt>
                <c:pt idx="9088">
                  <c:v>3.8175998</c:v>
                </c:pt>
                <c:pt idx="9089">
                  <c:v>3.8177998</c:v>
                </c:pt>
                <c:pt idx="9090">
                  <c:v>3.8179997999999999</c:v>
                </c:pt>
                <c:pt idx="9091">
                  <c:v>3.8181999000000002</c:v>
                </c:pt>
                <c:pt idx="9092">
                  <c:v>3.8183999000000002</c:v>
                </c:pt>
                <c:pt idx="9093">
                  <c:v>3.8185999000000002</c:v>
                </c:pt>
                <c:pt idx="9094">
                  <c:v>3.8188</c:v>
                </c:pt>
                <c:pt idx="9095">
                  <c:v>3.819</c:v>
                </c:pt>
                <c:pt idx="9096">
                  <c:v>3.8191997999999998</c:v>
                </c:pt>
                <c:pt idx="9097">
                  <c:v>3.8193997999999998</c:v>
                </c:pt>
                <c:pt idx="9098">
                  <c:v>3.8195999</c:v>
                </c:pt>
                <c:pt idx="9099">
                  <c:v>3.8197999</c:v>
                </c:pt>
                <c:pt idx="9100">
                  <c:v>3.8199999</c:v>
                </c:pt>
                <c:pt idx="9101">
                  <c:v>3.8201996999999999</c:v>
                </c:pt>
                <c:pt idx="9102">
                  <c:v>3.8203999999999998</c:v>
                </c:pt>
                <c:pt idx="9103">
                  <c:v>3.8206000000000002</c:v>
                </c:pt>
                <c:pt idx="9104">
                  <c:v>3.8207998000000001</c:v>
                </c:pt>
                <c:pt idx="9105">
                  <c:v>3.8209998999999999</c:v>
                </c:pt>
                <c:pt idx="9106">
                  <c:v>3.8211997000000002</c:v>
                </c:pt>
                <c:pt idx="9107">
                  <c:v>3.8213998999999998</c:v>
                </c:pt>
                <c:pt idx="9108">
                  <c:v>3.8216000000000001</c:v>
                </c:pt>
                <c:pt idx="9109">
                  <c:v>3.8217998</c:v>
                </c:pt>
                <c:pt idx="9110">
                  <c:v>3.8220000000000001</c:v>
                </c:pt>
                <c:pt idx="9111">
                  <c:v>3.8222000999999999</c:v>
                </c:pt>
                <c:pt idx="9112">
                  <c:v>3.8223999000000002</c:v>
                </c:pt>
                <c:pt idx="9113">
                  <c:v>3.8225999000000002</c:v>
                </c:pt>
                <c:pt idx="9114">
                  <c:v>3.8227997</c:v>
                </c:pt>
                <c:pt idx="9115">
                  <c:v>3.823</c:v>
                </c:pt>
                <c:pt idx="9116">
                  <c:v>3.8231999999999999</c:v>
                </c:pt>
                <c:pt idx="9117">
                  <c:v>3.8233997999999998</c:v>
                </c:pt>
                <c:pt idx="9118">
                  <c:v>3.8236001000000002</c:v>
                </c:pt>
                <c:pt idx="9119">
                  <c:v>3.8237998000000002</c:v>
                </c:pt>
                <c:pt idx="9120">
                  <c:v>3.8239999</c:v>
                </c:pt>
                <c:pt idx="9121">
                  <c:v>3.8241999</c:v>
                </c:pt>
                <c:pt idx="9122">
                  <c:v>3.8243996999999998</c:v>
                </c:pt>
                <c:pt idx="9123">
                  <c:v>3.8246000000000002</c:v>
                </c:pt>
                <c:pt idx="9124">
                  <c:v>3.8247998000000001</c:v>
                </c:pt>
                <c:pt idx="9125">
                  <c:v>3.8249998000000001</c:v>
                </c:pt>
                <c:pt idx="9126">
                  <c:v>3.8252001</c:v>
                </c:pt>
                <c:pt idx="9127">
                  <c:v>3.8253998999999999</c:v>
                </c:pt>
                <c:pt idx="9128">
                  <c:v>3.8255998999999998</c:v>
                </c:pt>
                <c:pt idx="9129">
                  <c:v>3.8257998999999998</c:v>
                </c:pt>
                <c:pt idx="9130">
                  <c:v>3.8259997000000001</c:v>
                </c:pt>
                <c:pt idx="9131">
                  <c:v>3.8262</c:v>
                </c:pt>
                <c:pt idx="9132">
                  <c:v>3.8263997999999999</c:v>
                </c:pt>
                <c:pt idx="9133">
                  <c:v>3.8265997999999999</c:v>
                </c:pt>
                <c:pt idx="9134">
                  <c:v>3.8268000999999998</c:v>
                </c:pt>
                <c:pt idx="9135">
                  <c:v>3.8269999000000001</c:v>
                </c:pt>
                <c:pt idx="9136">
                  <c:v>3.8271999000000001</c:v>
                </c:pt>
                <c:pt idx="9137">
                  <c:v>3.8273997</c:v>
                </c:pt>
                <c:pt idx="9138">
                  <c:v>3.8275998000000002</c:v>
                </c:pt>
                <c:pt idx="9139">
                  <c:v>3.8277999999999999</c:v>
                </c:pt>
                <c:pt idx="9140">
                  <c:v>3.8279998000000002</c:v>
                </c:pt>
                <c:pt idx="9141">
                  <c:v>3.8281999</c:v>
                </c:pt>
                <c:pt idx="9142">
                  <c:v>3.8284001000000001</c:v>
                </c:pt>
                <c:pt idx="9143">
                  <c:v>3.8285998999999999</c:v>
                </c:pt>
                <c:pt idx="9144">
                  <c:v>3.8288000000000002</c:v>
                </c:pt>
                <c:pt idx="9145">
                  <c:v>3.8289998000000001</c:v>
                </c:pt>
                <c:pt idx="9146">
                  <c:v>3.8291998</c:v>
                </c:pt>
                <c:pt idx="9147">
                  <c:v>3.8294001</c:v>
                </c:pt>
                <c:pt idx="9148">
                  <c:v>3.8295998999999998</c:v>
                </c:pt>
                <c:pt idx="9149">
                  <c:v>3.8297998999999998</c:v>
                </c:pt>
                <c:pt idx="9150">
                  <c:v>3.8299998999999998</c:v>
                </c:pt>
                <c:pt idx="9151">
                  <c:v>3.8302</c:v>
                </c:pt>
                <c:pt idx="9152">
                  <c:v>3.8304</c:v>
                </c:pt>
                <c:pt idx="9153">
                  <c:v>3.8305997999999999</c:v>
                </c:pt>
                <c:pt idx="9154">
                  <c:v>3.8307997999999999</c:v>
                </c:pt>
                <c:pt idx="9155">
                  <c:v>3.8309999000000001</c:v>
                </c:pt>
                <c:pt idx="9156">
                  <c:v>3.8311999000000001</c:v>
                </c:pt>
                <c:pt idx="9157">
                  <c:v>3.8313999000000001</c:v>
                </c:pt>
                <c:pt idx="9158">
                  <c:v>3.8315999999999999</c:v>
                </c:pt>
                <c:pt idx="9159">
                  <c:v>3.8317999999999999</c:v>
                </c:pt>
                <c:pt idx="9160">
                  <c:v>3.8319998000000002</c:v>
                </c:pt>
                <c:pt idx="9161">
                  <c:v>3.8321998000000002</c:v>
                </c:pt>
                <c:pt idx="9162">
                  <c:v>3.8323998000000001</c:v>
                </c:pt>
                <c:pt idx="9163">
                  <c:v>3.8325998999999999</c:v>
                </c:pt>
                <c:pt idx="9164">
                  <c:v>3.8327998999999999</c:v>
                </c:pt>
                <c:pt idx="9165">
                  <c:v>3.8329998999999999</c:v>
                </c:pt>
                <c:pt idx="9166">
                  <c:v>3.8332000000000002</c:v>
                </c:pt>
                <c:pt idx="9167">
                  <c:v>3.8334000000000001</c:v>
                </c:pt>
                <c:pt idx="9168">
                  <c:v>3.8335998</c:v>
                </c:pt>
                <c:pt idx="9169">
                  <c:v>3.8337998</c:v>
                </c:pt>
                <c:pt idx="9170">
                  <c:v>3.8339998999999998</c:v>
                </c:pt>
                <c:pt idx="9171">
                  <c:v>3.8341999000000002</c:v>
                </c:pt>
                <c:pt idx="9172">
                  <c:v>3.8343999000000002</c:v>
                </c:pt>
                <c:pt idx="9173">
                  <c:v>3.8345997000000001</c:v>
                </c:pt>
                <c:pt idx="9174">
                  <c:v>3.8348</c:v>
                </c:pt>
                <c:pt idx="9175">
                  <c:v>3.835</c:v>
                </c:pt>
                <c:pt idx="9176">
                  <c:v>3.8351997999999998</c:v>
                </c:pt>
                <c:pt idx="9177">
                  <c:v>3.8353999000000001</c:v>
                </c:pt>
                <c:pt idx="9178">
                  <c:v>3.8355996999999999</c:v>
                </c:pt>
                <c:pt idx="9179">
                  <c:v>3.8357999</c:v>
                </c:pt>
                <c:pt idx="9180">
                  <c:v>3.8359999999999999</c:v>
                </c:pt>
                <c:pt idx="9181">
                  <c:v>3.8361998000000002</c:v>
                </c:pt>
                <c:pt idx="9182">
                  <c:v>3.8363999999999998</c:v>
                </c:pt>
                <c:pt idx="9183">
                  <c:v>3.8366001000000001</c:v>
                </c:pt>
                <c:pt idx="9184">
                  <c:v>3.8367998999999999</c:v>
                </c:pt>
                <c:pt idx="9185">
                  <c:v>3.8369998999999999</c:v>
                </c:pt>
                <c:pt idx="9186">
                  <c:v>3.8371997000000002</c:v>
                </c:pt>
                <c:pt idx="9187">
                  <c:v>3.8374000000000001</c:v>
                </c:pt>
                <c:pt idx="9188">
                  <c:v>3.8376000000000001</c:v>
                </c:pt>
                <c:pt idx="9189">
                  <c:v>3.8377998</c:v>
                </c:pt>
                <c:pt idx="9190">
                  <c:v>3.8380000999999999</c:v>
                </c:pt>
                <c:pt idx="9191">
                  <c:v>3.8381999000000002</c:v>
                </c:pt>
                <c:pt idx="9192">
                  <c:v>3.8383999000000002</c:v>
                </c:pt>
                <c:pt idx="9193">
                  <c:v>3.8385999000000002</c:v>
                </c:pt>
                <c:pt idx="9194">
                  <c:v>3.8387997</c:v>
                </c:pt>
                <c:pt idx="9195">
                  <c:v>3.839</c:v>
                </c:pt>
                <c:pt idx="9196">
                  <c:v>3.8391997999999998</c:v>
                </c:pt>
                <c:pt idx="9197">
                  <c:v>3.8393997999999998</c:v>
                </c:pt>
                <c:pt idx="9198">
                  <c:v>3.8396001000000002</c:v>
                </c:pt>
                <c:pt idx="9199">
                  <c:v>3.8397999</c:v>
                </c:pt>
                <c:pt idx="9200">
                  <c:v>3.8399999</c:v>
                </c:pt>
                <c:pt idx="9201">
                  <c:v>3.8401996999999999</c:v>
                </c:pt>
                <c:pt idx="9202">
                  <c:v>3.8403996999999999</c:v>
                </c:pt>
                <c:pt idx="9203">
                  <c:v>3.8405999999999998</c:v>
                </c:pt>
                <c:pt idx="9204">
                  <c:v>3.8407998000000001</c:v>
                </c:pt>
                <c:pt idx="9205">
                  <c:v>3.8409998000000001</c:v>
                </c:pt>
                <c:pt idx="9206">
                  <c:v>3.8412001</c:v>
                </c:pt>
                <c:pt idx="9207">
                  <c:v>3.8413998999999999</c:v>
                </c:pt>
                <c:pt idx="9208">
                  <c:v>3.8415998999999998</c:v>
                </c:pt>
                <c:pt idx="9209">
                  <c:v>3.8417997000000002</c:v>
                </c:pt>
                <c:pt idx="9210">
                  <c:v>3.8419998</c:v>
                </c:pt>
                <c:pt idx="9211">
                  <c:v>3.8422000000000001</c:v>
                </c:pt>
                <c:pt idx="9212">
                  <c:v>3.8423997999999999</c:v>
                </c:pt>
                <c:pt idx="9213">
                  <c:v>3.8425999000000002</c:v>
                </c:pt>
                <c:pt idx="9214">
                  <c:v>3.8427999000000002</c:v>
                </c:pt>
                <c:pt idx="9215">
                  <c:v>3.8429999000000001</c:v>
                </c:pt>
                <c:pt idx="9216">
                  <c:v>3.8431999999999999</c:v>
                </c:pt>
                <c:pt idx="9217">
                  <c:v>3.8433997999999998</c:v>
                </c:pt>
                <c:pt idx="9218">
                  <c:v>3.8435997999999998</c:v>
                </c:pt>
                <c:pt idx="9219">
                  <c:v>3.8438001000000002</c:v>
                </c:pt>
                <c:pt idx="9220">
                  <c:v>3.8439999</c:v>
                </c:pt>
                <c:pt idx="9221">
                  <c:v>3.8441999</c:v>
                </c:pt>
                <c:pt idx="9222">
                  <c:v>3.8443999</c:v>
                </c:pt>
                <c:pt idx="9223">
                  <c:v>3.8445999999999998</c:v>
                </c:pt>
                <c:pt idx="9224">
                  <c:v>3.8448000000000002</c:v>
                </c:pt>
                <c:pt idx="9225">
                  <c:v>3.8449998000000001</c:v>
                </c:pt>
                <c:pt idx="9226">
                  <c:v>3.8451998000000001</c:v>
                </c:pt>
                <c:pt idx="9227">
                  <c:v>3.8453998999999999</c:v>
                </c:pt>
                <c:pt idx="9228">
                  <c:v>3.8455998999999998</c:v>
                </c:pt>
                <c:pt idx="9229">
                  <c:v>3.8457998999999998</c:v>
                </c:pt>
                <c:pt idx="9230">
                  <c:v>3.8460000000000001</c:v>
                </c:pt>
                <c:pt idx="9231">
                  <c:v>3.8462000000000001</c:v>
                </c:pt>
                <c:pt idx="9232">
                  <c:v>3.8463997999999999</c:v>
                </c:pt>
                <c:pt idx="9233">
                  <c:v>3.8465997999999999</c:v>
                </c:pt>
                <c:pt idx="9234">
                  <c:v>3.8467999000000002</c:v>
                </c:pt>
                <c:pt idx="9235">
                  <c:v>3.8469999000000001</c:v>
                </c:pt>
                <c:pt idx="9236">
                  <c:v>3.8471999000000001</c:v>
                </c:pt>
                <c:pt idx="9237">
                  <c:v>3.8473997</c:v>
                </c:pt>
                <c:pt idx="9238">
                  <c:v>3.8475999999999999</c:v>
                </c:pt>
                <c:pt idx="9239">
                  <c:v>3.8477999999999999</c:v>
                </c:pt>
                <c:pt idx="9240">
                  <c:v>3.8479998000000002</c:v>
                </c:pt>
                <c:pt idx="9241">
                  <c:v>3.8481998000000002</c:v>
                </c:pt>
                <c:pt idx="9242">
                  <c:v>3.8483999</c:v>
                </c:pt>
                <c:pt idx="9243">
                  <c:v>3.8485999</c:v>
                </c:pt>
                <c:pt idx="9244">
                  <c:v>3.8487998999999999</c:v>
                </c:pt>
                <c:pt idx="9245">
                  <c:v>3.8489996999999998</c:v>
                </c:pt>
                <c:pt idx="9246">
                  <c:v>3.8492000000000002</c:v>
                </c:pt>
                <c:pt idx="9247">
                  <c:v>3.8494000000000002</c:v>
                </c:pt>
                <c:pt idx="9248">
                  <c:v>3.8495998</c:v>
                </c:pt>
                <c:pt idx="9249">
                  <c:v>3.8497998999999998</c:v>
                </c:pt>
                <c:pt idx="9250">
                  <c:v>3.8499997000000001</c:v>
                </c:pt>
                <c:pt idx="9251">
                  <c:v>3.8501998999999998</c:v>
                </c:pt>
                <c:pt idx="9252">
                  <c:v>3.8504</c:v>
                </c:pt>
                <c:pt idx="9253">
                  <c:v>3.8505997999999999</c:v>
                </c:pt>
                <c:pt idx="9254">
                  <c:v>3.8508</c:v>
                </c:pt>
                <c:pt idx="9255">
                  <c:v>3.8510000999999998</c:v>
                </c:pt>
                <c:pt idx="9256">
                  <c:v>3.8511999000000001</c:v>
                </c:pt>
                <c:pt idx="9257">
                  <c:v>3.8513999000000001</c:v>
                </c:pt>
                <c:pt idx="9258">
                  <c:v>3.8515997</c:v>
                </c:pt>
                <c:pt idx="9259">
                  <c:v>3.8517999999999999</c:v>
                </c:pt>
                <c:pt idx="9260">
                  <c:v>3.8519999999999999</c:v>
                </c:pt>
                <c:pt idx="9261">
                  <c:v>3.8521998000000002</c:v>
                </c:pt>
                <c:pt idx="9262">
                  <c:v>3.8524001000000001</c:v>
                </c:pt>
                <c:pt idx="9263">
                  <c:v>3.8525999</c:v>
                </c:pt>
                <c:pt idx="9264">
                  <c:v>3.8527998999999999</c:v>
                </c:pt>
                <c:pt idx="9265">
                  <c:v>3.8529998999999999</c:v>
                </c:pt>
                <c:pt idx="9266">
                  <c:v>3.8531996999999998</c:v>
                </c:pt>
                <c:pt idx="9267">
                  <c:v>3.8534000000000002</c:v>
                </c:pt>
                <c:pt idx="9268">
                  <c:v>3.8535998</c:v>
                </c:pt>
                <c:pt idx="9269">
                  <c:v>3.8537998</c:v>
                </c:pt>
                <c:pt idx="9270">
                  <c:v>3.8540000999999999</c:v>
                </c:pt>
                <c:pt idx="9271">
                  <c:v>3.8541998999999998</c:v>
                </c:pt>
                <c:pt idx="9272">
                  <c:v>3.8543999000000002</c:v>
                </c:pt>
                <c:pt idx="9273">
                  <c:v>3.8545997000000001</c:v>
                </c:pt>
                <c:pt idx="9274">
                  <c:v>3.8547997000000001</c:v>
                </c:pt>
                <c:pt idx="9275">
                  <c:v>3.855</c:v>
                </c:pt>
                <c:pt idx="9276">
                  <c:v>3.8551997999999998</c:v>
                </c:pt>
                <c:pt idx="9277">
                  <c:v>3.8553997999999998</c:v>
                </c:pt>
                <c:pt idx="9278">
                  <c:v>3.8556001000000002</c:v>
                </c:pt>
                <c:pt idx="9279">
                  <c:v>3.8557999000000001</c:v>
                </c:pt>
                <c:pt idx="9280">
                  <c:v>3.8559999</c:v>
                </c:pt>
                <c:pt idx="9281">
                  <c:v>3.8561996999999999</c:v>
                </c:pt>
                <c:pt idx="9282">
                  <c:v>3.8563998000000002</c:v>
                </c:pt>
                <c:pt idx="9283">
                  <c:v>3.8565999999999998</c:v>
                </c:pt>
                <c:pt idx="9284">
                  <c:v>3.8567998000000001</c:v>
                </c:pt>
                <c:pt idx="9285">
                  <c:v>3.8569998999999999</c:v>
                </c:pt>
                <c:pt idx="9286">
                  <c:v>3.8571998999999999</c:v>
                </c:pt>
                <c:pt idx="9287">
                  <c:v>3.8573998999999999</c:v>
                </c:pt>
                <c:pt idx="9288">
                  <c:v>3.8576000000000001</c:v>
                </c:pt>
                <c:pt idx="9289">
                  <c:v>3.8577998</c:v>
                </c:pt>
                <c:pt idx="9290">
                  <c:v>3.8579998</c:v>
                </c:pt>
                <c:pt idx="9291">
                  <c:v>3.8582000999999999</c:v>
                </c:pt>
                <c:pt idx="9292">
                  <c:v>3.8583999000000002</c:v>
                </c:pt>
                <c:pt idx="9293">
                  <c:v>3.8585999000000002</c:v>
                </c:pt>
                <c:pt idx="9294">
                  <c:v>3.8587999000000002</c:v>
                </c:pt>
                <c:pt idx="9295">
                  <c:v>3.859</c:v>
                </c:pt>
                <c:pt idx="9296">
                  <c:v>3.8592</c:v>
                </c:pt>
                <c:pt idx="9297">
                  <c:v>3.8593997999999998</c:v>
                </c:pt>
                <c:pt idx="9298">
                  <c:v>3.8595997999999998</c:v>
                </c:pt>
                <c:pt idx="9299">
                  <c:v>3.8597999000000001</c:v>
                </c:pt>
                <c:pt idx="9300">
                  <c:v>3.8599999</c:v>
                </c:pt>
                <c:pt idx="9301">
                  <c:v>3.8601999</c:v>
                </c:pt>
                <c:pt idx="9302">
                  <c:v>3.8603999999999998</c:v>
                </c:pt>
                <c:pt idx="9303">
                  <c:v>3.8605999999999998</c:v>
                </c:pt>
                <c:pt idx="9304">
                  <c:v>3.8607998000000001</c:v>
                </c:pt>
                <c:pt idx="9305">
                  <c:v>3.8609998000000001</c:v>
                </c:pt>
                <c:pt idx="9306">
                  <c:v>3.8611998999999999</c:v>
                </c:pt>
                <c:pt idx="9307">
                  <c:v>3.8613998999999999</c:v>
                </c:pt>
                <c:pt idx="9308">
                  <c:v>3.8615998999999999</c:v>
                </c:pt>
                <c:pt idx="9309">
                  <c:v>3.8617997000000002</c:v>
                </c:pt>
                <c:pt idx="9310">
                  <c:v>3.8620000000000001</c:v>
                </c:pt>
                <c:pt idx="9311">
                  <c:v>3.8622000000000001</c:v>
                </c:pt>
                <c:pt idx="9312">
                  <c:v>3.8623997999999999</c:v>
                </c:pt>
                <c:pt idx="9313">
                  <c:v>3.8625997999999999</c:v>
                </c:pt>
                <c:pt idx="9314">
                  <c:v>3.8627995999999998</c:v>
                </c:pt>
                <c:pt idx="9315">
                  <c:v>3.8629999000000002</c:v>
                </c:pt>
                <c:pt idx="9316">
                  <c:v>3.8631999000000001</c:v>
                </c:pt>
                <c:pt idx="9317">
                  <c:v>3.8633997</c:v>
                </c:pt>
                <c:pt idx="9318">
                  <c:v>3.8635999999999999</c:v>
                </c:pt>
                <c:pt idx="9319">
                  <c:v>3.8637999999999999</c:v>
                </c:pt>
                <c:pt idx="9320">
                  <c:v>3.8639998000000002</c:v>
                </c:pt>
                <c:pt idx="9321">
                  <c:v>3.8641999</c:v>
                </c:pt>
                <c:pt idx="9322">
                  <c:v>3.8643996999999999</c:v>
                </c:pt>
                <c:pt idx="9323">
                  <c:v>3.8645999</c:v>
                </c:pt>
                <c:pt idx="9324">
                  <c:v>3.8647999999999998</c:v>
                </c:pt>
                <c:pt idx="9325">
                  <c:v>3.8649998000000001</c:v>
                </c:pt>
                <c:pt idx="9326">
                  <c:v>3.8652000000000002</c:v>
                </c:pt>
                <c:pt idx="9327">
                  <c:v>3.8653998000000001</c:v>
                </c:pt>
                <c:pt idx="9328">
                  <c:v>3.8655998999999999</c:v>
                </c:pt>
                <c:pt idx="9329">
                  <c:v>3.8657998999999998</c:v>
                </c:pt>
                <c:pt idx="9330">
                  <c:v>3.8659997000000001</c:v>
                </c:pt>
                <c:pt idx="9331">
                  <c:v>3.8662000000000001</c:v>
                </c:pt>
                <c:pt idx="9332">
                  <c:v>3.8664000000000001</c:v>
                </c:pt>
                <c:pt idx="9333">
                  <c:v>3.8665997999999999</c:v>
                </c:pt>
                <c:pt idx="9334">
                  <c:v>3.8668000999999999</c:v>
                </c:pt>
                <c:pt idx="9335">
                  <c:v>3.8669999000000002</c:v>
                </c:pt>
                <c:pt idx="9336">
                  <c:v>3.8671999000000001</c:v>
                </c:pt>
                <c:pt idx="9337">
                  <c:v>3.8673999000000001</c:v>
                </c:pt>
                <c:pt idx="9338">
                  <c:v>3.8675997</c:v>
                </c:pt>
                <c:pt idx="9339">
                  <c:v>3.8677999999999999</c:v>
                </c:pt>
                <c:pt idx="9340">
                  <c:v>3.8679998000000002</c:v>
                </c:pt>
                <c:pt idx="9341">
                  <c:v>3.8681998000000002</c:v>
                </c:pt>
                <c:pt idx="9342">
                  <c:v>3.8684001000000001</c:v>
                </c:pt>
                <c:pt idx="9343">
                  <c:v>3.8685999</c:v>
                </c:pt>
                <c:pt idx="9344">
                  <c:v>3.8687999</c:v>
                </c:pt>
                <c:pt idx="9345">
                  <c:v>3.8689996999999998</c:v>
                </c:pt>
                <c:pt idx="9346">
                  <c:v>3.8691998000000001</c:v>
                </c:pt>
                <c:pt idx="9347">
                  <c:v>3.8694000000000002</c:v>
                </c:pt>
                <c:pt idx="9348">
                  <c:v>3.8695998</c:v>
                </c:pt>
                <c:pt idx="9349">
                  <c:v>3.8697998999999998</c:v>
                </c:pt>
                <c:pt idx="9350">
                  <c:v>3.8700000999999999</c:v>
                </c:pt>
                <c:pt idx="9351">
                  <c:v>3.8701998999999998</c:v>
                </c:pt>
                <c:pt idx="9352">
                  <c:v>3.8704000000000001</c:v>
                </c:pt>
                <c:pt idx="9353">
                  <c:v>3.8705997000000001</c:v>
                </c:pt>
                <c:pt idx="9354">
                  <c:v>3.8707997999999999</c:v>
                </c:pt>
                <c:pt idx="9355">
                  <c:v>3.8710000999999998</c:v>
                </c:pt>
                <c:pt idx="9356">
                  <c:v>3.8711997999999999</c:v>
                </c:pt>
                <c:pt idx="9357">
                  <c:v>3.8713999000000001</c:v>
                </c:pt>
                <c:pt idx="9358">
                  <c:v>3.8715999000000001</c:v>
                </c:pt>
                <c:pt idx="9359">
                  <c:v>3.8717999000000001</c:v>
                </c:pt>
                <c:pt idx="9360">
                  <c:v>3.8719999999999999</c:v>
                </c:pt>
                <c:pt idx="9361">
                  <c:v>3.8721998000000002</c:v>
                </c:pt>
                <c:pt idx="9362">
                  <c:v>3.8723998000000002</c:v>
                </c:pt>
                <c:pt idx="9363">
                  <c:v>3.8725998000000001</c:v>
                </c:pt>
                <c:pt idx="9364">
                  <c:v>3.8727999</c:v>
                </c:pt>
                <c:pt idx="9365">
                  <c:v>3.8729998999999999</c:v>
                </c:pt>
                <c:pt idx="9366">
                  <c:v>3.8731998999999999</c:v>
                </c:pt>
                <c:pt idx="9367">
                  <c:v>3.8734000000000002</c:v>
                </c:pt>
                <c:pt idx="9368">
                  <c:v>3.8736000000000002</c:v>
                </c:pt>
                <c:pt idx="9369">
                  <c:v>3.8737998</c:v>
                </c:pt>
                <c:pt idx="9370">
                  <c:v>3.8739998</c:v>
                </c:pt>
                <c:pt idx="9371">
                  <c:v>3.8741998999999998</c:v>
                </c:pt>
                <c:pt idx="9372">
                  <c:v>3.8743998999999998</c:v>
                </c:pt>
                <c:pt idx="9373">
                  <c:v>3.8745999000000002</c:v>
                </c:pt>
                <c:pt idx="9374">
                  <c:v>3.8748</c:v>
                </c:pt>
                <c:pt idx="9375">
                  <c:v>3.875</c:v>
                </c:pt>
                <c:pt idx="9376">
                  <c:v>3.8751997999999999</c:v>
                </c:pt>
                <c:pt idx="9377">
                  <c:v>3.8753997999999998</c:v>
                </c:pt>
                <c:pt idx="9378">
                  <c:v>3.8755999000000001</c:v>
                </c:pt>
                <c:pt idx="9379">
                  <c:v>3.8757999000000001</c:v>
                </c:pt>
                <c:pt idx="9380">
                  <c:v>3.8759999000000001</c:v>
                </c:pt>
                <c:pt idx="9381">
                  <c:v>3.8761996999999999</c:v>
                </c:pt>
                <c:pt idx="9382">
                  <c:v>3.8763999999999998</c:v>
                </c:pt>
                <c:pt idx="9383">
                  <c:v>3.8765999999999998</c:v>
                </c:pt>
                <c:pt idx="9384">
                  <c:v>3.8767998000000001</c:v>
                </c:pt>
                <c:pt idx="9385">
                  <c:v>3.8769998999999999</c:v>
                </c:pt>
                <c:pt idx="9386">
                  <c:v>3.8771996</c:v>
                </c:pt>
                <c:pt idx="9387">
                  <c:v>3.8773998999999999</c:v>
                </c:pt>
                <c:pt idx="9388">
                  <c:v>3.8776000000000002</c:v>
                </c:pt>
                <c:pt idx="9389">
                  <c:v>3.8777997000000002</c:v>
                </c:pt>
                <c:pt idx="9390">
                  <c:v>3.8780000000000001</c:v>
                </c:pt>
                <c:pt idx="9391">
                  <c:v>3.8782000999999999</c:v>
                </c:pt>
                <c:pt idx="9392">
                  <c:v>3.8783998</c:v>
                </c:pt>
                <c:pt idx="9393">
                  <c:v>3.8785999000000002</c:v>
                </c:pt>
                <c:pt idx="9394">
                  <c:v>3.8787997000000001</c:v>
                </c:pt>
                <c:pt idx="9395">
                  <c:v>3.8789999000000002</c:v>
                </c:pt>
                <c:pt idx="9396">
                  <c:v>3.8792</c:v>
                </c:pt>
                <c:pt idx="9397">
                  <c:v>3.8793997999999998</c:v>
                </c:pt>
                <c:pt idx="9398">
                  <c:v>3.8795999999999999</c:v>
                </c:pt>
                <c:pt idx="9399">
                  <c:v>3.8797997999999998</c:v>
                </c:pt>
                <c:pt idx="9400">
                  <c:v>3.8799999000000001</c:v>
                </c:pt>
                <c:pt idx="9401">
                  <c:v>3.8801999</c:v>
                </c:pt>
                <c:pt idx="9402">
                  <c:v>3.8803996999999999</c:v>
                </c:pt>
                <c:pt idx="9403">
                  <c:v>3.8805999999999998</c:v>
                </c:pt>
                <c:pt idx="9404">
                  <c:v>3.8807999999999998</c:v>
                </c:pt>
                <c:pt idx="9405">
                  <c:v>3.8809998000000001</c:v>
                </c:pt>
                <c:pt idx="9406">
                  <c:v>3.8812001</c:v>
                </c:pt>
                <c:pt idx="9407">
                  <c:v>3.8813998999999999</c:v>
                </c:pt>
                <c:pt idx="9408">
                  <c:v>3.8815998999999999</c:v>
                </c:pt>
                <c:pt idx="9409">
                  <c:v>3.8817998999999999</c:v>
                </c:pt>
                <c:pt idx="9410">
                  <c:v>3.8819997000000002</c:v>
                </c:pt>
                <c:pt idx="9411">
                  <c:v>3.8822000000000001</c:v>
                </c:pt>
                <c:pt idx="9412">
                  <c:v>3.8823998</c:v>
                </c:pt>
                <c:pt idx="9413">
                  <c:v>3.8825997999999999</c:v>
                </c:pt>
                <c:pt idx="9414">
                  <c:v>3.8828000999999999</c:v>
                </c:pt>
                <c:pt idx="9415">
                  <c:v>3.8829999000000002</c:v>
                </c:pt>
                <c:pt idx="9416">
                  <c:v>3.8831999000000001</c:v>
                </c:pt>
                <c:pt idx="9417">
                  <c:v>3.8833997</c:v>
                </c:pt>
                <c:pt idx="9418">
                  <c:v>3.8835997999999998</c:v>
                </c:pt>
                <c:pt idx="9419">
                  <c:v>3.8837999999999999</c:v>
                </c:pt>
                <c:pt idx="9420">
                  <c:v>3.8839997999999998</c:v>
                </c:pt>
                <c:pt idx="9421">
                  <c:v>3.8841999</c:v>
                </c:pt>
                <c:pt idx="9422">
                  <c:v>3.8844001000000001</c:v>
                </c:pt>
                <c:pt idx="9423">
                  <c:v>3.8845999</c:v>
                </c:pt>
                <c:pt idx="9424">
                  <c:v>3.8847999999999998</c:v>
                </c:pt>
                <c:pt idx="9425">
                  <c:v>3.8849998000000001</c:v>
                </c:pt>
                <c:pt idx="9426">
                  <c:v>3.8851998000000001</c:v>
                </c:pt>
                <c:pt idx="9427">
                  <c:v>3.8854001</c:v>
                </c:pt>
                <c:pt idx="9428">
                  <c:v>3.8855998999999999</c:v>
                </c:pt>
                <c:pt idx="9429">
                  <c:v>3.8857998999999999</c:v>
                </c:pt>
                <c:pt idx="9430">
                  <c:v>3.8859998999999998</c:v>
                </c:pt>
                <c:pt idx="9431">
                  <c:v>3.8862000000000001</c:v>
                </c:pt>
                <c:pt idx="9432">
                  <c:v>3.8864000000000001</c:v>
                </c:pt>
                <c:pt idx="9433">
                  <c:v>3.8865997999999999</c:v>
                </c:pt>
                <c:pt idx="9434">
                  <c:v>3.8867997999999999</c:v>
                </c:pt>
                <c:pt idx="9435">
                  <c:v>3.8869997999999999</c:v>
                </c:pt>
                <c:pt idx="9436">
                  <c:v>3.8871999000000002</c:v>
                </c:pt>
                <c:pt idx="9437">
                  <c:v>3.8873999000000001</c:v>
                </c:pt>
                <c:pt idx="9438">
                  <c:v>3.8875999000000001</c:v>
                </c:pt>
                <c:pt idx="9439">
                  <c:v>3.8877999999999999</c:v>
                </c:pt>
                <c:pt idx="9440">
                  <c:v>3.8879997999999998</c:v>
                </c:pt>
                <c:pt idx="9441">
                  <c:v>3.8881998000000002</c:v>
                </c:pt>
                <c:pt idx="9442">
                  <c:v>3.8883998000000002</c:v>
                </c:pt>
                <c:pt idx="9443">
                  <c:v>3.8885999</c:v>
                </c:pt>
                <c:pt idx="9444">
                  <c:v>3.8887999</c:v>
                </c:pt>
                <c:pt idx="9445">
                  <c:v>3.8889999</c:v>
                </c:pt>
                <c:pt idx="9446">
                  <c:v>3.8892000000000002</c:v>
                </c:pt>
                <c:pt idx="9447">
                  <c:v>3.8894000000000002</c:v>
                </c:pt>
                <c:pt idx="9448">
                  <c:v>3.8895998000000001</c:v>
                </c:pt>
                <c:pt idx="9449">
                  <c:v>3.8897998</c:v>
                </c:pt>
                <c:pt idx="9450">
                  <c:v>3.8899998999999998</c:v>
                </c:pt>
                <c:pt idx="9451">
                  <c:v>3.8901998999999998</c:v>
                </c:pt>
                <c:pt idx="9452">
                  <c:v>3.8903998999999998</c:v>
                </c:pt>
                <c:pt idx="9453">
                  <c:v>3.8905997000000001</c:v>
                </c:pt>
                <c:pt idx="9454">
                  <c:v>3.8908</c:v>
                </c:pt>
                <c:pt idx="9455">
                  <c:v>3.891</c:v>
                </c:pt>
                <c:pt idx="9456">
                  <c:v>3.8911997999999999</c:v>
                </c:pt>
                <c:pt idx="9457">
                  <c:v>3.8913999000000001</c:v>
                </c:pt>
                <c:pt idx="9458">
                  <c:v>3.8915997</c:v>
                </c:pt>
                <c:pt idx="9459">
                  <c:v>3.8917999000000001</c:v>
                </c:pt>
                <c:pt idx="9460">
                  <c:v>3.8919999999999999</c:v>
                </c:pt>
                <c:pt idx="9461">
                  <c:v>3.8921998000000002</c:v>
                </c:pt>
                <c:pt idx="9462">
                  <c:v>3.8923999999999999</c:v>
                </c:pt>
                <c:pt idx="9463">
                  <c:v>3.8926001000000001</c:v>
                </c:pt>
                <c:pt idx="9464">
                  <c:v>3.8927999</c:v>
                </c:pt>
                <c:pt idx="9465">
                  <c:v>3.8929999</c:v>
                </c:pt>
                <c:pt idx="9466">
                  <c:v>3.8931996999999998</c:v>
                </c:pt>
                <c:pt idx="9467">
                  <c:v>3.8934000000000002</c:v>
                </c:pt>
                <c:pt idx="9468">
                  <c:v>3.8936000000000002</c:v>
                </c:pt>
                <c:pt idx="9469">
                  <c:v>3.8937998</c:v>
                </c:pt>
                <c:pt idx="9470">
                  <c:v>3.8940001</c:v>
                </c:pt>
                <c:pt idx="9471">
                  <c:v>3.8941998</c:v>
                </c:pt>
                <c:pt idx="9472">
                  <c:v>3.8943998999999998</c:v>
                </c:pt>
                <c:pt idx="9473">
                  <c:v>3.8945998999999998</c:v>
                </c:pt>
                <c:pt idx="9474">
                  <c:v>3.8947997000000001</c:v>
                </c:pt>
                <c:pt idx="9475">
                  <c:v>3.895</c:v>
                </c:pt>
                <c:pt idx="9476">
                  <c:v>3.8951997999999999</c:v>
                </c:pt>
                <c:pt idx="9477">
                  <c:v>3.8953997999999999</c:v>
                </c:pt>
                <c:pt idx="9478">
                  <c:v>3.8956000999999998</c:v>
                </c:pt>
                <c:pt idx="9479">
                  <c:v>3.8957999000000001</c:v>
                </c:pt>
                <c:pt idx="9480">
                  <c:v>3.8959999000000001</c:v>
                </c:pt>
                <c:pt idx="9481">
                  <c:v>3.8961999</c:v>
                </c:pt>
                <c:pt idx="9482">
                  <c:v>3.8963996999999999</c:v>
                </c:pt>
                <c:pt idx="9483">
                  <c:v>3.8965999999999998</c:v>
                </c:pt>
                <c:pt idx="9484">
                  <c:v>3.8967998000000001</c:v>
                </c:pt>
                <c:pt idx="9485">
                  <c:v>3.8969998000000001</c:v>
                </c:pt>
                <c:pt idx="9486">
                  <c:v>3.8972001000000001</c:v>
                </c:pt>
                <c:pt idx="9487">
                  <c:v>3.8973998999999999</c:v>
                </c:pt>
                <c:pt idx="9488">
                  <c:v>3.8975998999999999</c:v>
                </c:pt>
                <c:pt idx="9489">
                  <c:v>3.8977997000000002</c:v>
                </c:pt>
                <c:pt idx="9490">
                  <c:v>3.8979998</c:v>
                </c:pt>
                <c:pt idx="9491">
                  <c:v>3.8982000000000001</c:v>
                </c:pt>
                <c:pt idx="9492">
                  <c:v>3.8983998</c:v>
                </c:pt>
                <c:pt idx="9493">
                  <c:v>3.8985998999999998</c:v>
                </c:pt>
                <c:pt idx="9494">
                  <c:v>3.8988000999999999</c:v>
                </c:pt>
                <c:pt idx="9495">
                  <c:v>3.8989999000000002</c:v>
                </c:pt>
                <c:pt idx="9496">
                  <c:v>3.8992</c:v>
                </c:pt>
                <c:pt idx="9497">
                  <c:v>3.8993997999999999</c:v>
                </c:pt>
                <c:pt idx="9498">
                  <c:v>3.8995997999999998</c:v>
                </c:pt>
                <c:pt idx="9499">
                  <c:v>3.8998001000000002</c:v>
                </c:pt>
                <c:pt idx="9500">
                  <c:v>3.8999999000000001</c:v>
                </c:pt>
                <c:pt idx="9501">
                  <c:v>3.9001999000000001</c:v>
                </c:pt>
                <c:pt idx="9502">
                  <c:v>3.9003999</c:v>
                </c:pt>
                <c:pt idx="9503">
                  <c:v>3.9005999999999998</c:v>
                </c:pt>
                <c:pt idx="9504">
                  <c:v>3.9007999999999998</c:v>
                </c:pt>
                <c:pt idx="9505">
                  <c:v>3.9009998000000001</c:v>
                </c:pt>
                <c:pt idx="9506">
                  <c:v>3.9011998000000001</c:v>
                </c:pt>
                <c:pt idx="9507">
                  <c:v>3.9013998999999999</c:v>
                </c:pt>
                <c:pt idx="9508">
                  <c:v>3.9015998999999999</c:v>
                </c:pt>
                <c:pt idx="9509">
                  <c:v>3.9017998999999999</c:v>
                </c:pt>
                <c:pt idx="9510">
                  <c:v>3.9020000000000001</c:v>
                </c:pt>
                <c:pt idx="9511">
                  <c:v>3.9022000000000001</c:v>
                </c:pt>
                <c:pt idx="9512">
                  <c:v>3.9023998</c:v>
                </c:pt>
                <c:pt idx="9513">
                  <c:v>3.9025998</c:v>
                </c:pt>
                <c:pt idx="9514">
                  <c:v>3.9027997999999999</c:v>
                </c:pt>
                <c:pt idx="9515">
                  <c:v>3.9029999000000002</c:v>
                </c:pt>
                <c:pt idx="9516">
                  <c:v>3.9031999000000002</c:v>
                </c:pt>
                <c:pt idx="9517">
                  <c:v>3.9033999000000001</c:v>
                </c:pt>
                <c:pt idx="9518">
                  <c:v>3.9036</c:v>
                </c:pt>
                <c:pt idx="9519">
                  <c:v>3.9037999999999999</c:v>
                </c:pt>
                <c:pt idx="9520">
                  <c:v>3.9039997999999998</c:v>
                </c:pt>
                <c:pt idx="9521">
                  <c:v>3.9041998000000002</c:v>
                </c:pt>
                <c:pt idx="9522">
                  <c:v>3.9043999</c:v>
                </c:pt>
                <c:pt idx="9523">
                  <c:v>3.9045999</c:v>
                </c:pt>
                <c:pt idx="9524">
                  <c:v>3.9047999</c:v>
                </c:pt>
                <c:pt idx="9525">
                  <c:v>3.9049996999999999</c:v>
                </c:pt>
                <c:pt idx="9526">
                  <c:v>3.9051999999999998</c:v>
                </c:pt>
                <c:pt idx="9527">
                  <c:v>3.9054000000000002</c:v>
                </c:pt>
                <c:pt idx="9528">
                  <c:v>3.9055998000000001</c:v>
                </c:pt>
                <c:pt idx="9529">
                  <c:v>3.9057998999999999</c:v>
                </c:pt>
                <c:pt idx="9530">
                  <c:v>3.9059997000000002</c:v>
                </c:pt>
                <c:pt idx="9531">
                  <c:v>3.9061998999999998</c:v>
                </c:pt>
                <c:pt idx="9532">
                  <c:v>3.9064000000000001</c:v>
                </c:pt>
                <c:pt idx="9533">
                  <c:v>3.9065998</c:v>
                </c:pt>
                <c:pt idx="9534">
                  <c:v>3.9068000000000001</c:v>
                </c:pt>
                <c:pt idx="9535">
                  <c:v>3.9070000999999999</c:v>
                </c:pt>
                <c:pt idx="9536">
                  <c:v>3.9071999000000002</c:v>
                </c:pt>
                <c:pt idx="9537">
                  <c:v>3.9073999000000001</c:v>
                </c:pt>
                <c:pt idx="9538">
                  <c:v>3.9075997</c:v>
                </c:pt>
                <c:pt idx="9539">
                  <c:v>3.9077999999999999</c:v>
                </c:pt>
                <c:pt idx="9540">
                  <c:v>3.9079999999999999</c:v>
                </c:pt>
                <c:pt idx="9541">
                  <c:v>3.9081997999999998</c:v>
                </c:pt>
                <c:pt idx="9542">
                  <c:v>3.9084001000000002</c:v>
                </c:pt>
                <c:pt idx="9543">
                  <c:v>3.9085999</c:v>
                </c:pt>
                <c:pt idx="9544">
                  <c:v>3.9087999</c:v>
                </c:pt>
                <c:pt idx="9545">
                  <c:v>3.9089999</c:v>
                </c:pt>
                <c:pt idx="9546">
                  <c:v>3.9091996999999998</c:v>
                </c:pt>
                <c:pt idx="9547">
                  <c:v>3.9094000000000002</c:v>
                </c:pt>
                <c:pt idx="9548">
                  <c:v>3.9095998000000001</c:v>
                </c:pt>
                <c:pt idx="9549">
                  <c:v>3.9097998</c:v>
                </c:pt>
                <c:pt idx="9550">
                  <c:v>3.9100001</c:v>
                </c:pt>
                <c:pt idx="9551">
                  <c:v>3.9101998999999998</c:v>
                </c:pt>
                <c:pt idx="9552">
                  <c:v>3.9103998999999998</c:v>
                </c:pt>
                <c:pt idx="9553">
                  <c:v>3.9105997000000001</c:v>
                </c:pt>
                <c:pt idx="9554">
                  <c:v>3.9107997000000001</c:v>
                </c:pt>
                <c:pt idx="9555">
                  <c:v>3.911</c:v>
                </c:pt>
                <c:pt idx="9556">
                  <c:v>3.9111997999999999</c:v>
                </c:pt>
                <c:pt idx="9557">
                  <c:v>3.9113997999999999</c:v>
                </c:pt>
                <c:pt idx="9558">
                  <c:v>3.9116000999999998</c:v>
                </c:pt>
                <c:pt idx="9559">
                  <c:v>3.9117999000000001</c:v>
                </c:pt>
                <c:pt idx="9560">
                  <c:v>3.9119999000000001</c:v>
                </c:pt>
                <c:pt idx="9561">
                  <c:v>3.9121996999999999</c:v>
                </c:pt>
                <c:pt idx="9562">
                  <c:v>3.9123998000000002</c:v>
                </c:pt>
                <c:pt idx="9563">
                  <c:v>3.9125999999999999</c:v>
                </c:pt>
                <c:pt idx="9564">
                  <c:v>3.9127998000000002</c:v>
                </c:pt>
                <c:pt idx="9565">
                  <c:v>3.9129999</c:v>
                </c:pt>
                <c:pt idx="9566">
                  <c:v>3.9131999</c:v>
                </c:pt>
                <c:pt idx="9567">
                  <c:v>3.9133998999999999</c:v>
                </c:pt>
                <c:pt idx="9568">
                  <c:v>3.9136000000000002</c:v>
                </c:pt>
                <c:pt idx="9569">
                  <c:v>3.9137998000000001</c:v>
                </c:pt>
                <c:pt idx="9570">
                  <c:v>3.9139998</c:v>
                </c:pt>
                <c:pt idx="9571">
                  <c:v>3.9142001</c:v>
                </c:pt>
                <c:pt idx="9572">
                  <c:v>3.9143998999999998</c:v>
                </c:pt>
                <c:pt idx="9573">
                  <c:v>3.9145998999999998</c:v>
                </c:pt>
                <c:pt idx="9574">
                  <c:v>3.9147999000000002</c:v>
                </c:pt>
                <c:pt idx="9575">
                  <c:v>3.915</c:v>
                </c:pt>
                <c:pt idx="9576">
                  <c:v>3.9152</c:v>
                </c:pt>
                <c:pt idx="9577">
                  <c:v>3.9153997999999999</c:v>
                </c:pt>
                <c:pt idx="9578">
                  <c:v>3.9155997999999999</c:v>
                </c:pt>
                <c:pt idx="9579">
                  <c:v>3.9157999000000001</c:v>
                </c:pt>
                <c:pt idx="9580">
                  <c:v>3.9159999000000001</c:v>
                </c:pt>
                <c:pt idx="9581">
                  <c:v>3.9161999000000001</c:v>
                </c:pt>
                <c:pt idx="9582">
                  <c:v>3.9163999999999999</c:v>
                </c:pt>
                <c:pt idx="9583">
                  <c:v>3.9165999999999999</c:v>
                </c:pt>
                <c:pt idx="9584">
                  <c:v>3.9167998000000002</c:v>
                </c:pt>
                <c:pt idx="9585">
                  <c:v>3.9169998000000001</c:v>
                </c:pt>
                <c:pt idx="9586">
                  <c:v>3.9171999</c:v>
                </c:pt>
                <c:pt idx="9587">
                  <c:v>3.9173998999999999</c:v>
                </c:pt>
                <c:pt idx="9588">
                  <c:v>3.9175998999999999</c:v>
                </c:pt>
                <c:pt idx="9589">
                  <c:v>3.9177997000000002</c:v>
                </c:pt>
                <c:pt idx="9590">
                  <c:v>3.9180000000000001</c:v>
                </c:pt>
                <c:pt idx="9591">
                  <c:v>3.9182000000000001</c:v>
                </c:pt>
                <c:pt idx="9592">
                  <c:v>3.9183998</c:v>
                </c:pt>
                <c:pt idx="9593">
                  <c:v>3.9185998</c:v>
                </c:pt>
                <c:pt idx="9594">
                  <c:v>3.9187998999999998</c:v>
                </c:pt>
                <c:pt idx="9595">
                  <c:v>3.9189999000000002</c:v>
                </c:pt>
                <c:pt idx="9596">
                  <c:v>3.9191999000000002</c:v>
                </c:pt>
                <c:pt idx="9597">
                  <c:v>3.9193997</c:v>
                </c:pt>
                <c:pt idx="9598">
                  <c:v>3.9196</c:v>
                </c:pt>
                <c:pt idx="9599">
                  <c:v>3.9198</c:v>
                </c:pt>
                <c:pt idx="9600">
                  <c:v>3.9199997999999998</c:v>
                </c:pt>
                <c:pt idx="9601">
                  <c:v>3.9201999000000001</c:v>
                </c:pt>
                <c:pt idx="9602">
                  <c:v>3.9203996999999999</c:v>
                </c:pt>
                <c:pt idx="9603">
                  <c:v>3.9205999</c:v>
                </c:pt>
                <c:pt idx="9604">
                  <c:v>3.9207999999999998</c:v>
                </c:pt>
                <c:pt idx="9605">
                  <c:v>3.9209998000000001</c:v>
                </c:pt>
                <c:pt idx="9606">
                  <c:v>3.9211999999999998</c:v>
                </c:pt>
                <c:pt idx="9607">
                  <c:v>3.9214001000000001</c:v>
                </c:pt>
                <c:pt idx="9608">
                  <c:v>3.9215998999999999</c:v>
                </c:pt>
                <c:pt idx="9609">
                  <c:v>3.9217998999999999</c:v>
                </c:pt>
                <c:pt idx="9610">
                  <c:v>3.9219997000000002</c:v>
                </c:pt>
                <c:pt idx="9611">
                  <c:v>3.9222000000000001</c:v>
                </c:pt>
                <c:pt idx="9612">
                  <c:v>3.9224000000000001</c:v>
                </c:pt>
                <c:pt idx="9613">
                  <c:v>3.9225998</c:v>
                </c:pt>
                <c:pt idx="9614">
                  <c:v>3.9228000999999999</c:v>
                </c:pt>
                <c:pt idx="9615">
                  <c:v>3.9229999000000002</c:v>
                </c:pt>
                <c:pt idx="9616">
                  <c:v>3.9231999000000002</c:v>
                </c:pt>
                <c:pt idx="9617">
                  <c:v>3.9233999000000002</c:v>
                </c:pt>
                <c:pt idx="9618">
                  <c:v>3.9235997</c:v>
                </c:pt>
                <c:pt idx="9619">
                  <c:v>3.9238</c:v>
                </c:pt>
                <c:pt idx="9620">
                  <c:v>3.9239997999999998</c:v>
                </c:pt>
                <c:pt idx="9621">
                  <c:v>3.9241997999999998</c:v>
                </c:pt>
                <c:pt idx="9622">
                  <c:v>3.9244001000000002</c:v>
                </c:pt>
                <c:pt idx="9623">
                  <c:v>3.9245999</c:v>
                </c:pt>
                <c:pt idx="9624">
                  <c:v>3.9247999</c:v>
                </c:pt>
                <c:pt idx="9625">
                  <c:v>3.9249996999999999</c:v>
                </c:pt>
                <c:pt idx="9626">
                  <c:v>3.9251996999999998</c:v>
                </c:pt>
                <c:pt idx="9627">
                  <c:v>3.9253999999999998</c:v>
                </c:pt>
                <c:pt idx="9628">
                  <c:v>3.9255998000000001</c:v>
                </c:pt>
                <c:pt idx="9629">
                  <c:v>3.9257998000000001</c:v>
                </c:pt>
                <c:pt idx="9630">
                  <c:v>3.9260001</c:v>
                </c:pt>
                <c:pt idx="9631">
                  <c:v>3.9261998999999999</c:v>
                </c:pt>
                <c:pt idx="9632">
                  <c:v>3.9263998999999998</c:v>
                </c:pt>
                <c:pt idx="9633">
                  <c:v>3.9265997000000001</c:v>
                </c:pt>
                <c:pt idx="9634">
                  <c:v>3.9267998</c:v>
                </c:pt>
                <c:pt idx="9635">
                  <c:v>3.927</c:v>
                </c:pt>
                <c:pt idx="9636">
                  <c:v>3.9271997999999999</c:v>
                </c:pt>
                <c:pt idx="9637">
                  <c:v>3.9273999000000002</c:v>
                </c:pt>
                <c:pt idx="9638">
                  <c:v>3.9275999000000001</c:v>
                </c:pt>
                <c:pt idx="9639">
                  <c:v>3.9277999000000001</c:v>
                </c:pt>
                <c:pt idx="9640">
                  <c:v>3.9279999999999999</c:v>
                </c:pt>
                <c:pt idx="9641">
                  <c:v>3.9281997999999998</c:v>
                </c:pt>
                <c:pt idx="9642">
                  <c:v>3.9283998000000002</c:v>
                </c:pt>
                <c:pt idx="9643">
                  <c:v>3.9285998000000002</c:v>
                </c:pt>
                <c:pt idx="9644">
                  <c:v>3.9287999</c:v>
                </c:pt>
                <c:pt idx="9645">
                  <c:v>3.9289999</c:v>
                </c:pt>
                <c:pt idx="9646">
                  <c:v>3.9291999</c:v>
                </c:pt>
                <c:pt idx="9647">
                  <c:v>3.9293999999999998</c:v>
                </c:pt>
                <c:pt idx="9648">
                  <c:v>3.9296000000000002</c:v>
                </c:pt>
                <c:pt idx="9649">
                  <c:v>3.9297998000000001</c:v>
                </c:pt>
                <c:pt idx="9650">
                  <c:v>3.9299998</c:v>
                </c:pt>
                <c:pt idx="9651">
                  <c:v>3.9301998999999999</c:v>
                </c:pt>
                <c:pt idx="9652">
                  <c:v>3.9303998999999998</c:v>
                </c:pt>
                <c:pt idx="9653">
                  <c:v>3.9305998999999998</c:v>
                </c:pt>
                <c:pt idx="9654">
                  <c:v>3.9308000000000001</c:v>
                </c:pt>
                <c:pt idx="9655">
                  <c:v>3.931</c:v>
                </c:pt>
                <c:pt idx="9656">
                  <c:v>3.9311997999999999</c:v>
                </c:pt>
                <c:pt idx="9657">
                  <c:v>3.9313997999999999</c:v>
                </c:pt>
                <c:pt idx="9658">
                  <c:v>3.9315999000000001</c:v>
                </c:pt>
                <c:pt idx="9659">
                  <c:v>3.9317999000000001</c:v>
                </c:pt>
                <c:pt idx="9660">
                  <c:v>3.9319999000000001</c:v>
                </c:pt>
                <c:pt idx="9661">
                  <c:v>3.9321997</c:v>
                </c:pt>
                <c:pt idx="9662">
                  <c:v>3.9323999999999999</c:v>
                </c:pt>
                <c:pt idx="9663">
                  <c:v>3.9325999999999999</c:v>
                </c:pt>
                <c:pt idx="9664">
                  <c:v>3.9327998000000002</c:v>
                </c:pt>
                <c:pt idx="9665">
                  <c:v>3.9329998000000002</c:v>
                </c:pt>
                <c:pt idx="9666">
                  <c:v>3.9331996</c:v>
                </c:pt>
                <c:pt idx="9667">
                  <c:v>3.9333998999999999</c:v>
                </c:pt>
                <c:pt idx="9668">
                  <c:v>3.9335998999999999</c:v>
                </c:pt>
                <c:pt idx="9669">
                  <c:v>3.9337996999999998</c:v>
                </c:pt>
                <c:pt idx="9670">
                  <c:v>3.9340000000000002</c:v>
                </c:pt>
                <c:pt idx="9671">
                  <c:v>3.9342000000000001</c:v>
                </c:pt>
                <c:pt idx="9672">
                  <c:v>3.9343998</c:v>
                </c:pt>
                <c:pt idx="9673">
                  <c:v>3.9345998999999998</c:v>
                </c:pt>
                <c:pt idx="9674">
                  <c:v>3.9347997000000001</c:v>
                </c:pt>
                <c:pt idx="9675">
                  <c:v>3.9349999000000002</c:v>
                </c:pt>
                <c:pt idx="9676">
                  <c:v>3.9352</c:v>
                </c:pt>
                <c:pt idx="9677">
                  <c:v>3.9353997999999999</c:v>
                </c:pt>
                <c:pt idx="9678">
                  <c:v>3.9356</c:v>
                </c:pt>
                <c:pt idx="9679">
                  <c:v>3.9357997999999998</c:v>
                </c:pt>
                <c:pt idx="9680">
                  <c:v>3.9359999000000001</c:v>
                </c:pt>
                <c:pt idx="9681">
                  <c:v>3.9361999000000001</c:v>
                </c:pt>
                <c:pt idx="9682">
                  <c:v>3.9363996999999999</c:v>
                </c:pt>
                <c:pt idx="9683">
                  <c:v>3.9365999999999999</c:v>
                </c:pt>
                <c:pt idx="9684">
                  <c:v>3.9367999999999999</c:v>
                </c:pt>
                <c:pt idx="9685">
                  <c:v>3.9369998000000002</c:v>
                </c:pt>
                <c:pt idx="9686">
                  <c:v>3.9372001000000001</c:v>
                </c:pt>
                <c:pt idx="9687">
                  <c:v>3.9373999</c:v>
                </c:pt>
                <c:pt idx="9688">
                  <c:v>3.9375998999999999</c:v>
                </c:pt>
                <c:pt idx="9689">
                  <c:v>3.9377998999999999</c:v>
                </c:pt>
                <c:pt idx="9690">
                  <c:v>3.9379997000000002</c:v>
                </c:pt>
                <c:pt idx="9691">
                  <c:v>3.9382000000000001</c:v>
                </c:pt>
                <c:pt idx="9692">
                  <c:v>3.9383998</c:v>
                </c:pt>
                <c:pt idx="9693">
                  <c:v>3.9385998</c:v>
                </c:pt>
                <c:pt idx="9694">
                  <c:v>3.9388000999999999</c:v>
                </c:pt>
                <c:pt idx="9695">
                  <c:v>3.9389999000000002</c:v>
                </c:pt>
                <c:pt idx="9696">
                  <c:v>3.9391999000000002</c:v>
                </c:pt>
                <c:pt idx="9697">
                  <c:v>3.9393997000000001</c:v>
                </c:pt>
                <c:pt idx="9698">
                  <c:v>3.9395997999999999</c:v>
                </c:pt>
                <c:pt idx="9699">
                  <c:v>3.9398</c:v>
                </c:pt>
                <c:pt idx="9700">
                  <c:v>3.9399997999999998</c:v>
                </c:pt>
                <c:pt idx="9701">
                  <c:v>3.9401999000000001</c:v>
                </c:pt>
                <c:pt idx="9702">
                  <c:v>3.9404001000000002</c:v>
                </c:pt>
                <c:pt idx="9703">
                  <c:v>3.9405999</c:v>
                </c:pt>
                <c:pt idx="9704">
                  <c:v>3.9407999999999999</c:v>
                </c:pt>
                <c:pt idx="9705">
                  <c:v>3.9409996999999999</c:v>
                </c:pt>
                <c:pt idx="9706">
                  <c:v>3.9411998000000001</c:v>
                </c:pt>
                <c:pt idx="9707">
                  <c:v>3.9414001000000001</c:v>
                </c:pt>
                <c:pt idx="9708">
                  <c:v>3.9415998000000001</c:v>
                </c:pt>
                <c:pt idx="9709">
                  <c:v>3.9417998999999999</c:v>
                </c:pt>
                <c:pt idx="9710">
                  <c:v>3.9419998999999999</c:v>
                </c:pt>
                <c:pt idx="9711">
                  <c:v>3.9421998999999999</c:v>
                </c:pt>
                <c:pt idx="9712">
                  <c:v>3.9424000000000001</c:v>
                </c:pt>
                <c:pt idx="9713">
                  <c:v>3.9425998</c:v>
                </c:pt>
                <c:pt idx="9714">
                  <c:v>3.9427998</c:v>
                </c:pt>
                <c:pt idx="9715">
                  <c:v>3.9429997999999999</c:v>
                </c:pt>
                <c:pt idx="9716">
                  <c:v>3.9431999000000002</c:v>
                </c:pt>
                <c:pt idx="9717">
                  <c:v>3.9433999000000002</c:v>
                </c:pt>
                <c:pt idx="9718">
                  <c:v>3.9435999000000002</c:v>
                </c:pt>
                <c:pt idx="9719">
                  <c:v>3.9438</c:v>
                </c:pt>
                <c:pt idx="9720">
                  <c:v>3.944</c:v>
                </c:pt>
                <c:pt idx="9721">
                  <c:v>3.9441997999999998</c:v>
                </c:pt>
                <c:pt idx="9722">
                  <c:v>3.9443997999999998</c:v>
                </c:pt>
                <c:pt idx="9723">
                  <c:v>3.9445999</c:v>
                </c:pt>
                <c:pt idx="9724">
                  <c:v>3.9447999</c:v>
                </c:pt>
                <c:pt idx="9725">
                  <c:v>3.9449999</c:v>
                </c:pt>
                <c:pt idx="9726">
                  <c:v>3.9451999999999998</c:v>
                </c:pt>
                <c:pt idx="9727">
                  <c:v>3.9453999999999998</c:v>
                </c:pt>
                <c:pt idx="9728">
                  <c:v>3.9455998000000001</c:v>
                </c:pt>
                <c:pt idx="9729">
                  <c:v>3.9457998000000001</c:v>
                </c:pt>
                <c:pt idx="9730">
                  <c:v>3.9459998999999999</c:v>
                </c:pt>
                <c:pt idx="9731">
                  <c:v>3.9461998999999999</c:v>
                </c:pt>
                <c:pt idx="9732">
                  <c:v>3.9463998999999998</c:v>
                </c:pt>
                <c:pt idx="9733">
                  <c:v>3.9465997000000002</c:v>
                </c:pt>
                <c:pt idx="9734">
                  <c:v>3.9468000000000001</c:v>
                </c:pt>
                <c:pt idx="9735">
                  <c:v>3.9470000000000001</c:v>
                </c:pt>
                <c:pt idx="9736">
                  <c:v>3.9471997999999999</c:v>
                </c:pt>
                <c:pt idx="9737">
                  <c:v>3.9473999000000002</c:v>
                </c:pt>
                <c:pt idx="9738">
                  <c:v>3.9475996000000002</c:v>
                </c:pt>
                <c:pt idx="9739">
                  <c:v>3.9477999000000001</c:v>
                </c:pt>
                <c:pt idx="9740">
                  <c:v>3.948</c:v>
                </c:pt>
                <c:pt idx="9741">
                  <c:v>3.9481997</c:v>
                </c:pt>
                <c:pt idx="9742">
                  <c:v>3.9483999999999999</c:v>
                </c:pt>
                <c:pt idx="9743">
                  <c:v>3.9486001000000002</c:v>
                </c:pt>
                <c:pt idx="9744">
                  <c:v>3.9487998000000002</c:v>
                </c:pt>
                <c:pt idx="9745">
                  <c:v>3.9489999</c:v>
                </c:pt>
                <c:pt idx="9746">
                  <c:v>3.9491996999999999</c:v>
                </c:pt>
                <c:pt idx="9747">
                  <c:v>3.9493999</c:v>
                </c:pt>
                <c:pt idx="9748">
                  <c:v>3.9496000000000002</c:v>
                </c:pt>
                <c:pt idx="9749">
                  <c:v>3.9497998000000001</c:v>
                </c:pt>
                <c:pt idx="9750">
                  <c:v>3.95</c:v>
                </c:pt>
                <c:pt idx="9751">
                  <c:v>3.9501998</c:v>
                </c:pt>
                <c:pt idx="9752">
                  <c:v>3.9503998999999999</c:v>
                </c:pt>
                <c:pt idx="9753">
                  <c:v>3.9505998999999998</c:v>
                </c:pt>
                <c:pt idx="9754">
                  <c:v>3.9507997000000001</c:v>
                </c:pt>
                <c:pt idx="9755">
                  <c:v>3.9510000000000001</c:v>
                </c:pt>
                <c:pt idx="9756">
                  <c:v>3.9511997999999999</c:v>
                </c:pt>
                <c:pt idx="9757">
                  <c:v>3.9513997999999999</c:v>
                </c:pt>
                <c:pt idx="9758">
                  <c:v>3.9516000999999998</c:v>
                </c:pt>
                <c:pt idx="9759">
                  <c:v>3.9517999000000001</c:v>
                </c:pt>
                <c:pt idx="9760">
                  <c:v>3.9519999000000001</c:v>
                </c:pt>
                <c:pt idx="9761">
                  <c:v>3.9521999000000001</c:v>
                </c:pt>
                <c:pt idx="9762">
                  <c:v>3.9523997</c:v>
                </c:pt>
                <c:pt idx="9763">
                  <c:v>3.9525999999999999</c:v>
                </c:pt>
                <c:pt idx="9764">
                  <c:v>3.9527998000000002</c:v>
                </c:pt>
                <c:pt idx="9765">
                  <c:v>3.9529998000000002</c:v>
                </c:pt>
                <c:pt idx="9766">
                  <c:v>3.9532001000000001</c:v>
                </c:pt>
                <c:pt idx="9767">
                  <c:v>3.9533999</c:v>
                </c:pt>
                <c:pt idx="9768">
                  <c:v>3.9535998999999999</c:v>
                </c:pt>
                <c:pt idx="9769">
                  <c:v>3.9537996999999998</c:v>
                </c:pt>
                <c:pt idx="9770">
                  <c:v>3.9539998000000001</c:v>
                </c:pt>
                <c:pt idx="9771">
                  <c:v>3.9542000000000002</c:v>
                </c:pt>
                <c:pt idx="9772">
                  <c:v>3.9543998</c:v>
                </c:pt>
                <c:pt idx="9773">
                  <c:v>3.9545998999999998</c:v>
                </c:pt>
                <c:pt idx="9774">
                  <c:v>3.9548000999999999</c:v>
                </c:pt>
                <c:pt idx="9775">
                  <c:v>3.9549998999999998</c:v>
                </c:pt>
                <c:pt idx="9776">
                  <c:v>3.9552</c:v>
                </c:pt>
                <c:pt idx="9777">
                  <c:v>3.9553997999999999</c:v>
                </c:pt>
                <c:pt idx="9778">
                  <c:v>3.9555997999999999</c:v>
                </c:pt>
                <c:pt idx="9779">
                  <c:v>3.9558000999999998</c:v>
                </c:pt>
                <c:pt idx="9780">
                  <c:v>3.9559999000000001</c:v>
                </c:pt>
                <c:pt idx="9781">
                  <c:v>3.9561999000000001</c:v>
                </c:pt>
                <c:pt idx="9782">
                  <c:v>3.9563999000000001</c:v>
                </c:pt>
                <c:pt idx="9783">
                  <c:v>3.9565999999999999</c:v>
                </c:pt>
                <c:pt idx="9784">
                  <c:v>3.9567999999999999</c:v>
                </c:pt>
                <c:pt idx="9785">
                  <c:v>3.9569998000000002</c:v>
                </c:pt>
                <c:pt idx="9786">
                  <c:v>3.9571998000000002</c:v>
                </c:pt>
                <c:pt idx="9787">
                  <c:v>3.9573998000000001</c:v>
                </c:pt>
                <c:pt idx="9788">
                  <c:v>3.9575998999999999</c:v>
                </c:pt>
                <c:pt idx="9789">
                  <c:v>3.9577998999999999</c:v>
                </c:pt>
                <c:pt idx="9790">
                  <c:v>3.9579998999999999</c:v>
                </c:pt>
                <c:pt idx="9791">
                  <c:v>3.9582000000000002</c:v>
                </c:pt>
                <c:pt idx="9792">
                  <c:v>3.9583998</c:v>
                </c:pt>
                <c:pt idx="9793">
                  <c:v>3.9585998</c:v>
                </c:pt>
                <c:pt idx="9794">
                  <c:v>3.9587998</c:v>
                </c:pt>
                <c:pt idx="9795">
                  <c:v>3.9589998999999998</c:v>
                </c:pt>
                <c:pt idx="9796">
                  <c:v>3.9591999000000002</c:v>
                </c:pt>
                <c:pt idx="9797">
                  <c:v>3.9593999000000002</c:v>
                </c:pt>
                <c:pt idx="9798">
                  <c:v>3.9596</c:v>
                </c:pt>
                <c:pt idx="9799">
                  <c:v>3.9598</c:v>
                </c:pt>
                <c:pt idx="9800">
                  <c:v>3.9599997999999998</c:v>
                </c:pt>
                <c:pt idx="9801">
                  <c:v>3.9601997999999998</c:v>
                </c:pt>
                <c:pt idx="9802">
                  <c:v>3.9603999000000001</c:v>
                </c:pt>
                <c:pt idx="9803">
                  <c:v>3.9605999000000001</c:v>
                </c:pt>
                <c:pt idx="9804">
                  <c:v>3.9607999</c:v>
                </c:pt>
                <c:pt idx="9805">
                  <c:v>3.9609996999999999</c:v>
                </c:pt>
                <c:pt idx="9806">
                  <c:v>3.9611999999999998</c:v>
                </c:pt>
                <c:pt idx="9807">
                  <c:v>3.9613999999999998</c:v>
                </c:pt>
                <c:pt idx="9808">
                  <c:v>3.9615998000000001</c:v>
                </c:pt>
                <c:pt idx="9809">
                  <c:v>3.9617998999999999</c:v>
                </c:pt>
                <c:pt idx="9810">
                  <c:v>3.9619996999999998</c:v>
                </c:pt>
                <c:pt idx="9811">
                  <c:v>3.9621998999999999</c:v>
                </c:pt>
                <c:pt idx="9812">
                  <c:v>3.9624000000000001</c:v>
                </c:pt>
                <c:pt idx="9813">
                  <c:v>3.9625998</c:v>
                </c:pt>
                <c:pt idx="9814">
                  <c:v>3.9628000000000001</c:v>
                </c:pt>
                <c:pt idx="9815">
                  <c:v>3.9630000999999999</c:v>
                </c:pt>
                <c:pt idx="9816">
                  <c:v>3.9631999000000002</c:v>
                </c:pt>
                <c:pt idx="9817">
                  <c:v>3.9633999000000002</c:v>
                </c:pt>
                <c:pt idx="9818">
                  <c:v>3.9635997000000001</c:v>
                </c:pt>
                <c:pt idx="9819">
                  <c:v>3.9638</c:v>
                </c:pt>
                <c:pt idx="9820">
                  <c:v>3.964</c:v>
                </c:pt>
                <c:pt idx="9821">
                  <c:v>3.9641997999999998</c:v>
                </c:pt>
                <c:pt idx="9822">
                  <c:v>3.9644001000000002</c:v>
                </c:pt>
                <c:pt idx="9823">
                  <c:v>3.9645997999999998</c:v>
                </c:pt>
                <c:pt idx="9824">
                  <c:v>3.9647999</c:v>
                </c:pt>
                <c:pt idx="9825">
                  <c:v>3.9649999</c:v>
                </c:pt>
                <c:pt idx="9826">
                  <c:v>3.9651996999999999</c:v>
                </c:pt>
                <c:pt idx="9827">
                  <c:v>3.9653999999999998</c:v>
                </c:pt>
                <c:pt idx="9828">
                  <c:v>3.9655998000000001</c:v>
                </c:pt>
                <c:pt idx="9829">
                  <c:v>3.9657998000000001</c:v>
                </c:pt>
                <c:pt idx="9830">
                  <c:v>3.9660001</c:v>
                </c:pt>
                <c:pt idx="9831">
                  <c:v>3.9661998999999999</c:v>
                </c:pt>
                <c:pt idx="9832">
                  <c:v>3.9663998999999999</c:v>
                </c:pt>
                <c:pt idx="9833">
                  <c:v>3.9665998999999998</c:v>
                </c:pt>
                <c:pt idx="9834">
                  <c:v>3.9667997000000002</c:v>
                </c:pt>
                <c:pt idx="9835">
                  <c:v>3.9670000000000001</c:v>
                </c:pt>
                <c:pt idx="9836">
                  <c:v>3.9671997999999999</c:v>
                </c:pt>
                <c:pt idx="9837">
                  <c:v>3.9673997999999999</c:v>
                </c:pt>
                <c:pt idx="9838">
                  <c:v>3.9676000999999999</c:v>
                </c:pt>
                <c:pt idx="9839">
                  <c:v>3.9677999000000002</c:v>
                </c:pt>
                <c:pt idx="9840">
                  <c:v>3.9679999000000001</c:v>
                </c:pt>
                <c:pt idx="9841">
                  <c:v>3.9681997</c:v>
                </c:pt>
                <c:pt idx="9842">
                  <c:v>3.9683997999999998</c:v>
                </c:pt>
                <c:pt idx="9843">
                  <c:v>3.9685999999999999</c:v>
                </c:pt>
                <c:pt idx="9844">
                  <c:v>3.9687998000000002</c:v>
                </c:pt>
                <c:pt idx="9845">
                  <c:v>3.9689999</c:v>
                </c:pt>
                <c:pt idx="9846">
                  <c:v>3.9692001000000001</c:v>
                </c:pt>
                <c:pt idx="9847">
                  <c:v>3.9693999</c:v>
                </c:pt>
                <c:pt idx="9848">
                  <c:v>3.9695999999999998</c:v>
                </c:pt>
                <c:pt idx="9849">
                  <c:v>3.9697998000000001</c:v>
                </c:pt>
                <c:pt idx="9850">
                  <c:v>3.9699998000000001</c:v>
                </c:pt>
                <c:pt idx="9851">
                  <c:v>3.9702001</c:v>
                </c:pt>
                <c:pt idx="9852">
                  <c:v>3.9703998999999999</c:v>
                </c:pt>
                <c:pt idx="9853">
                  <c:v>3.9705998999999998</c:v>
                </c:pt>
                <c:pt idx="9854">
                  <c:v>3.9707998999999998</c:v>
                </c:pt>
                <c:pt idx="9855">
                  <c:v>3.9710000000000001</c:v>
                </c:pt>
                <c:pt idx="9856">
                  <c:v>3.9712000000000001</c:v>
                </c:pt>
                <c:pt idx="9857">
                  <c:v>3.9713997999999999</c:v>
                </c:pt>
                <c:pt idx="9858">
                  <c:v>3.9715997999999999</c:v>
                </c:pt>
                <c:pt idx="9859">
                  <c:v>3.9717999000000002</c:v>
                </c:pt>
                <c:pt idx="9860">
                  <c:v>3.9719999000000001</c:v>
                </c:pt>
                <c:pt idx="9861">
                  <c:v>3.9721999000000001</c:v>
                </c:pt>
                <c:pt idx="9862">
                  <c:v>3.9723999999999999</c:v>
                </c:pt>
                <c:pt idx="9863">
                  <c:v>3.9725999999999999</c:v>
                </c:pt>
                <c:pt idx="9864">
                  <c:v>3.9727998000000002</c:v>
                </c:pt>
                <c:pt idx="9865">
                  <c:v>3.9729998000000002</c:v>
                </c:pt>
                <c:pt idx="9866">
                  <c:v>3.9731998000000002</c:v>
                </c:pt>
                <c:pt idx="9867">
                  <c:v>3.9733999</c:v>
                </c:pt>
                <c:pt idx="9868">
                  <c:v>3.9735999</c:v>
                </c:pt>
                <c:pt idx="9869">
                  <c:v>3.9737996999999998</c:v>
                </c:pt>
                <c:pt idx="9870">
                  <c:v>3.9740000000000002</c:v>
                </c:pt>
                <c:pt idx="9871">
                  <c:v>3.9742000000000002</c:v>
                </c:pt>
                <c:pt idx="9872">
                  <c:v>3.9743998</c:v>
                </c:pt>
                <c:pt idx="9873">
                  <c:v>3.9745998</c:v>
                </c:pt>
                <c:pt idx="9874">
                  <c:v>3.9747998999999998</c:v>
                </c:pt>
                <c:pt idx="9875">
                  <c:v>3.9749998999999998</c:v>
                </c:pt>
                <c:pt idx="9876">
                  <c:v>3.9751998999999998</c:v>
                </c:pt>
                <c:pt idx="9877">
                  <c:v>3.9753997000000001</c:v>
                </c:pt>
                <c:pt idx="9878">
                  <c:v>3.9756</c:v>
                </c:pt>
                <c:pt idx="9879">
                  <c:v>3.9758</c:v>
                </c:pt>
                <c:pt idx="9880">
                  <c:v>3.9759997999999999</c:v>
                </c:pt>
                <c:pt idx="9881">
                  <c:v>3.9761999000000001</c:v>
                </c:pt>
                <c:pt idx="9882">
                  <c:v>3.9763997</c:v>
                </c:pt>
                <c:pt idx="9883">
                  <c:v>3.9765999000000001</c:v>
                </c:pt>
                <c:pt idx="9884">
                  <c:v>3.9767999999999999</c:v>
                </c:pt>
                <c:pt idx="9885">
                  <c:v>3.9769998000000002</c:v>
                </c:pt>
                <c:pt idx="9886">
                  <c:v>3.9771999999999998</c:v>
                </c:pt>
                <c:pt idx="9887">
                  <c:v>3.9774001000000001</c:v>
                </c:pt>
                <c:pt idx="9888">
                  <c:v>3.9775999</c:v>
                </c:pt>
                <c:pt idx="9889">
                  <c:v>3.9777998999999999</c:v>
                </c:pt>
                <c:pt idx="9890">
                  <c:v>3.9779996999999998</c:v>
                </c:pt>
                <c:pt idx="9891">
                  <c:v>3.9782000000000002</c:v>
                </c:pt>
                <c:pt idx="9892">
                  <c:v>3.9784000000000002</c:v>
                </c:pt>
                <c:pt idx="9893">
                  <c:v>3.9785998</c:v>
                </c:pt>
                <c:pt idx="9894">
                  <c:v>3.9788001</c:v>
                </c:pt>
                <c:pt idx="9895">
                  <c:v>3.9789998999999998</c:v>
                </c:pt>
                <c:pt idx="9896">
                  <c:v>3.9791998999999998</c:v>
                </c:pt>
                <c:pt idx="9897">
                  <c:v>3.9793999000000002</c:v>
                </c:pt>
                <c:pt idx="9898">
                  <c:v>3.9795997000000001</c:v>
                </c:pt>
                <c:pt idx="9899">
                  <c:v>3.9798</c:v>
                </c:pt>
                <c:pt idx="9900">
                  <c:v>3.9799997999999999</c:v>
                </c:pt>
                <c:pt idx="9901">
                  <c:v>3.9801997999999998</c:v>
                </c:pt>
                <c:pt idx="9902">
                  <c:v>3.9804001000000002</c:v>
                </c:pt>
                <c:pt idx="9903">
                  <c:v>3.9805999000000001</c:v>
                </c:pt>
                <c:pt idx="9904">
                  <c:v>3.9807999000000001</c:v>
                </c:pt>
                <c:pt idx="9905">
                  <c:v>3.9809996999999999</c:v>
                </c:pt>
                <c:pt idx="9906">
                  <c:v>3.9811996999999999</c:v>
                </c:pt>
                <c:pt idx="9907">
                  <c:v>3.9813999999999998</c:v>
                </c:pt>
                <c:pt idx="9908">
                  <c:v>3.9815998000000001</c:v>
                </c:pt>
                <c:pt idx="9909">
                  <c:v>3.9817998000000001</c:v>
                </c:pt>
                <c:pt idx="9910">
                  <c:v>3.9820001</c:v>
                </c:pt>
                <c:pt idx="9911">
                  <c:v>3.9821998999999999</c:v>
                </c:pt>
                <c:pt idx="9912">
                  <c:v>3.9823998999999999</c:v>
                </c:pt>
                <c:pt idx="9913">
                  <c:v>3.9825997000000002</c:v>
                </c:pt>
                <c:pt idx="9914">
                  <c:v>3.9827998</c:v>
                </c:pt>
                <c:pt idx="9915">
                  <c:v>3.9830000000000001</c:v>
                </c:pt>
                <c:pt idx="9916">
                  <c:v>3.9831998</c:v>
                </c:pt>
                <c:pt idx="9917">
                  <c:v>3.9833999000000002</c:v>
                </c:pt>
                <c:pt idx="9918">
                  <c:v>3.9835999000000002</c:v>
                </c:pt>
                <c:pt idx="9919">
                  <c:v>3.9837999000000002</c:v>
                </c:pt>
                <c:pt idx="9920">
                  <c:v>3.984</c:v>
                </c:pt>
                <c:pt idx="9921">
                  <c:v>3.9841997999999998</c:v>
                </c:pt>
                <c:pt idx="9922">
                  <c:v>3.9843997999999998</c:v>
                </c:pt>
                <c:pt idx="9923">
                  <c:v>3.9846001000000002</c:v>
                </c:pt>
                <c:pt idx="9924">
                  <c:v>3.9847999000000001</c:v>
                </c:pt>
                <c:pt idx="9925">
                  <c:v>3.9849999</c:v>
                </c:pt>
                <c:pt idx="9926">
                  <c:v>3.9851999</c:v>
                </c:pt>
                <c:pt idx="9927">
                  <c:v>3.9853999999999998</c:v>
                </c:pt>
                <c:pt idx="9928">
                  <c:v>3.9855999999999998</c:v>
                </c:pt>
                <c:pt idx="9929">
                  <c:v>3.9857998000000001</c:v>
                </c:pt>
                <c:pt idx="9930">
                  <c:v>3.9859998000000001</c:v>
                </c:pt>
                <c:pt idx="9931">
                  <c:v>3.9861998999999999</c:v>
                </c:pt>
                <c:pt idx="9932">
                  <c:v>3.9863998999999999</c:v>
                </c:pt>
                <c:pt idx="9933">
                  <c:v>3.9865998999999999</c:v>
                </c:pt>
                <c:pt idx="9934">
                  <c:v>3.9868000000000001</c:v>
                </c:pt>
                <c:pt idx="9935">
                  <c:v>3.9870000000000001</c:v>
                </c:pt>
                <c:pt idx="9936">
                  <c:v>3.9871998</c:v>
                </c:pt>
                <c:pt idx="9937">
                  <c:v>3.9873997999999999</c:v>
                </c:pt>
                <c:pt idx="9938">
                  <c:v>3.9875997999999999</c:v>
                </c:pt>
                <c:pt idx="9939">
                  <c:v>3.9877999000000002</c:v>
                </c:pt>
                <c:pt idx="9940">
                  <c:v>3.9879999000000002</c:v>
                </c:pt>
                <c:pt idx="9941">
                  <c:v>3.9881997</c:v>
                </c:pt>
                <c:pt idx="9942">
                  <c:v>3.9883999999999999</c:v>
                </c:pt>
                <c:pt idx="9943">
                  <c:v>3.9885999999999999</c:v>
                </c:pt>
                <c:pt idx="9944">
                  <c:v>3.9887997999999998</c:v>
                </c:pt>
                <c:pt idx="9945">
                  <c:v>3.9889998000000002</c:v>
                </c:pt>
                <c:pt idx="9946">
                  <c:v>3.9891999</c:v>
                </c:pt>
                <c:pt idx="9947">
                  <c:v>3.9893999</c:v>
                </c:pt>
                <c:pt idx="9948">
                  <c:v>3.9895999</c:v>
                </c:pt>
                <c:pt idx="9949">
                  <c:v>3.9897996999999998</c:v>
                </c:pt>
                <c:pt idx="9950">
                  <c:v>3.99</c:v>
                </c:pt>
                <c:pt idx="9951">
                  <c:v>3.9902000000000002</c:v>
                </c:pt>
                <c:pt idx="9952">
                  <c:v>3.9903998000000001</c:v>
                </c:pt>
                <c:pt idx="9953">
                  <c:v>3.9905998999999999</c:v>
                </c:pt>
                <c:pt idx="9954">
                  <c:v>3.9907997000000002</c:v>
                </c:pt>
                <c:pt idx="9955">
                  <c:v>3.9909998999999998</c:v>
                </c:pt>
                <c:pt idx="9956">
                  <c:v>3.9912000000000001</c:v>
                </c:pt>
                <c:pt idx="9957">
                  <c:v>3.9913997999999999</c:v>
                </c:pt>
                <c:pt idx="9958">
                  <c:v>3.9916</c:v>
                </c:pt>
                <c:pt idx="9959">
                  <c:v>3.9918000999999999</c:v>
                </c:pt>
                <c:pt idx="9960">
                  <c:v>3.9919999000000002</c:v>
                </c:pt>
                <c:pt idx="9961">
                  <c:v>3.9921999000000001</c:v>
                </c:pt>
                <c:pt idx="9962">
                  <c:v>3.9923997</c:v>
                </c:pt>
                <c:pt idx="9963">
                  <c:v>3.9925999999999999</c:v>
                </c:pt>
                <c:pt idx="9964">
                  <c:v>3.9927999999999999</c:v>
                </c:pt>
                <c:pt idx="9965">
                  <c:v>3.9929998000000002</c:v>
                </c:pt>
                <c:pt idx="9966">
                  <c:v>3.9932001000000001</c:v>
                </c:pt>
                <c:pt idx="9967">
                  <c:v>3.9933999</c:v>
                </c:pt>
                <c:pt idx="9968">
                  <c:v>3.9935999</c:v>
                </c:pt>
                <c:pt idx="9969">
                  <c:v>3.9937999</c:v>
                </c:pt>
                <c:pt idx="9970">
                  <c:v>3.9939996999999998</c:v>
                </c:pt>
                <c:pt idx="9971">
                  <c:v>3.9942000000000002</c:v>
                </c:pt>
                <c:pt idx="9972">
                  <c:v>3.9943998000000001</c:v>
                </c:pt>
                <c:pt idx="9973">
                  <c:v>3.9945998</c:v>
                </c:pt>
                <c:pt idx="9974">
                  <c:v>3.9948001</c:v>
                </c:pt>
                <c:pt idx="9975">
                  <c:v>3.9949998999999998</c:v>
                </c:pt>
                <c:pt idx="9976">
                  <c:v>3.9951998999999998</c:v>
                </c:pt>
                <c:pt idx="9977">
                  <c:v>3.9953997000000001</c:v>
                </c:pt>
                <c:pt idx="9978">
                  <c:v>3.9955997000000001</c:v>
                </c:pt>
                <c:pt idx="9979">
                  <c:v>3.9958</c:v>
                </c:pt>
                <c:pt idx="9980">
                  <c:v>3.9959997999999999</c:v>
                </c:pt>
                <c:pt idx="9981">
                  <c:v>3.9961997999999999</c:v>
                </c:pt>
                <c:pt idx="9982">
                  <c:v>3.9964000999999998</c:v>
                </c:pt>
                <c:pt idx="9983">
                  <c:v>3.9965999000000001</c:v>
                </c:pt>
                <c:pt idx="9984">
                  <c:v>3.9967999000000001</c:v>
                </c:pt>
                <c:pt idx="9985">
                  <c:v>3.9969996999999999</c:v>
                </c:pt>
                <c:pt idx="9986">
                  <c:v>3.9971998000000002</c:v>
                </c:pt>
                <c:pt idx="9987">
                  <c:v>3.9973999999999998</c:v>
                </c:pt>
                <c:pt idx="9988">
                  <c:v>3.9975998000000001</c:v>
                </c:pt>
                <c:pt idx="9989">
                  <c:v>3.9977999</c:v>
                </c:pt>
                <c:pt idx="9990">
                  <c:v>3.9979998999999999</c:v>
                </c:pt>
                <c:pt idx="9991">
                  <c:v>3.9981998999999999</c:v>
                </c:pt>
                <c:pt idx="9992">
                  <c:v>3.9984000000000002</c:v>
                </c:pt>
                <c:pt idx="9993">
                  <c:v>3.9985998</c:v>
                </c:pt>
                <c:pt idx="9994">
                  <c:v>3.9987998</c:v>
                </c:pt>
                <c:pt idx="9995">
                  <c:v>3.9989998</c:v>
                </c:pt>
                <c:pt idx="9996">
                  <c:v>3.9991998999999998</c:v>
                </c:pt>
                <c:pt idx="9997">
                  <c:v>3.9993998999999998</c:v>
                </c:pt>
                <c:pt idx="9998">
                  <c:v>3.9995999000000002</c:v>
                </c:pt>
                <c:pt idx="9999">
                  <c:v>3.9998</c:v>
                </c:pt>
                <c:pt idx="10000">
                  <c:v>4</c:v>
                </c:pt>
              </c:numCache>
            </c:numRef>
          </c:xVal>
          <c:yVal>
            <c:numRef>
              <c:f>data_Spara2!$C$3:$C$10003</c:f>
              <c:numCache>
                <c:formatCode>General</c:formatCode>
                <c:ptCount val="10001"/>
                <c:pt idx="0">
                  <c:v>-0.53397567000000001</c:v>
                </c:pt>
                <c:pt idx="1">
                  <c:v>-0.53371153000000005</c:v>
                </c:pt>
                <c:pt idx="2">
                  <c:v>-0.53344572000000001</c:v>
                </c:pt>
                <c:pt idx="3">
                  <c:v>-0.53318021000000004</c:v>
                </c:pt>
                <c:pt idx="4">
                  <c:v>-0.53291493999999995</c:v>
                </c:pt>
                <c:pt idx="5">
                  <c:v>-0.53264999999999996</c:v>
                </c:pt>
                <c:pt idx="6">
                  <c:v>-0.53238468000000005</c:v>
                </c:pt>
                <c:pt idx="7">
                  <c:v>-0.53211969000000003</c:v>
                </c:pt>
                <c:pt idx="8">
                  <c:v>-0.53185528999999998</c:v>
                </c:pt>
                <c:pt idx="9">
                  <c:v>-0.53158963999999997</c:v>
                </c:pt>
                <c:pt idx="10">
                  <c:v>-0.53132550000000001</c:v>
                </c:pt>
                <c:pt idx="11">
                  <c:v>-0.53106087999999996</c:v>
                </c:pt>
                <c:pt idx="12">
                  <c:v>-0.53079624000000003</c:v>
                </c:pt>
                <c:pt idx="13">
                  <c:v>-0.53053127</c:v>
                </c:pt>
                <c:pt idx="14">
                  <c:v>-0.53026658000000004</c:v>
                </c:pt>
                <c:pt idx="15">
                  <c:v>-0.53000294999999997</c:v>
                </c:pt>
                <c:pt idx="16">
                  <c:v>-0.52973899000000002</c:v>
                </c:pt>
                <c:pt idx="17">
                  <c:v>-0.52947409000000001</c:v>
                </c:pt>
                <c:pt idx="18">
                  <c:v>-0.52921068999999998</c:v>
                </c:pt>
                <c:pt idx="19">
                  <c:v>-0.52894516999999996</c:v>
                </c:pt>
                <c:pt idx="20">
                  <c:v>-0.52868294999999998</c:v>
                </c:pt>
                <c:pt idx="21">
                  <c:v>-0.52841813999999998</c:v>
                </c:pt>
                <c:pt idx="22">
                  <c:v>-0.52815449999999997</c:v>
                </c:pt>
                <c:pt idx="23">
                  <c:v>-0.52789010999999997</c:v>
                </c:pt>
                <c:pt idx="24">
                  <c:v>-0.52762704000000005</c:v>
                </c:pt>
                <c:pt idx="25">
                  <c:v>-0.52736395999999996</c:v>
                </c:pt>
                <c:pt idx="26">
                  <c:v>-0.52710115999999996</c:v>
                </c:pt>
                <c:pt idx="27">
                  <c:v>-0.52683789999999997</c:v>
                </c:pt>
                <c:pt idx="28">
                  <c:v>-0.52657368000000004</c:v>
                </c:pt>
                <c:pt idx="29">
                  <c:v>-0.52631083000000001</c:v>
                </c:pt>
                <c:pt idx="30">
                  <c:v>-0.52604766000000003</c:v>
                </c:pt>
                <c:pt idx="31">
                  <c:v>-0.52578429000000004</c:v>
                </c:pt>
                <c:pt idx="32">
                  <c:v>-0.52552200000000004</c:v>
                </c:pt>
                <c:pt idx="33">
                  <c:v>-0.52525842</c:v>
                </c:pt>
                <c:pt idx="34">
                  <c:v>-0.52499563000000005</c:v>
                </c:pt>
                <c:pt idx="35">
                  <c:v>-0.52473356000000004</c:v>
                </c:pt>
                <c:pt idx="36">
                  <c:v>-0.52447009</c:v>
                </c:pt>
                <c:pt idx="37">
                  <c:v>-0.52420844</c:v>
                </c:pt>
                <c:pt idx="38">
                  <c:v>-0.52394538999999996</c:v>
                </c:pt>
                <c:pt idx="39">
                  <c:v>-0.52368369000000003</c:v>
                </c:pt>
                <c:pt idx="40">
                  <c:v>-0.52342151999999997</c:v>
                </c:pt>
                <c:pt idx="41">
                  <c:v>-0.52315836999999998</c:v>
                </c:pt>
                <c:pt idx="42">
                  <c:v>-0.52289660999999998</c:v>
                </c:pt>
                <c:pt idx="43">
                  <c:v>-0.52263484999999998</c:v>
                </c:pt>
                <c:pt idx="44">
                  <c:v>-0.52237243</c:v>
                </c:pt>
                <c:pt idx="45">
                  <c:v>-0.52211151</c:v>
                </c:pt>
                <c:pt idx="46">
                  <c:v>-0.52184792999999996</c:v>
                </c:pt>
                <c:pt idx="47">
                  <c:v>-0.52158715</c:v>
                </c:pt>
                <c:pt idx="48">
                  <c:v>-0.5213257</c:v>
                </c:pt>
                <c:pt idx="49">
                  <c:v>-0.52106377999999998</c:v>
                </c:pt>
                <c:pt idx="50">
                  <c:v>-0.52080214000000002</c:v>
                </c:pt>
                <c:pt idx="51">
                  <c:v>-0.52054153999999997</c:v>
                </c:pt>
                <c:pt idx="52">
                  <c:v>-0.52027999000000003</c:v>
                </c:pt>
                <c:pt idx="53">
                  <c:v>-0.52001861999999999</c:v>
                </c:pt>
                <c:pt idx="54">
                  <c:v>-0.51975687999999998</c:v>
                </c:pt>
                <c:pt idx="55">
                  <c:v>-0.51949588000000002</c:v>
                </c:pt>
                <c:pt idx="56">
                  <c:v>-0.51923534999999998</c:v>
                </c:pt>
                <c:pt idx="57">
                  <c:v>-0.51897424999999997</c:v>
                </c:pt>
                <c:pt idx="58">
                  <c:v>-0.51871352999999998</c:v>
                </c:pt>
                <c:pt idx="59">
                  <c:v>-0.51845260000000004</c:v>
                </c:pt>
                <c:pt idx="60">
                  <c:v>-0.51819130999999996</c:v>
                </c:pt>
                <c:pt idx="61">
                  <c:v>-0.51793246000000004</c:v>
                </c:pt>
                <c:pt idx="62">
                  <c:v>-0.51767134000000004</c:v>
                </c:pt>
                <c:pt idx="63">
                  <c:v>-0.51741060000000005</c:v>
                </c:pt>
                <c:pt idx="64">
                  <c:v>-0.51714983999999997</c:v>
                </c:pt>
                <c:pt idx="65">
                  <c:v>-0.51688957000000002</c:v>
                </c:pt>
                <c:pt idx="66">
                  <c:v>-0.51662814999999995</c:v>
                </c:pt>
                <c:pt idx="67">
                  <c:v>-0.51636899000000003</c:v>
                </c:pt>
                <c:pt idx="68">
                  <c:v>-0.51610935000000002</c:v>
                </c:pt>
                <c:pt idx="69">
                  <c:v>-0.51584876000000002</c:v>
                </c:pt>
                <c:pt idx="70">
                  <c:v>-0.51558968000000005</c:v>
                </c:pt>
                <c:pt idx="71">
                  <c:v>-0.51533002999999999</c:v>
                </c:pt>
                <c:pt idx="72">
                  <c:v>-0.51506953</c:v>
                </c:pt>
                <c:pt idx="73">
                  <c:v>-0.51481052000000005</c:v>
                </c:pt>
                <c:pt idx="74">
                  <c:v>-0.51455141999999998</c:v>
                </c:pt>
                <c:pt idx="75">
                  <c:v>-0.51429175000000005</c:v>
                </c:pt>
                <c:pt idx="76">
                  <c:v>-0.51403153000000001</c:v>
                </c:pt>
                <c:pt idx="77">
                  <c:v>-0.51377240999999996</c:v>
                </c:pt>
                <c:pt idx="78">
                  <c:v>-0.51351327999999996</c:v>
                </c:pt>
                <c:pt idx="79">
                  <c:v>-0.51325412999999998</c:v>
                </c:pt>
                <c:pt idx="80">
                  <c:v>-0.51299532000000003</c:v>
                </c:pt>
                <c:pt idx="81">
                  <c:v>-0.51273579999999996</c:v>
                </c:pt>
                <c:pt idx="82">
                  <c:v>-0.51247748000000004</c:v>
                </c:pt>
                <c:pt idx="83">
                  <c:v>-0.51221874999999994</c:v>
                </c:pt>
                <c:pt idx="84">
                  <c:v>-0.51195946999999997</c:v>
                </c:pt>
                <c:pt idx="85">
                  <c:v>-0.51170024000000003</c:v>
                </c:pt>
                <c:pt idx="86">
                  <c:v>-0.51144257999999998</c:v>
                </c:pt>
                <c:pt idx="87">
                  <c:v>-0.51118297999999995</c:v>
                </c:pt>
                <c:pt idx="88">
                  <c:v>-0.51092557000000005</c:v>
                </c:pt>
                <c:pt idx="89">
                  <c:v>-0.51066676</c:v>
                </c:pt>
                <c:pt idx="90">
                  <c:v>-0.51040938999999996</c:v>
                </c:pt>
                <c:pt idx="91">
                  <c:v>-0.51015036999999996</c:v>
                </c:pt>
                <c:pt idx="92">
                  <c:v>-0.50989278999999998</c:v>
                </c:pt>
                <c:pt idx="93">
                  <c:v>-0.50963462000000004</c:v>
                </c:pt>
                <c:pt idx="94">
                  <c:v>-0.50937613999999998</c:v>
                </c:pt>
                <c:pt idx="95">
                  <c:v>-0.5091194</c:v>
                </c:pt>
                <c:pt idx="96">
                  <c:v>-0.50886054000000003</c:v>
                </c:pt>
                <c:pt idx="97">
                  <c:v>-0.50860289000000003</c:v>
                </c:pt>
                <c:pt idx="98">
                  <c:v>-0.50834621999999996</c:v>
                </c:pt>
                <c:pt idx="99">
                  <c:v>-0.50808814999999996</c:v>
                </c:pt>
                <c:pt idx="100">
                  <c:v>-0.50783007000000002</c:v>
                </c:pt>
                <c:pt idx="101">
                  <c:v>-0.50757352</c:v>
                </c:pt>
                <c:pt idx="102">
                  <c:v>-0.50731526000000005</c:v>
                </c:pt>
                <c:pt idx="103">
                  <c:v>-0.50705800999999995</c:v>
                </c:pt>
                <c:pt idx="104">
                  <c:v>-0.50680057000000001</c:v>
                </c:pt>
                <c:pt idx="105">
                  <c:v>-0.50654436999999997</c:v>
                </c:pt>
                <c:pt idx="106">
                  <c:v>-0.50628793999999999</c:v>
                </c:pt>
                <c:pt idx="107">
                  <c:v>-0.50603030999999998</c:v>
                </c:pt>
                <c:pt idx="108">
                  <c:v>-0.50577402000000005</c:v>
                </c:pt>
                <c:pt idx="109">
                  <c:v>-0.50551645000000001</c:v>
                </c:pt>
                <c:pt idx="110">
                  <c:v>-0.50526055999999997</c:v>
                </c:pt>
                <c:pt idx="111">
                  <c:v>-0.50500308999999999</c:v>
                </c:pt>
                <c:pt idx="112">
                  <c:v>-0.50474832999999997</c:v>
                </c:pt>
                <c:pt idx="113">
                  <c:v>-0.50449129000000004</c:v>
                </c:pt>
                <c:pt idx="114">
                  <c:v>-0.50423437000000004</c:v>
                </c:pt>
                <c:pt idx="115">
                  <c:v>-0.50397767999999998</c:v>
                </c:pt>
                <c:pt idx="116">
                  <c:v>-0.50372130999999998</c:v>
                </c:pt>
                <c:pt idx="117">
                  <c:v>-0.50346610999999997</c:v>
                </c:pt>
                <c:pt idx="118">
                  <c:v>-0.50320984000000002</c:v>
                </c:pt>
                <c:pt idx="119">
                  <c:v>-0.50295396999999997</c:v>
                </c:pt>
                <c:pt idx="120">
                  <c:v>-0.50269839000000005</c:v>
                </c:pt>
                <c:pt idx="121">
                  <c:v>-0.50244263</c:v>
                </c:pt>
                <c:pt idx="122">
                  <c:v>-0.50218666999999995</c:v>
                </c:pt>
                <c:pt idx="123">
                  <c:v>-0.50193116999999998</c:v>
                </c:pt>
                <c:pt idx="124">
                  <c:v>-0.50167547999999995</c:v>
                </c:pt>
                <c:pt idx="125">
                  <c:v>-0.50142005000000001</c:v>
                </c:pt>
                <c:pt idx="126">
                  <c:v>-0.50116506000000005</c:v>
                </c:pt>
                <c:pt idx="127">
                  <c:v>-0.50090851999999997</c:v>
                </c:pt>
                <c:pt idx="128">
                  <c:v>-0.50065437999999995</c:v>
                </c:pt>
                <c:pt idx="129">
                  <c:v>-0.50039884000000001</c:v>
                </c:pt>
                <c:pt idx="130">
                  <c:v>-0.50014373999999995</c:v>
                </c:pt>
                <c:pt idx="131">
                  <c:v>-0.49988874999999999</c:v>
                </c:pt>
                <c:pt idx="132">
                  <c:v>-0.49963328000000001</c:v>
                </c:pt>
                <c:pt idx="133">
                  <c:v>-0.49937883999999999</c:v>
                </c:pt>
                <c:pt idx="134">
                  <c:v>-0.49912406999999998</c:v>
                </c:pt>
                <c:pt idx="135">
                  <c:v>-0.49886943</c:v>
                </c:pt>
                <c:pt idx="136">
                  <c:v>-0.49861475</c:v>
                </c:pt>
                <c:pt idx="137">
                  <c:v>-0.49836065000000002</c:v>
                </c:pt>
                <c:pt idx="138">
                  <c:v>-0.49810652</c:v>
                </c:pt>
                <c:pt idx="139">
                  <c:v>-0.49785222000000001</c:v>
                </c:pt>
                <c:pt idx="140">
                  <c:v>-0.49759741000000002</c:v>
                </c:pt>
                <c:pt idx="141">
                  <c:v>-0.49734291000000003</c:v>
                </c:pt>
                <c:pt idx="142">
                  <c:v>-0.49708819999999998</c:v>
                </c:pt>
                <c:pt idx="143">
                  <c:v>-0.49683498999999998</c:v>
                </c:pt>
                <c:pt idx="144">
                  <c:v>-0.49658099</c:v>
                </c:pt>
                <c:pt idx="145">
                  <c:v>-0.49632755000000001</c:v>
                </c:pt>
                <c:pt idx="146">
                  <c:v>-0.49607396999999998</c:v>
                </c:pt>
                <c:pt idx="147">
                  <c:v>-0.49581955999999999</c:v>
                </c:pt>
                <c:pt idx="148">
                  <c:v>-0.49556575000000003</c:v>
                </c:pt>
                <c:pt idx="149">
                  <c:v>-0.49531266000000002</c:v>
                </c:pt>
                <c:pt idx="150">
                  <c:v>-0.49505861000000001</c:v>
                </c:pt>
                <c:pt idx="151">
                  <c:v>-0.49480606999999999</c:v>
                </c:pt>
                <c:pt idx="152">
                  <c:v>-0.49455259000000001</c:v>
                </c:pt>
                <c:pt idx="153">
                  <c:v>-0.49429817999999998</c:v>
                </c:pt>
                <c:pt idx="154">
                  <c:v>-0.49404646000000002</c:v>
                </c:pt>
                <c:pt idx="155">
                  <c:v>-0.49379227999999997</c:v>
                </c:pt>
                <c:pt idx="156">
                  <c:v>-0.49353989999999998</c:v>
                </c:pt>
                <c:pt idx="157">
                  <c:v>-0.49328733000000002</c:v>
                </c:pt>
                <c:pt idx="158">
                  <c:v>-0.49303438999999999</c:v>
                </c:pt>
                <c:pt idx="159">
                  <c:v>-0.49278042999999999</c:v>
                </c:pt>
                <c:pt idx="160">
                  <c:v>-0.49252884000000002</c:v>
                </c:pt>
                <c:pt idx="161">
                  <c:v>-0.49227671000000001</c:v>
                </c:pt>
                <c:pt idx="162">
                  <c:v>-0.49202353999999998</c:v>
                </c:pt>
                <c:pt idx="163">
                  <c:v>-0.49177078000000002</c:v>
                </c:pt>
                <c:pt idx="164">
                  <c:v>-0.49151814999999999</c:v>
                </c:pt>
                <c:pt idx="165">
                  <c:v>-0.4912667</c:v>
                </c:pt>
                <c:pt idx="166">
                  <c:v>-0.49101507</c:v>
                </c:pt>
                <c:pt idx="167">
                  <c:v>-0.49076218999999999</c:v>
                </c:pt>
                <c:pt idx="168">
                  <c:v>-0.49050954000000002</c:v>
                </c:pt>
                <c:pt idx="169">
                  <c:v>-0.49025755999999998</c:v>
                </c:pt>
                <c:pt idx="170">
                  <c:v>-0.49000545000000001</c:v>
                </c:pt>
                <c:pt idx="171">
                  <c:v>-0.48975365999999998</c:v>
                </c:pt>
                <c:pt idx="172">
                  <c:v>-0.48950174000000002</c:v>
                </c:pt>
                <c:pt idx="173">
                  <c:v>-0.48925004</c:v>
                </c:pt>
                <c:pt idx="174">
                  <c:v>-0.48899981999999997</c:v>
                </c:pt>
                <c:pt idx="175">
                  <c:v>-0.48874791000000001</c:v>
                </c:pt>
                <c:pt idx="176">
                  <c:v>-0.48849620999999999</c:v>
                </c:pt>
                <c:pt idx="177">
                  <c:v>-0.48824488999999999</c:v>
                </c:pt>
                <c:pt idx="178">
                  <c:v>-0.48799378999999998</c:v>
                </c:pt>
                <c:pt idx="179">
                  <c:v>-0.48774144000000003</c:v>
                </c:pt>
                <c:pt idx="180">
                  <c:v>-0.48749119000000002</c:v>
                </c:pt>
                <c:pt idx="181">
                  <c:v>-0.48724053000000001</c:v>
                </c:pt>
                <c:pt idx="182">
                  <c:v>-0.48698966999999999</c:v>
                </c:pt>
                <c:pt idx="183">
                  <c:v>-0.48673794999999997</c:v>
                </c:pt>
                <c:pt idx="184">
                  <c:v>-0.48648727000000003</c:v>
                </c:pt>
                <c:pt idx="185">
                  <c:v>-0.48623729999999998</c:v>
                </c:pt>
                <c:pt idx="186">
                  <c:v>-0.48598638999999999</c:v>
                </c:pt>
                <c:pt idx="187">
                  <c:v>-0.48573652</c:v>
                </c:pt>
                <c:pt idx="188">
                  <c:v>-0.48548539000000002</c:v>
                </c:pt>
                <c:pt idx="189">
                  <c:v>-0.48523485</c:v>
                </c:pt>
                <c:pt idx="190">
                  <c:v>-0.48498426</c:v>
                </c:pt>
                <c:pt idx="191">
                  <c:v>-0.48473432999999999</c:v>
                </c:pt>
                <c:pt idx="192">
                  <c:v>-0.48448451999999997</c:v>
                </c:pt>
                <c:pt idx="193">
                  <c:v>-0.48423353000000002</c:v>
                </c:pt>
                <c:pt idx="194">
                  <c:v>-0.48398365999999998</c:v>
                </c:pt>
                <c:pt idx="195">
                  <c:v>-0.48373442</c:v>
                </c:pt>
                <c:pt idx="196">
                  <c:v>-0.48348380000000002</c:v>
                </c:pt>
                <c:pt idx="197">
                  <c:v>-0.48323433999999998</c:v>
                </c:pt>
                <c:pt idx="198">
                  <c:v>-0.48298434000000001</c:v>
                </c:pt>
                <c:pt idx="199">
                  <c:v>-0.48273489000000003</c:v>
                </c:pt>
                <c:pt idx="200">
                  <c:v>-0.48248533999999998</c:v>
                </c:pt>
                <c:pt idx="201">
                  <c:v>-0.48223584000000003</c:v>
                </c:pt>
                <c:pt idx="202">
                  <c:v>-0.48198562</c:v>
                </c:pt>
                <c:pt idx="203">
                  <c:v>-0.48173687999999998</c:v>
                </c:pt>
                <c:pt idx="204">
                  <c:v>-0.48148729000000001</c:v>
                </c:pt>
                <c:pt idx="205">
                  <c:v>-0.48123945000000001</c:v>
                </c:pt>
                <c:pt idx="206">
                  <c:v>-0.48098932999999999</c:v>
                </c:pt>
                <c:pt idx="207">
                  <c:v>-0.48074122000000002</c:v>
                </c:pt>
                <c:pt idx="208">
                  <c:v>-0.48049109000000001</c:v>
                </c:pt>
                <c:pt idx="209">
                  <c:v>-0.48024351999999998</c:v>
                </c:pt>
                <c:pt idx="210">
                  <c:v>-0.47999327000000003</c:v>
                </c:pt>
                <c:pt idx="211">
                  <c:v>-0.47974578000000001</c:v>
                </c:pt>
                <c:pt idx="212">
                  <c:v>-0.47949718000000002</c:v>
                </c:pt>
                <c:pt idx="213">
                  <c:v>-0.47924839000000002</c:v>
                </c:pt>
                <c:pt idx="214">
                  <c:v>-0.47900018999999999</c:v>
                </c:pt>
                <c:pt idx="215">
                  <c:v>-0.4787516</c:v>
                </c:pt>
                <c:pt idx="216">
                  <c:v>-0.47850362000000002</c:v>
                </c:pt>
                <c:pt idx="217">
                  <c:v>-0.47825436999999998</c:v>
                </c:pt>
                <c:pt idx="218">
                  <c:v>-0.47800724</c:v>
                </c:pt>
                <c:pt idx="219">
                  <c:v>-0.47775885000000001</c:v>
                </c:pt>
                <c:pt idx="220">
                  <c:v>-0.47751041999999999</c:v>
                </c:pt>
                <c:pt idx="221">
                  <c:v>-0.47726288</c:v>
                </c:pt>
                <c:pt idx="222">
                  <c:v>-0.47701528999999998</c:v>
                </c:pt>
                <c:pt idx="223">
                  <c:v>-0.47676721</c:v>
                </c:pt>
                <c:pt idx="224">
                  <c:v>-0.47651983999999997</c:v>
                </c:pt>
                <c:pt idx="225">
                  <c:v>-0.47627260999999999</c:v>
                </c:pt>
                <c:pt idx="226">
                  <c:v>-0.47602456999999998</c:v>
                </c:pt>
                <c:pt idx="227">
                  <c:v>-0.47577731000000001</c:v>
                </c:pt>
                <c:pt idx="228">
                  <c:v>-0.47553068999999998</c:v>
                </c:pt>
                <c:pt idx="229">
                  <c:v>-0.47528288000000002</c:v>
                </c:pt>
                <c:pt idx="230">
                  <c:v>-0.47503546000000002</c:v>
                </c:pt>
                <c:pt idx="231">
                  <c:v>-0.47478799999999999</c:v>
                </c:pt>
                <c:pt idx="232">
                  <c:v>-0.47454174999999998</c:v>
                </c:pt>
                <c:pt idx="233">
                  <c:v>-0.47429482000000001</c:v>
                </c:pt>
                <c:pt idx="234">
                  <c:v>-0.47404847</c:v>
                </c:pt>
                <c:pt idx="235">
                  <c:v>-0.47380042</c:v>
                </c:pt>
                <c:pt idx="236">
                  <c:v>-0.47355372000000001</c:v>
                </c:pt>
                <c:pt idx="237">
                  <c:v>-0.47330741999999998</c:v>
                </c:pt>
                <c:pt idx="238">
                  <c:v>-0.47306110000000001</c:v>
                </c:pt>
                <c:pt idx="239">
                  <c:v>-0.47281381</c:v>
                </c:pt>
                <c:pt idx="240">
                  <c:v>-0.47256848000000001</c:v>
                </c:pt>
                <c:pt idx="241">
                  <c:v>-0.47232248999999998</c:v>
                </c:pt>
                <c:pt idx="242">
                  <c:v>-0.47207585000000002</c:v>
                </c:pt>
                <c:pt idx="243">
                  <c:v>-0.47183026</c:v>
                </c:pt>
                <c:pt idx="244">
                  <c:v>-0.47158295</c:v>
                </c:pt>
                <c:pt idx="245">
                  <c:v>-0.47133757999999998</c:v>
                </c:pt>
                <c:pt idx="246">
                  <c:v>-0.47109156000000002</c:v>
                </c:pt>
                <c:pt idx="247">
                  <c:v>-0.47084535999999999</c:v>
                </c:pt>
                <c:pt idx="248">
                  <c:v>-0.47060110999999999</c:v>
                </c:pt>
                <c:pt idx="249">
                  <c:v>-0.47035390999999999</c:v>
                </c:pt>
                <c:pt idx="250">
                  <c:v>-0.47010867000000001</c:v>
                </c:pt>
                <c:pt idx="251">
                  <c:v>-0.46986324000000002</c:v>
                </c:pt>
                <c:pt idx="252">
                  <c:v>-0.46961761000000002</c:v>
                </c:pt>
                <c:pt idx="253">
                  <c:v>-0.46937162999999998</c:v>
                </c:pt>
                <c:pt idx="254">
                  <c:v>-0.46912728999999997</c:v>
                </c:pt>
                <c:pt idx="255">
                  <c:v>-0.46888128000000001</c:v>
                </c:pt>
                <c:pt idx="256">
                  <c:v>-0.46863671000000001</c:v>
                </c:pt>
                <c:pt idx="257">
                  <c:v>-0.46839166999999998</c:v>
                </c:pt>
                <c:pt idx="258">
                  <c:v>-0.46814598000000002</c:v>
                </c:pt>
                <c:pt idx="259">
                  <c:v>-0.46790099000000002</c:v>
                </c:pt>
                <c:pt idx="260">
                  <c:v>-0.46765631000000002</c:v>
                </c:pt>
                <c:pt idx="261">
                  <c:v>-0.46741157999999999</c:v>
                </c:pt>
                <c:pt idx="262">
                  <c:v>-0.46716693999999997</c:v>
                </c:pt>
                <c:pt idx="263">
                  <c:v>-0.46692229000000002</c:v>
                </c:pt>
                <c:pt idx="264">
                  <c:v>-0.46667835000000002</c:v>
                </c:pt>
                <c:pt idx="265">
                  <c:v>-0.46643373999999999</c:v>
                </c:pt>
                <c:pt idx="266">
                  <c:v>-0.46618901000000001</c:v>
                </c:pt>
                <c:pt idx="267">
                  <c:v>-0.46594491999999998</c:v>
                </c:pt>
                <c:pt idx="268">
                  <c:v>-0.46570040000000001</c:v>
                </c:pt>
                <c:pt idx="269">
                  <c:v>-0.46545747999999998</c:v>
                </c:pt>
                <c:pt idx="270">
                  <c:v>-0.46521087</c:v>
                </c:pt>
                <c:pt idx="271">
                  <c:v>-0.46496789999999999</c:v>
                </c:pt>
                <c:pt idx="272">
                  <c:v>-0.46472444000000002</c:v>
                </c:pt>
                <c:pt idx="273">
                  <c:v>-0.46447985000000003</c:v>
                </c:pt>
                <c:pt idx="274">
                  <c:v>-0.46423647000000001</c:v>
                </c:pt>
                <c:pt idx="275">
                  <c:v>-0.46399284000000002</c:v>
                </c:pt>
                <c:pt idx="276">
                  <c:v>-0.46374979999999999</c:v>
                </c:pt>
                <c:pt idx="277">
                  <c:v>-0.46350511</c:v>
                </c:pt>
                <c:pt idx="278">
                  <c:v>-0.46326139</c:v>
                </c:pt>
                <c:pt idx="279">
                  <c:v>-0.46301933000000001</c:v>
                </c:pt>
                <c:pt idx="280">
                  <c:v>-0.46277537000000002</c:v>
                </c:pt>
                <c:pt idx="281">
                  <c:v>-0.46253263</c:v>
                </c:pt>
                <c:pt idx="282">
                  <c:v>-0.46228896000000003</c:v>
                </c:pt>
                <c:pt idx="283">
                  <c:v>-0.46204598000000002</c:v>
                </c:pt>
                <c:pt idx="284">
                  <c:v>-0.46180306999999998</c:v>
                </c:pt>
                <c:pt idx="285">
                  <c:v>-0.46155942</c:v>
                </c:pt>
                <c:pt idx="286">
                  <c:v>-0.46131712000000002</c:v>
                </c:pt>
                <c:pt idx="287">
                  <c:v>-0.46107398999999999</c:v>
                </c:pt>
                <c:pt idx="288">
                  <c:v>-0.46083125000000003</c:v>
                </c:pt>
                <c:pt idx="289">
                  <c:v>-0.46058864999999999</c:v>
                </c:pt>
                <c:pt idx="290">
                  <c:v>-0.46034708000000002</c:v>
                </c:pt>
                <c:pt idx="291">
                  <c:v>-0.46010336000000002</c:v>
                </c:pt>
                <c:pt idx="292">
                  <c:v>-0.45986167</c:v>
                </c:pt>
                <c:pt idx="293">
                  <c:v>-0.45961999999999997</c:v>
                </c:pt>
                <c:pt idx="294">
                  <c:v>-0.45937675</c:v>
                </c:pt>
                <c:pt idx="295">
                  <c:v>-0.45913364000000001</c:v>
                </c:pt>
                <c:pt idx="296">
                  <c:v>-0.45889255000000001</c:v>
                </c:pt>
                <c:pt idx="297">
                  <c:v>-0.45865084</c:v>
                </c:pt>
                <c:pt idx="298">
                  <c:v>-0.45840929000000002</c:v>
                </c:pt>
                <c:pt idx="299">
                  <c:v>-0.45816678999999999</c:v>
                </c:pt>
                <c:pt idx="300">
                  <c:v>-0.45792500000000003</c:v>
                </c:pt>
                <c:pt idx="301">
                  <c:v>-0.45768389999999998</c:v>
                </c:pt>
                <c:pt idx="302">
                  <c:v>-0.45744077</c:v>
                </c:pt>
                <c:pt idx="303">
                  <c:v>-0.45720052</c:v>
                </c:pt>
                <c:pt idx="304">
                  <c:v>-0.45695857000000001</c:v>
                </c:pt>
                <c:pt idx="305">
                  <c:v>-0.45671644</c:v>
                </c:pt>
                <c:pt idx="306">
                  <c:v>-0.45647501000000001</c:v>
                </c:pt>
                <c:pt idx="307">
                  <c:v>-0.45623493999999998</c:v>
                </c:pt>
                <c:pt idx="308">
                  <c:v>-0.4559938</c:v>
                </c:pt>
                <c:pt idx="309">
                  <c:v>-0.45575304</c:v>
                </c:pt>
                <c:pt idx="310">
                  <c:v>-0.45551112999999999</c:v>
                </c:pt>
                <c:pt idx="311">
                  <c:v>-0.45526989000000001</c:v>
                </c:pt>
                <c:pt idx="312">
                  <c:v>-0.45502938999999998</c:v>
                </c:pt>
                <c:pt idx="313">
                  <c:v>-0.45478824000000001</c:v>
                </c:pt>
                <c:pt idx="314">
                  <c:v>-0.45454844999999999</c:v>
                </c:pt>
                <c:pt idx="315">
                  <c:v>-0.45430710000000002</c:v>
                </c:pt>
                <c:pt idx="316">
                  <c:v>-0.45406639999999998</c:v>
                </c:pt>
                <c:pt idx="317">
                  <c:v>-0.45382600000000001</c:v>
                </c:pt>
                <c:pt idx="318">
                  <c:v>-0.45358658000000002</c:v>
                </c:pt>
                <c:pt idx="319">
                  <c:v>-0.45334559000000002</c:v>
                </c:pt>
                <c:pt idx="320">
                  <c:v>-0.45310650000000002</c:v>
                </c:pt>
                <c:pt idx="321">
                  <c:v>-0.45286525999999999</c:v>
                </c:pt>
                <c:pt idx="322">
                  <c:v>-0.45262438999999999</c:v>
                </c:pt>
                <c:pt idx="323">
                  <c:v>-0.45238487999999999</c:v>
                </c:pt>
                <c:pt idx="324">
                  <c:v>-0.45214366</c:v>
                </c:pt>
                <c:pt idx="325">
                  <c:v>-0.45190532</c:v>
                </c:pt>
                <c:pt idx="326">
                  <c:v>-0.45166581</c:v>
                </c:pt>
                <c:pt idx="327">
                  <c:v>-0.45142526999999999</c:v>
                </c:pt>
                <c:pt idx="328">
                  <c:v>-0.45118660999999999</c:v>
                </c:pt>
                <c:pt idx="329">
                  <c:v>-0.45094624999999999</c:v>
                </c:pt>
                <c:pt idx="330">
                  <c:v>-0.45070615000000003</c:v>
                </c:pt>
                <c:pt idx="331">
                  <c:v>-0.45046663999999997</c:v>
                </c:pt>
                <c:pt idx="332">
                  <c:v>-0.45022857999999999</c:v>
                </c:pt>
                <c:pt idx="333">
                  <c:v>-0.44998849000000002</c:v>
                </c:pt>
                <c:pt idx="334">
                  <c:v>-0.44974975</c:v>
                </c:pt>
                <c:pt idx="335">
                  <c:v>-0.44951041000000003</c:v>
                </c:pt>
                <c:pt idx="336">
                  <c:v>-0.44927141999999998</c:v>
                </c:pt>
                <c:pt idx="337">
                  <c:v>-0.44903226000000002</c:v>
                </c:pt>
                <c:pt idx="338">
                  <c:v>-0.44879369000000002</c:v>
                </c:pt>
                <c:pt idx="339">
                  <c:v>-0.44855504000000002</c:v>
                </c:pt>
                <c:pt idx="340">
                  <c:v>-0.44831621999999999</c:v>
                </c:pt>
                <c:pt idx="341">
                  <c:v>-0.44807808999999998</c:v>
                </c:pt>
                <c:pt idx="342">
                  <c:v>-0.44784012000000001</c:v>
                </c:pt>
                <c:pt idx="343">
                  <c:v>-0.44760053999999999</c:v>
                </c:pt>
                <c:pt idx="344">
                  <c:v>-0.44736230999999999</c:v>
                </c:pt>
                <c:pt idx="345">
                  <c:v>-0.44712444000000001</c:v>
                </c:pt>
                <c:pt idx="346">
                  <c:v>-0.44688630000000001</c:v>
                </c:pt>
                <c:pt idx="347">
                  <c:v>-0.44664841</c:v>
                </c:pt>
                <c:pt idx="348">
                  <c:v>-0.44640881999999998</c:v>
                </c:pt>
                <c:pt idx="349">
                  <c:v>-0.44617172999999999</c:v>
                </c:pt>
                <c:pt idx="350">
                  <c:v>-0.44593342000000002</c:v>
                </c:pt>
                <c:pt idx="351">
                  <c:v>-0.44569426000000001</c:v>
                </c:pt>
                <c:pt idx="352">
                  <c:v>-0.44545784999999999</c:v>
                </c:pt>
                <c:pt idx="353">
                  <c:v>-0.44521935000000001</c:v>
                </c:pt>
                <c:pt idx="354">
                  <c:v>-0.44498191999999998</c:v>
                </c:pt>
                <c:pt idx="355">
                  <c:v>-0.4447448</c:v>
                </c:pt>
                <c:pt idx="356">
                  <c:v>-0.44450605999999998</c:v>
                </c:pt>
                <c:pt idx="357">
                  <c:v>-0.44426911000000002</c:v>
                </c:pt>
                <c:pt idx="358">
                  <c:v>-0.44403240999999999</c:v>
                </c:pt>
                <c:pt idx="359">
                  <c:v>-0.44379478</c:v>
                </c:pt>
                <c:pt idx="360">
                  <c:v>-0.44355782999999999</c:v>
                </c:pt>
                <c:pt idx="361">
                  <c:v>-0.44332091000000001</c:v>
                </c:pt>
                <c:pt idx="362">
                  <c:v>-0.44308404000000001</c:v>
                </c:pt>
                <c:pt idx="363">
                  <c:v>-0.44284741999999999</c:v>
                </c:pt>
                <c:pt idx="364">
                  <c:v>-0.44260901000000002</c:v>
                </c:pt>
                <c:pt idx="365">
                  <c:v>-0.44237205000000002</c:v>
                </c:pt>
                <c:pt idx="366">
                  <c:v>-0.44213564</c:v>
                </c:pt>
                <c:pt idx="367">
                  <c:v>-0.44190037999999998</c:v>
                </c:pt>
                <c:pt idx="368">
                  <c:v>-0.44166146000000001</c:v>
                </c:pt>
                <c:pt idx="369">
                  <c:v>-0.44142693</c:v>
                </c:pt>
                <c:pt idx="370">
                  <c:v>-0.44119004000000001</c:v>
                </c:pt>
                <c:pt idx="371">
                  <c:v>-0.44095459999999997</c:v>
                </c:pt>
                <c:pt idx="372">
                  <c:v>-0.44071627000000002</c:v>
                </c:pt>
                <c:pt idx="373">
                  <c:v>-0.44047972000000002</c:v>
                </c:pt>
                <c:pt idx="374">
                  <c:v>-0.44024460999999998</c:v>
                </c:pt>
                <c:pt idx="375">
                  <c:v>-0.44000845999999999</c:v>
                </c:pt>
                <c:pt idx="376">
                  <c:v>-0.43977223999999998</c:v>
                </c:pt>
                <c:pt idx="377">
                  <c:v>-0.43953627000000001</c:v>
                </c:pt>
                <c:pt idx="378">
                  <c:v>-0.43930013000000001</c:v>
                </c:pt>
                <c:pt idx="379">
                  <c:v>-0.43906456999999999</c:v>
                </c:pt>
                <c:pt idx="380">
                  <c:v>-0.43882894</c:v>
                </c:pt>
                <c:pt idx="381">
                  <c:v>-0.43859387999999999</c:v>
                </c:pt>
                <c:pt idx="382">
                  <c:v>-0.43835808999999998</c:v>
                </c:pt>
                <c:pt idx="383">
                  <c:v>-0.43812345000000003</c:v>
                </c:pt>
                <c:pt idx="384">
                  <c:v>-0.43788763000000003</c:v>
                </c:pt>
                <c:pt idx="385">
                  <c:v>-0.43765274999999998</c:v>
                </c:pt>
                <c:pt idx="386">
                  <c:v>-0.43741743999999999</c:v>
                </c:pt>
                <c:pt idx="387">
                  <c:v>-0.43718272000000002</c:v>
                </c:pt>
                <c:pt idx="388">
                  <c:v>-0.43694706</c:v>
                </c:pt>
                <c:pt idx="389">
                  <c:v>-0.43671198999999999</c:v>
                </c:pt>
                <c:pt idx="390">
                  <c:v>-0.43647760000000002</c:v>
                </c:pt>
                <c:pt idx="391">
                  <c:v>-0.43624193999999999</c:v>
                </c:pt>
                <c:pt idx="392">
                  <c:v>-0.43600686</c:v>
                </c:pt>
                <c:pt idx="393">
                  <c:v>-0.43577160999999998</c:v>
                </c:pt>
                <c:pt idx="394">
                  <c:v>-0.43553737999999997</c:v>
                </c:pt>
                <c:pt idx="395">
                  <c:v>-0.43530416999999999</c:v>
                </c:pt>
                <c:pt idx="396">
                  <c:v>-0.43506813999999999</c:v>
                </c:pt>
                <c:pt idx="397">
                  <c:v>-0.43483459000000002</c:v>
                </c:pt>
                <c:pt idx="398">
                  <c:v>-0.43460068000000002</c:v>
                </c:pt>
                <c:pt idx="399">
                  <c:v>-0.43436566999999998</c:v>
                </c:pt>
                <c:pt idx="400">
                  <c:v>-0.43413141</c:v>
                </c:pt>
                <c:pt idx="401">
                  <c:v>-0.43389689999999997</c:v>
                </c:pt>
                <c:pt idx="402">
                  <c:v>-0.43366264999999998</c:v>
                </c:pt>
                <c:pt idx="403">
                  <c:v>-0.43342983000000002</c:v>
                </c:pt>
                <c:pt idx="404">
                  <c:v>-0.43319531999999999</c:v>
                </c:pt>
                <c:pt idx="405">
                  <c:v>-0.43296104000000002</c:v>
                </c:pt>
                <c:pt idx="406">
                  <c:v>-0.43272737</c:v>
                </c:pt>
                <c:pt idx="407">
                  <c:v>-0.43249436000000002</c:v>
                </c:pt>
                <c:pt idx="408">
                  <c:v>-0.43226118000000002</c:v>
                </c:pt>
                <c:pt idx="409">
                  <c:v>-0.43202670999999998</c:v>
                </c:pt>
                <c:pt idx="410">
                  <c:v>-0.43179356000000002</c:v>
                </c:pt>
                <c:pt idx="411">
                  <c:v>-0.43156035999999998</c:v>
                </c:pt>
                <c:pt idx="412">
                  <c:v>-0.43132733000000001</c:v>
                </c:pt>
                <c:pt idx="413">
                  <c:v>-0.43109457000000001</c:v>
                </c:pt>
                <c:pt idx="414">
                  <c:v>-0.43085973999999999</c:v>
                </c:pt>
                <c:pt idx="415">
                  <c:v>-0.43062900999999998</c:v>
                </c:pt>
                <c:pt idx="416">
                  <c:v>-0.43039467999999997</c:v>
                </c:pt>
                <c:pt idx="417">
                  <c:v>-0.43016166</c:v>
                </c:pt>
                <c:pt idx="418">
                  <c:v>-0.42993012000000003</c:v>
                </c:pt>
                <c:pt idx="419">
                  <c:v>-0.42969682999999997</c:v>
                </c:pt>
                <c:pt idx="420">
                  <c:v>-0.42946379000000001</c:v>
                </c:pt>
                <c:pt idx="421">
                  <c:v>-0.42923104000000001</c:v>
                </c:pt>
                <c:pt idx="422">
                  <c:v>-0.42899769999999998</c:v>
                </c:pt>
                <c:pt idx="423">
                  <c:v>-0.42876693999999999</c:v>
                </c:pt>
                <c:pt idx="424">
                  <c:v>-0.42853210000000003</c:v>
                </c:pt>
                <c:pt idx="425">
                  <c:v>-0.42830065</c:v>
                </c:pt>
                <c:pt idx="426">
                  <c:v>-0.42806907</c:v>
                </c:pt>
                <c:pt idx="427">
                  <c:v>-0.42783732000000002</c:v>
                </c:pt>
                <c:pt idx="428">
                  <c:v>-0.42760543000000001</c:v>
                </c:pt>
                <c:pt idx="429">
                  <c:v>-0.42737259999999999</c:v>
                </c:pt>
                <c:pt idx="430">
                  <c:v>-0.42714151</c:v>
                </c:pt>
                <c:pt idx="431">
                  <c:v>-0.42690993999999999</c:v>
                </c:pt>
                <c:pt idx="432">
                  <c:v>-0.42667663</c:v>
                </c:pt>
                <c:pt idx="433">
                  <c:v>-0.42644590999999998</c:v>
                </c:pt>
                <c:pt idx="434">
                  <c:v>-0.42621313999999999</c:v>
                </c:pt>
                <c:pt idx="435">
                  <c:v>-0.42598174999999999</c:v>
                </c:pt>
                <c:pt idx="436">
                  <c:v>-0.42575051000000003</c:v>
                </c:pt>
                <c:pt idx="437">
                  <c:v>-0.42551961999999999</c:v>
                </c:pt>
                <c:pt idx="438">
                  <c:v>-0.42528929999999998</c:v>
                </c:pt>
                <c:pt idx="439">
                  <c:v>-0.42505770999999998</c:v>
                </c:pt>
                <c:pt idx="440">
                  <c:v>-0.42482586</c:v>
                </c:pt>
                <c:pt idx="441">
                  <c:v>-0.42459471999999998</c:v>
                </c:pt>
                <c:pt idx="442">
                  <c:v>-0.42436339000000001</c:v>
                </c:pt>
                <c:pt idx="443">
                  <c:v>-0.42413269999999997</c:v>
                </c:pt>
                <c:pt idx="444">
                  <c:v>-0.42390269000000003</c:v>
                </c:pt>
                <c:pt idx="445">
                  <c:v>-0.42367166000000001</c:v>
                </c:pt>
                <c:pt idx="446">
                  <c:v>-0.42344169999999998</c:v>
                </c:pt>
                <c:pt idx="447">
                  <c:v>-0.42320998999999998</c:v>
                </c:pt>
                <c:pt idx="448">
                  <c:v>-0.42297934999999998</c:v>
                </c:pt>
                <c:pt idx="449">
                  <c:v>-0.42274854000000001</c:v>
                </c:pt>
                <c:pt idx="450">
                  <c:v>-0.42251797000000002</c:v>
                </c:pt>
                <c:pt idx="451">
                  <c:v>-0.42228681000000001</c:v>
                </c:pt>
                <c:pt idx="452">
                  <c:v>-0.42205709000000002</c:v>
                </c:pt>
                <c:pt idx="453">
                  <c:v>-0.42182683999999998</c:v>
                </c:pt>
                <c:pt idx="454">
                  <c:v>-0.42159787999999998</c:v>
                </c:pt>
                <c:pt idx="455">
                  <c:v>-0.42136694000000002</c:v>
                </c:pt>
                <c:pt idx="456">
                  <c:v>-0.42113701999999997</c:v>
                </c:pt>
                <c:pt idx="457">
                  <c:v>-0.42090727</c:v>
                </c:pt>
                <c:pt idx="458">
                  <c:v>-0.42067663999999999</c:v>
                </c:pt>
                <c:pt idx="459">
                  <c:v>-0.42044737999999998</c:v>
                </c:pt>
                <c:pt idx="460">
                  <c:v>-0.42021760000000002</c:v>
                </c:pt>
                <c:pt idx="461">
                  <c:v>-0.41998881999999998</c:v>
                </c:pt>
                <c:pt idx="462">
                  <c:v>-0.41975869999999998</c:v>
                </c:pt>
                <c:pt idx="463">
                  <c:v>-0.41952888999999999</c:v>
                </c:pt>
                <c:pt idx="464">
                  <c:v>-0.41929959999999999</c:v>
                </c:pt>
                <c:pt idx="465">
                  <c:v>-0.41907021</c:v>
                </c:pt>
                <c:pt idx="466">
                  <c:v>-0.41884028000000001</c:v>
                </c:pt>
                <c:pt idx="467">
                  <c:v>-0.41861055000000003</c:v>
                </c:pt>
                <c:pt idx="468">
                  <c:v>-0.41838344</c:v>
                </c:pt>
                <c:pt idx="469">
                  <c:v>-0.41815493999999997</c:v>
                </c:pt>
                <c:pt idx="470">
                  <c:v>-0.41792476000000001</c:v>
                </c:pt>
                <c:pt idx="471">
                  <c:v>-0.41769520999999998</c:v>
                </c:pt>
                <c:pt idx="472">
                  <c:v>-0.41746707</c:v>
                </c:pt>
                <c:pt idx="473">
                  <c:v>-0.41723802999999998</c:v>
                </c:pt>
                <c:pt idx="474">
                  <c:v>-0.41700991999999998</c:v>
                </c:pt>
                <c:pt idx="475">
                  <c:v>-0.41678089000000001</c:v>
                </c:pt>
                <c:pt idx="476">
                  <c:v>-0.41655292999999999</c:v>
                </c:pt>
                <c:pt idx="477">
                  <c:v>-0.41632514999999998</c:v>
                </c:pt>
                <c:pt idx="478">
                  <c:v>-0.41609531999999999</c:v>
                </c:pt>
                <c:pt idx="479">
                  <c:v>-0.41586644</c:v>
                </c:pt>
                <c:pt idx="480">
                  <c:v>-0.41563939</c:v>
                </c:pt>
                <c:pt idx="481">
                  <c:v>-0.41541217000000003</c:v>
                </c:pt>
                <c:pt idx="482">
                  <c:v>-0.41518331000000003</c:v>
                </c:pt>
                <c:pt idx="483">
                  <c:v>-0.41495567999999999</c:v>
                </c:pt>
                <c:pt idx="484">
                  <c:v>-0.41472797</c:v>
                </c:pt>
                <c:pt idx="485">
                  <c:v>-0.41449904999999998</c:v>
                </c:pt>
                <c:pt idx="486">
                  <c:v>-0.41427217</c:v>
                </c:pt>
                <c:pt idx="487">
                  <c:v>-0.41404439999999998</c:v>
                </c:pt>
                <c:pt idx="488">
                  <c:v>-0.41381610000000002</c:v>
                </c:pt>
                <c:pt idx="489">
                  <c:v>-0.41358838999999997</c:v>
                </c:pt>
                <c:pt idx="490">
                  <c:v>-0.41336017000000003</c:v>
                </c:pt>
                <c:pt idx="491">
                  <c:v>-0.41313294</c:v>
                </c:pt>
                <c:pt idx="492">
                  <c:v>-0.41290749999999998</c:v>
                </c:pt>
                <c:pt idx="493">
                  <c:v>-0.41267957999999999</c:v>
                </c:pt>
                <c:pt idx="494">
                  <c:v>-0.41245189999999998</c:v>
                </c:pt>
                <c:pt idx="495">
                  <c:v>-0.41222440999999999</c:v>
                </c:pt>
                <c:pt idx="496">
                  <c:v>-0.41199756999999998</c:v>
                </c:pt>
                <c:pt idx="497">
                  <c:v>-0.41177014000000001</c:v>
                </c:pt>
                <c:pt idx="498">
                  <c:v>-0.41154418999999998</c:v>
                </c:pt>
                <c:pt idx="499">
                  <c:v>-0.41131689999999999</c:v>
                </c:pt>
                <c:pt idx="500">
                  <c:v>-0.41109055</c:v>
                </c:pt>
                <c:pt idx="501">
                  <c:v>-0.41086367000000001</c:v>
                </c:pt>
                <c:pt idx="502">
                  <c:v>-0.41063745000000001</c:v>
                </c:pt>
                <c:pt idx="503">
                  <c:v>-0.41040987000000001</c:v>
                </c:pt>
                <c:pt idx="504">
                  <c:v>-0.41018371999999997</c:v>
                </c:pt>
                <c:pt idx="505">
                  <c:v>-0.40995738999999998</c:v>
                </c:pt>
                <c:pt idx="506">
                  <c:v>-0.40973207</c:v>
                </c:pt>
                <c:pt idx="507">
                  <c:v>-0.40950581000000003</c:v>
                </c:pt>
                <c:pt idx="508">
                  <c:v>-0.40927986</c:v>
                </c:pt>
                <c:pt idx="509">
                  <c:v>-0.40905384</c:v>
                </c:pt>
                <c:pt idx="510">
                  <c:v>-0.40882763999999999</c:v>
                </c:pt>
                <c:pt idx="511">
                  <c:v>-0.40860277</c:v>
                </c:pt>
                <c:pt idx="512">
                  <c:v>-0.40837588000000002</c:v>
                </c:pt>
                <c:pt idx="513">
                  <c:v>-0.40814946000000002</c:v>
                </c:pt>
                <c:pt idx="514">
                  <c:v>-0.40792324000000002</c:v>
                </c:pt>
                <c:pt idx="515">
                  <c:v>-0.40769807000000002</c:v>
                </c:pt>
                <c:pt idx="516">
                  <c:v>-0.40747214999999998</c:v>
                </c:pt>
                <c:pt idx="517">
                  <c:v>-0.40724739999999998</c:v>
                </c:pt>
                <c:pt idx="518">
                  <c:v>-0.40702136</c:v>
                </c:pt>
                <c:pt idx="519">
                  <c:v>-0.40679668000000002</c:v>
                </c:pt>
                <c:pt idx="520">
                  <c:v>-0.40657208</c:v>
                </c:pt>
                <c:pt idx="521">
                  <c:v>-0.40634556999999999</c:v>
                </c:pt>
                <c:pt idx="522">
                  <c:v>-0.40612027000000001</c:v>
                </c:pt>
                <c:pt idx="523">
                  <c:v>-0.40589665000000003</c:v>
                </c:pt>
                <c:pt idx="524">
                  <c:v>-0.40567065000000002</c:v>
                </c:pt>
                <c:pt idx="525">
                  <c:v>-0.40544682999999998</c:v>
                </c:pt>
                <c:pt idx="526">
                  <c:v>-0.40522064000000002</c:v>
                </c:pt>
                <c:pt idx="527">
                  <c:v>-0.40499545999999997</c:v>
                </c:pt>
                <c:pt idx="528">
                  <c:v>-0.40477091999999998</c:v>
                </c:pt>
                <c:pt idx="529">
                  <c:v>-0.40454681999999997</c:v>
                </c:pt>
                <c:pt idx="530">
                  <c:v>-0.40432310999999999</c:v>
                </c:pt>
                <c:pt idx="531">
                  <c:v>-0.40409832000000001</c:v>
                </c:pt>
                <c:pt idx="532">
                  <c:v>-0.40387324000000002</c:v>
                </c:pt>
                <c:pt idx="533">
                  <c:v>-0.40364968000000001</c:v>
                </c:pt>
                <c:pt idx="534">
                  <c:v>-0.40342483000000001</c:v>
                </c:pt>
                <c:pt idx="535">
                  <c:v>-0.40319990999999999</c:v>
                </c:pt>
                <c:pt idx="536">
                  <c:v>-0.40297639000000002</c:v>
                </c:pt>
                <c:pt idx="537">
                  <c:v>-0.40275311000000003</c:v>
                </c:pt>
                <c:pt idx="538">
                  <c:v>-0.40252861000000001</c:v>
                </c:pt>
                <c:pt idx="539">
                  <c:v>-0.40230579999999999</c:v>
                </c:pt>
                <c:pt idx="540">
                  <c:v>-0.40208159999999998</c:v>
                </c:pt>
                <c:pt idx="541">
                  <c:v>-0.40185753000000002</c:v>
                </c:pt>
                <c:pt idx="542">
                  <c:v>-0.40163447000000002</c:v>
                </c:pt>
                <c:pt idx="543">
                  <c:v>-0.40141062</c:v>
                </c:pt>
                <c:pt idx="544">
                  <c:v>-0.40118644999999997</c:v>
                </c:pt>
                <c:pt idx="545">
                  <c:v>-0.40096266000000003</c:v>
                </c:pt>
                <c:pt idx="546">
                  <c:v>-0.40073932000000001</c:v>
                </c:pt>
                <c:pt idx="547">
                  <c:v>-0.40051671999999999</c:v>
                </c:pt>
                <c:pt idx="548">
                  <c:v>-0.40029348999999997</c:v>
                </c:pt>
                <c:pt idx="549">
                  <c:v>-0.40007059</c:v>
                </c:pt>
                <c:pt idx="550">
                  <c:v>-0.39984752000000001</c:v>
                </c:pt>
                <c:pt idx="551">
                  <c:v>-0.39962405000000001</c:v>
                </c:pt>
                <c:pt idx="552">
                  <c:v>-0.39940207</c:v>
                </c:pt>
                <c:pt idx="553">
                  <c:v>-0.39917826000000001</c:v>
                </c:pt>
                <c:pt idx="554">
                  <c:v>-0.39895557999999998</c:v>
                </c:pt>
                <c:pt idx="555">
                  <c:v>-0.39873301</c:v>
                </c:pt>
                <c:pt idx="556">
                  <c:v>-0.39851089000000001</c:v>
                </c:pt>
                <c:pt idx="557">
                  <c:v>-0.39828823000000002</c:v>
                </c:pt>
                <c:pt idx="558">
                  <c:v>-0.39806608999999998</c:v>
                </c:pt>
                <c:pt idx="559">
                  <c:v>-0.39784309000000001</c:v>
                </c:pt>
                <c:pt idx="560">
                  <c:v>-0.397621</c:v>
                </c:pt>
                <c:pt idx="561">
                  <c:v>-0.39739785999999999</c:v>
                </c:pt>
                <c:pt idx="562">
                  <c:v>-0.39717668</c:v>
                </c:pt>
                <c:pt idx="563">
                  <c:v>-0.39695309000000001</c:v>
                </c:pt>
                <c:pt idx="564">
                  <c:v>-0.396731</c:v>
                </c:pt>
                <c:pt idx="565">
                  <c:v>-0.39650963</c:v>
                </c:pt>
                <c:pt idx="566">
                  <c:v>-0.39628829999999998</c:v>
                </c:pt>
                <c:pt idx="567">
                  <c:v>-0.39606664000000003</c:v>
                </c:pt>
                <c:pt idx="568">
                  <c:v>-0.39584508000000002</c:v>
                </c:pt>
                <c:pt idx="569">
                  <c:v>-0.39562267000000001</c:v>
                </c:pt>
                <c:pt idx="570">
                  <c:v>-0.39540109000000001</c:v>
                </c:pt>
                <c:pt idx="571">
                  <c:v>-0.39517978999999998</c:v>
                </c:pt>
                <c:pt idx="572">
                  <c:v>-0.39495806999999999</c:v>
                </c:pt>
                <c:pt idx="573">
                  <c:v>-0.39473655000000002</c:v>
                </c:pt>
                <c:pt idx="574">
                  <c:v>-0.39451602000000002</c:v>
                </c:pt>
                <c:pt idx="575">
                  <c:v>-0.39429318000000002</c:v>
                </c:pt>
                <c:pt idx="576">
                  <c:v>-0.39407271999999999</c:v>
                </c:pt>
                <c:pt idx="577">
                  <c:v>-0.39385164</c:v>
                </c:pt>
                <c:pt idx="578">
                  <c:v>-0.39363123</c:v>
                </c:pt>
                <c:pt idx="579">
                  <c:v>-0.39340932000000001</c:v>
                </c:pt>
                <c:pt idx="580">
                  <c:v>-0.39319006000000001</c:v>
                </c:pt>
                <c:pt idx="581">
                  <c:v>-0.39296800999999998</c:v>
                </c:pt>
                <c:pt idx="582">
                  <c:v>-0.39274776</c:v>
                </c:pt>
                <c:pt idx="583">
                  <c:v>-0.39252769999999998</c:v>
                </c:pt>
                <c:pt idx="584">
                  <c:v>-0.39230641999999999</c:v>
                </c:pt>
                <c:pt idx="585">
                  <c:v>-0.39208682</c:v>
                </c:pt>
                <c:pt idx="586">
                  <c:v>-0.39186464999999998</c:v>
                </c:pt>
                <c:pt idx="587">
                  <c:v>-0.39164471000000001</c:v>
                </c:pt>
                <c:pt idx="588">
                  <c:v>-0.39142423999999998</c:v>
                </c:pt>
                <c:pt idx="589">
                  <c:v>-0.39120435999999997</c:v>
                </c:pt>
                <c:pt idx="590">
                  <c:v>-0.39098423999999998</c:v>
                </c:pt>
                <c:pt idx="591">
                  <c:v>-0.39076422999999999</c:v>
                </c:pt>
                <c:pt idx="592">
                  <c:v>-0.39054336000000001</c:v>
                </c:pt>
                <c:pt idx="593">
                  <c:v>-0.39032475999999999</c:v>
                </c:pt>
                <c:pt idx="594">
                  <c:v>-0.39010416999999997</c:v>
                </c:pt>
                <c:pt idx="595">
                  <c:v>-0.38988425999999998</c:v>
                </c:pt>
                <c:pt idx="596">
                  <c:v>-0.38966477999999999</c:v>
                </c:pt>
                <c:pt idx="597">
                  <c:v>-0.38944522999999998</c:v>
                </c:pt>
                <c:pt idx="598">
                  <c:v>-0.38922465000000001</c:v>
                </c:pt>
                <c:pt idx="599">
                  <c:v>-0.38900572</c:v>
                </c:pt>
                <c:pt idx="600">
                  <c:v>-0.38878646</c:v>
                </c:pt>
                <c:pt idx="601">
                  <c:v>-0.38856721999999999</c:v>
                </c:pt>
                <c:pt idx="602">
                  <c:v>-0.38834792000000001</c:v>
                </c:pt>
                <c:pt idx="603">
                  <c:v>-0.38812956999999998</c:v>
                </c:pt>
                <c:pt idx="604">
                  <c:v>-0.38790945999999998</c:v>
                </c:pt>
                <c:pt idx="605">
                  <c:v>-0.3876908</c:v>
                </c:pt>
                <c:pt idx="606">
                  <c:v>-0.38747130000000002</c:v>
                </c:pt>
                <c:pt idx="607">
                  <c:v>-0.38725263999999998</c:v>
                </c:pt>
                <c:pt idx="608">
                  <c:v>-0.38703417000000001</c:v>
                </c:pt>
                <c:pt idx="609">
                  <c:v>-0.38681486999999998</c:v>
                </c:pt>
                <c:pt idx="610">
                  <c:v>-0.38659621</c:v>
                </c:pt>
                <c:pt idx="611">
                  <c:v>-0.38637735000000001</c:v>
                </c:pt>
                <c:pt idx="612">
                  <c:v>-0.38615891000000002</c:v>
                </c:pt>
                <c:pt idx="613">
                  <c:v>-0.38594047999999997</c:v>
                </c:pt>
                <c:pt idx="614">
                  <c:v>-0.38572156000000002</c:v>
                </c:pt>
                <c:pt idx="615">
                  <c:v>-0.38550425999999999</c:v>
                </c:pt>
                <c:pt idx="616">
                  <c:v>-0.38528525000000002</c:v>
                </c:pt>
                <c:pt idx="617">
                  <c:v>-0.38506662000000003</c:v>
                </c:pt>
                <c:pt idx="618">
                  <c:v>-0.38484766999999998</c:v>
                </c:pt>
                <c:pt idx="619">
                  <c:v>-0.38463169000000003</c:v>
                </c:pt>
                <c:pt idx="620">
                  <c:v>-0.38441317000000003</c:v>
                </c:pt>
                <c:pt idx="621">
                  <c:v>-0.38419532000000001</c:v>
                </c:pt>
                <c:pt idx="622">
                  <c:v>-0.38397733000000001</c:v>
                </c:pt>
                <c:pt idx="623">
                  <c:v>-0.38375947999999999</c:v>
                </c:pt>
                <c:pt idx="624">
                  <c:v>-0.38354152000000002</c:v>
                </c:pt>
                <c:pt idx="625">
                  <c:v>-0.38332403999999998</c:v>
                </c:pt>
                <c:pt idx="626">
                  <c:v>-0.38310580999999999</c:v>
                </c:pt>
                <c:pt idx="627">
                  <c:v>-0.38288852000000001</c:v>
                </c:pt>
                <c:pt idx="628">
                  <c:v>-0.38267177000000002</c:v>
                </c:pt>
                <c:pt idx="629">
                  <c:v>-0.38245411000000001</c:v>
                </c:pt>
                <c:pt idx="630">
                  <c:v>-0.38223779000000002</c:v>
                </c:pt>
                <c:pt idx="631">
                  <c:v>-0.38202016</c:v>
                </c:pt>
                <c:pt idx="632">
                  <c:v>-0.38180203000000001</c:v>
                </c:pt>
                <c:pt idx="633">
                  <c:v>-0.38158571000000002</c:v>
                </c:pt>
                <c:pt idx="634">
                  <c:v>-0.38136820999999999</c:v>
                </c:pt>
                <c:pt idx="635">
                  <c:v>-0.38115111000000002</c:v>
                </c:pt>
                <c:pt idx="636">
                  <c:v>-0.38093531000000003</c:v>
                </c:pt>
                <c:pt idx="637">
                  <c:v>-0.38071828000000002</c:v>
                </c:pt>
                <c:pt idx="638">
                  <c:v>-0.38050178000000001</c:v>
                </c:pt>
                <c:pt idx="639">
                  <c:v>-0.38028440000000002</c:v>
                </c:pt>
                <c:pt idx="640">
                  <c:v>-0.38006838999999998</c:v>
                </c:pt>
                <c:pt idx="641">
                  <c:v>-0.37985175999999998</c:v>
                </c:pt>
                <c:pt idx="642">
                  <c:v>-0.37963502999999998</c:v>
                </c:pt>
                <c:pt idx="643">
                  <c:v>-0.37941879000000001</c:v>
                </c:pt>
                <c:pt idx="644">
                  <c:v>-0.37920326999999998</c:v>
                </c:pt>
                <c:pt idx="645">
                  <c:v>-0.37898717999999998</c:v>
                </c:pt>
                <c:pt idx="646">
                  <c:v>-0.37877127999999999</c:v>
                </c:pt>
                <c:pt idx="647">
                  <c:v>-0.37855365000000002</c:v>
                </c:pt>
                <c:pt idx="648">
                  <c:v>-0.37833816999999997</c:v>
                </c:pt>
                <c:pt idx="649">
                  <c:v>-0.37812219000000002</c:v>
                </c:pt>
                <c:pt idx="650">
                  <c:v>-0.37790604999999999</c:v>
                </c:pt>
                <c:pt idx="651">
                  <c:v>-0.37769038999999999</c:v>
                </c:pt>
                <c:pt idx="652">
                  <c:v>-0.37747461999999998</c:v>
                </c:pt>
                <c:pt idx="653">
                  <c:v>-0.37725983000000002</c:v>
                </c:pt>
                <c:pt idx="654">
                  <c:v>-0.37704378</c:v>
                </c:pt>
                <c:pt idx="655">
                  <c:v>-0.37682870000000002</c:v>
                </c:pt>
                <c:pt idx="656">
                  <c:v>-0.37661299999999998</c:v>
                </c:pt>
                <c:pt idx="657">
                  <c:v>-0.37639834999999999</c:v>
                </c:pt>
                <c:pt idx="658">
                  <c:v>-0.37618272000000003</c:v>
                </c:pt>
                <c:pt idx="659">
                  <c:v>-0.37596699</c:v>
                </c:pt>
                <c:pt idx="660">
                  <c:v>-0.37575251999999998</c:v>
                </c:pt>
                <c:pt idx="661">
                  <c:v>-0.37553756999999999</c:v>
                </c:pt>
                <c:pt idx="662">
                  <c:v>-0.37532205000000002</c:v>
                </c:pt>
                <c:pt idx="663">
                  <c:v>-0.37510712000000002</c:v>
                </c:pt>
                <c:pt idx="664">
                  <c:v>-0.37489203999999998</c:v>
                </c:pt>
                <c:pt idx="665">
                  <c:v>-0.37467830000000002</c:v>
                </c:pt>
                <c:pt idx="666">
                  <c:v>-0.3744633</c:v>
                </c:pt>
                <c:pt idx="667">
                  <c:v>-0.37424850999999998</c:v>
                </c:pt>
                <c:pt idx="668">
                  <c:v>-0.37403459999999999</c:v>
                </c:pt>
                <c:pt idx="669">
                  <c:v>-0.37381944</c:v>
                </c:pt>
                <c:pt idx="670">
                  <c:v>-0.37360449000000001</c:v>
                </c:pt>
                <c:pt idx="671">
                  <c:v>-0.37339054999999999</c:v>
                </c:pt>
                <c:pt idx="672">
                  <c:v>-0.37317675</c:v>
                </c:pt>
                <c:pt idx="673">
                  <c:v>-0.37296167000000002</c:v>
                </c:pt>
                <c:pt idx="674">
                  <c:v>-0.37274838999999999</c:v>
                </c:pt>
                <c:pt idx="675">
                  <c:v>-0.37253370000000002</c:v>
                </c:pt>
                <c:pt idx="676">
                  <c:v>-0.37231931000000001</c:v>
                </c:pt>
                <c:pt idx="677">
                  <c:v>-0.37210509000000003</c:v>
                </c:pt>
                <c:pt idx="678">
                  <c:v>-0.37189146000000001</c:v>
                </c:pt>
                <c:pt idx="679">
                  <c:v>-0.37167802</c:v>
                </c:pt>
                <c:pt idx="680">
                  <c:v>-0.37146447999999999</c:v>
                </c:pt>
                <c:pt idx="681">
                  <c:v>-0.37125068999999999</c:v>
                </c:pt>
                <c:pt idx="682">
                  <c:v>-0.37103754999999999</c:v>
                </c:pt>
                <c:pt idx="683">
                  <c:v>-0.37082387999999999</c:v>
                </c:pt>
                <c:pt idx="684">
                  <c:v>-0.37060998000000001</c:v>
                </c:pt>
                <c:pt idx="685">
                  <c:v>-0.37039749999999999</c:v>
                </c:pt>
                <c:pt idx="686">
                  <c:v>-0.37018437999999998</c:v>
                </c:pt>
                <c:pt idx="687">
                  <c:v>-0.36997079999999999</c:v>
                </c:pt>
                <c:pt idx="688">
                  <c:v>-0.36975701999999999</c:v>
                </c:pt>
                <c:pt idx="689">
                  <c:v>-0.36954345999999999</c:v>
                </c:pt>
                <c:pt idx="690">
                  <c:v>-0.36933163000000002</c:v>
                </c:pt>
                <c:pt idx="691">
                  <c:v>-0.36911887999999998</c:v>
                </c:pt>
                <c:pt idx="692">
                  <c:v>-0.36890552999999998</c:v>
                </c:pt>
                <c:pt idx="693">
                  <c:v>-0.36869281999999998</c:v>
                </c:pt>
                <c:pt idx="694">
                  <c:v>-0.36847843000000002</c:v>
                </c:pt>
                <c:pt idx="695">
                  <c:v>-0.36826764000000001</c:v>
                </c:pt>
                <c:pt idx="696">
                  <c:v>-0.36805480000000002</c:v>
                </c:pt>
                <c:pt idx="697">
                  <c:v>-0.36784218000000002</c:v>
                </c:pt>
                <c:pt idx="698">
                  <c:v>-0.36763052000000002</c:v>
                </c:pt>
                <c:pt idx="699">
                  <c:v>-0.36741716000000002</c:v>
                </c:pt>
                <c:pt idx="700">
                  <c:v>-0.36720554999999999</c:v>
                </c:pt>
                <c:pt idx="701">
                  <c:v>-0.36699184000000001</c:v>
                </c:pt>
                <c:pt idx="702">
                  <c:v>-0.36678181999999998</c:v>
                </c:pt>
                <c:pt idx="703">
                  <c:v>-0.36656895</c:v>
                </c:pt>
                <c:pt idx="704">
                  <c:v>-0.36635585999999998</c:v>
                </c:pt>
                <c:pt idx="705">
                  <c:v>-0.36614380000000002</c:v>
                </c:pt>
                <c:pt idx="706">
                  <c:v>-0.36593383000000002</c:v>
                </c:pt>
                <c:pt idx="707">
                  <c:v>-0.36572141000000002</c:v>
                </c:pt>
                <c:pt idx="708">
                  <c:v>-0.36550880000000002</c:v>
                </c:pt>
                <c:pt idx="709">
                  <c:v>-0.36529758000000001</c:v>
                </c:pt>
                <c:pt idx="710">
                  <c:v>-0.36508656</c:v>
                </c:pt>
                <c:pt idx="711">
                  <c:v>-0.36487536999999998</c:v>
                </c:pt>
                <c:pt idx="712">
                  <c:v>-0.36466359999999998</c:v>
                </c:pt>
                <c:pt idx="713">
                  <c:v>-0.36445168999999999</c:v>
                </c:pt>
                <c:pt idx="714">
                  <c:v>-0.36424189000000001</c:v>
                </c:pt>
                <c:pt idx="715">
                  <c:v>-0.36402963999999999</c:v>
                </c:pt>
                <c:pt idx="716">
                  <c:v>-0.36381835000000001</c:v>
                </c:pt>
                <c:pt idx="717">
                  <c:v>-0.36360729000000003</c:v>
                </c:pt>
                <c:pt idx="718">
                  <c:v>-0.36339642</c:v>
                </c:pt>
                <c:pt idx="719">
                  <c:v>-0.36318616999999997</c:v>
                </c:pt>
                <c:pt idx="720">
                  <c:v>-0.36297457999999999</c:v>
                </c:pt>
                <c:pt idx="721">
                  <c:v>-0.36276357999999997</c:v>
                </c:pt>
                <c:pt idx="722">
                  <c:v>-0.36255356</c:v>
                </c:pt>
                <c:pt idx="723">
                  <c:v>-0.36234186000000002</c:v>
                </c:pt>
                <c:pt idx="724">
                  <c:v>-0.3621315</c:v>
                </c:pt>
                <c:pt idx="725">
                  <c:v>-0.36192057999999999</c:v>
                </c:pt>
                <c:pt idx="726">
                  <c:v>-0.36171065000000002</c:v>
                </c:pt>
                <c:pt idx="727">
                  <c:v>-0.36150053999999998</c:v>
                </c:pt>
                <c:pt idx="728">
                  <c:v>-0.36128988000000001</c:v>
                </c:pt>
                <c:pt idx="729">
                  <c:v>-0.36107981</c:v>
                </c:pt>
                <c:pt idx="730">
                  <c:v>-0.36086919000000001</c:v>
                </c:pt>
                <c:pt idx="731">
                  <c:v>-0.36065915999999998</c:v>
                </c:pt>
                <c:pt idx="732">
                  <c:v>-0.36044971999999997</c:v>
                </c:pt>
                <c:pt idx="733">
                  <c:v>-0.36023896999999999</c:v>
                </c:pt>
                <c:pt idx="734">
                  <c:v>-0.36002994999999999</c:v>
                </c:pt>
                <c:pt idx="735">
                  <c:v>-0.35981999999999997</c:v>
                </c:pt>
                <c:pt idx="736">
                  <c:v>-0.35961026000000001</c:v>
                </c:pt>
                <c:pt idx="737">
                  <c:v>-0.35939996000000002</c:v>
                </c:pt>
                <c:pt idx="738">
                  <c:v>-0.35919179000000001</c:v>
                </c:pt>
                <c:pt idx="739">
                  <c:v>-0.35898228999999998</c:v>
                </c:pt>
                <c:pt idx="740">
                  <c:v>-0.35877149000000003</c:v>
                </c:pt>
                <c:pt idx="741">
                  <c:v>-0.35856202999999998</c:v>
                </c:pt>
                <c:pt idx="742">
                  <c:v>-0.35835392999999999</c:v>
                </c:pt>
                <c:pt idx="743">
                  <c:v>-0.35814337000000002</c:v>
                </c:pt>
                <c:pt idx="744">
                  <c:v>-0.35793416</c:v>
                </c:pt>
                <c:pt idx="745">
                  <c:v>-0.35772630999999999</c:v>
                </c:pt>
                <c:pt idx="746">
                  <c:v>-0.35751751999999998</c:v>
                </c:pt>
                <c:pt idx="747">
                  <c:v>-0.35730817999999998</c:v>
                </c:pt>
                <c:pt idx="748">
                  <c:v>-0.35709943999999999</c:v>
                </c:pt>
                <c:pt idx="749">
                  <c:v>-0.3568905</c:v>
                </c:pt>
                <c:pt idx="750">
                  <c:v>-0.35668103000000001</c:v>
                </c:pt>
                <c:pt idx="751">
                  <c:v>-0.35647251000000002</c:v>
                </c:pt>
                <c:pt idx="752">
                  <c:v>-0.35626308000000001</c:v>
                </c:pt>
                <c:pt idx="753">
                  <c:v>-0.35605500000000001</c:v>
                </c:pt>
                <c:pt idx="754">
                  <c:v>-0.35584711000000002</c:v>
                </c:pt>
                <c:pt idx="755">
                  <c:v>-0.35563867999999998</c:v>
                </c:pt>
                <c:pt idx="756">
                  <c:v>-0.35543047999999999</c:v>
                </c:pt>
                <c:pt idx="757">
                  <c:v>-0.35522283999999998</c:v>
                </c:pt>
                <c:pt idx="758">
                  <c:v>-0.35501313000000001</c:v>
                </c:pt>
                <c:pt idx="759">
                  <c:v>-0.35480476</c:v>
                </c:pt>
                <c:pt idx="760">
                  <c:v>-0.35459777999999997</c:v>
                </c:pt>
                <c:pt idx="761">
                  <c:v>-0.35438905999999998</c:v>
                </c:pt>
                <c:pt idx="762">
                  <c:v>-0.3541821</c:v>
                </c:pt>
                <c:pt idx="763">
                  <c:v>-0.35397379000000001</c:v>
                </c:pt>
                <c:pt idx="764">
                  <c:v>-0.35376647</c:v>
                </c:pt>
                <c:pt idx="765">
                  <c:v>-0.35355902</c:v>
                </c:pt>
                <c:pt idx="766">
                  <c:v>-0.35335133000000002</c:v>
                </c:pt>
                <c:pt idx="767">
                  <c:v>-0.35314315000000002</c:v>
                </c:pt>
                <c:pt idx="768">
                  <c:v>-0.35293626</c:v>
                </c:pt>
                <c:pt idx="769">
                  <c:v>-0.35272888000000002</c:v>
                </c:pt>
                <c:pt idx="770">
                  <c:v>-0.35252088999999998</c:v>
                </c:pt>
                <c:pt idx="771">
                  <c:v>-0.35231465000000001</c:v>
                </c:pt>
                <c:pt idx="772">
                  <c:v>-0.35210629999999998</c:v>
                </c:pt>
                <c:pt idx="773">
                  <c:v>-0.35189936999999999</c:v>
                </c:pt>
                <c:pt idx="774">
                  <c:v>-0.35169262000000001</c:v>
                </c:pt>
                <c:pt idx="775">
                  <c:v>-0.35148531999999999</c:v>
                </c:pt>
                <c:pt idx="776">
                  <c:v>-0.35127817</c:v>
                </c:pt>
                <c:pt idx="777">
                  <c:v>-0.35107013999999998</c:v>
                </c:pt>
                <c:pt idx="778">
                  <c:v>-0.35086465999999999</c:v>
                </c:pt>
                <c:pt idx="779">
                  <c:v>-0.35065775999999999</c:v>
                </c:pt>
                <c:pt idx="780">
                  <c:v>-0.35045111000000001</c:v>
                </c:pt>
                <c:pt idx="781">
                  <c:v>-0.35024421999999999</c:v>
                </c:pt>
                <c:pt idx="782">
                  <c:v>-0.35003731999999999</c:v>
                </c:pt>
                <c:pt idx="783">
                  <c:v>-0.34983160000000002</c:v>
                </c:pt>
                <c:pt idx="784">
                  <c:v>-0.34962505999999999</c:v>
                </c:pt>
                <c:pt idx="785">
                  <c:v>-0.34941866999999999</c:v>
                </c:pt>
                <c:pt idx="786">
                  <c:v>-0.34921254000000002</c:v>
                </c:pt>
                <c:pt idx="787">
                  <c:v>-0.34900725999999999</c:v>
                </c:pt>
                <c:pt idx="788">
                  <c:v>-0.34880076999999998</c:v>
                </c:pt>
                <c:pt idx="789">
                  <c:v>-0.34859449999999997</c:v>
                </c:pt>
                <c:pt idx="790">
                  <c:v>-0.34838831999999997</c:v>
                </c:pt>
                <c:pt idx="791">
                  <c:v>-0.34818215000000002</c:v>
                </c:pt>
                <c:pt idx="792">
                  <c:v>-0.34797714000000002</c:v>
                </c:pt>
                <c:pt idx="793">
                  <c:v>-0.34777170000000002</c:v>
                </c:pt>
                <c:pt idx="794">
                  <c:v>-0.34756603000000003</c:v>
                </c:pt>
                <c:pt idx="795">
                  <c:v>-0.34735911000000003</c:v>
                </c:pt>
                <c:pt idx="796">
                  <c:v>-0.34715454000000001</c:v>
                </c:pt>
                <c:pt idx="797">
                  <c:v>-0.34694839</c:v>
                </c:pt>
                <c:pt idx="798">
                  <c:v>-0.34674322000000002</c:v>
                </c:pt>
                <c:pt idx="799">
                  <c:v>-0.34653746000000002</c:v>
                </c:pt>
                <c:pt idx="800">
                  <c:v>-0.34633269</c:v>
                </c:pt>
                <c:pt idx="801">
                  <c:v>-0.34612686999999998</c:v>
                </c:pt>
                <c:pt idx="802">
                  <c:v>-0.34592223999999999</c:v>
                </c:pt>
                <c:pt idx="803">
                  <c:v>-0.34571756999999997</c:v>
                </c:pt>
                <c:pt idx="804">
                  <c:v>-0.34551250999999999</c:v>
                </c:pt>
                <c:pt idx="805">
                  <c:v>-0.34530801999999999</c:v>
                </c:pt>
                <c:pt idx="806">
                  <c:v>-0.34510255000000001</c:v>
                </c:pt>
                <c:pt idx="807">
                  <c:v>-0.34489760000000003</c:v>
                </c:pt>
                <c:pt idx="808">
                  <c:v>-0.34469269000000002</c:v>
                </c:pt>
                <c:pt idx="809">
                  <c:v>-0.34448851000000003</c:v>
                </c:pt>
                <c:pt idx="810">
                  <c:v>-0.34428346999999998</c:v>
                </c:pt>
                <c:pt idx="811">
                  <c:v>-0.34407984000000003</c:v>
                </c:pt>
                <c:pt idx="812">
                  <c:v>-0.34387490999999998</c:v>
                </c:pt>
                <c:pt idx="813">
                  <c:v>-0.34367088000000001</c:v>
                </c:pt>
                <c:pt idx="814">
                  <c:v>-0.34346557999999999</c:v>
                </c:pt>
                <c:pt idx="815">
                  <c:v>-0.34326259999999997</c:v>
                </c:pt>
                <c:pt idx="816">
                  <c:v>-0.34305745999999998</c:v>
                </c:pt>
                <c:pt idx="817">
                  <c:v>-0.34285419</c:v>
                </c:pt>
                <c:pt idx="818">
                  <c:v>-0.34264978000000001</c:v>
                </c:pt>
                <c:pt idx="819">
                  <c:v>-0.34244614000000001</c:v>
                </c:pt>
                <c:pt idx="820">
                  <c:v>-0.34224202999999997</c:v>
                </c:pt>
                <c:pt idx="821">
                  <c:v>-0.34203819000000002</c:v>
                </c:pt>
                <c:pt idx="822">
                  <c:v>-0.34183490999999999</c:v>
                </c:pt>
                <c:pt idx="823">
                  <c:v>-0.34163141000000002</c:v>
                </c:pt>
                <c:pt idx="824">
                  <c:v>-0.34142626999999998</c:v>
                </c:pt>
                <c:pt idx="825">
                  <c:v>-0.34122355999999998</c:v>
                </c:pt>
                <c:pt idx="826">
                  <c:v>-0.34102035000000003</c:v>
                </c:pt>
                <c:pt idx="827">
                  <c:v>-0.34081737000000001</c:v>
                </c:pt>
                <c:pt idx="828">
                  <c:v>-0.34061360000000002</c:v>
                </c:pt>
                <c:pt idx="829">
                  <c:v>-0.34040999999999999</c:v>
                </c:pt>
                <c:pt idx="830">
                  <c:v>-0.34020718999999999</c:v>
                </c:pt>
                <c:pt idx="831">
                  <c:v>-0.34000373</c:v>
                </c:pt>
                <c:pt idx="832">
                  <c:v>-0.33980112000000001</c:v>
                </c:pt>
                <c:pt idx="833">
                  <c:v>-0.33959876</c:v>
                </c:pt>
                <c:pt idx="834">
                  <c:v>-0.33939543999999999</c:v>
                </c:pt>
                <c:pt idx="835">
                  <c:v>-0.33919195000000002</c:v>
                </c:pt>
                <c:pt idx="836">
                  <c:v>-0.33899016999999998</c:v>
                </c:pt>
                <c:pt idx="837">
                  <c:v>-0.33878636000000001</c:v>
                </c:pt>
                <c:pt idx="838">
                  <c:v>-0.33858461000000001</c:v>
                </c:pt>
                <c:pt idx="839">
                  <c:v>-0.33838162999999999</c:v>
                </c:pt>
                <c:pt idx="840">
                  <c:v>-0.33817916999999997</c:v>
                </c:pt>
                <c:pt idx="841">
                  <c:v>-0.33797691000000002</c:v>
                </c:pt>
                <c:pt idx="842">
                  <c:v>-0.33777425999999999</c:v>
                </c:pt>
                <c:pt idx="843">
                  <c:v>-0.33757201999999997</c:v>
                </c:pt>
                <c:pt idx="844">
                  <c:v>-0.33736969</c:v>
                </c:pt>
                <c:pt idx="845">
                  <c:v>-0.33716800000000002</c:v>
                </c:pt>
                <c:pt idx="846">
                  <c:v>-0.33696660000000001</c:v>
                </c:pt>
                <c:pt idx="847">
                  <c:v>-0.33676252000000001</c:v>
                </c:pt>
                <c:pt idx="848">
                  <c:v>-0.33656169000000002</c:v>
                </c:pt>
                <c:pt idx="849">
                  <c:v>-0.33635955000000001</c:v>
                </c:pt>
                <c:pt idx="850">
                  <c:v>-0.33615758000000001</c:v>
                </c:pt>
                <c:pt idx="851">
                  <c:v>-0.33595626000000001</c:v>
                </c:pt>
                <c:pt idx="852">
                  <c:v>-0.33575494</c:v>
                </c:pt>
                <c:pt idx="853">
                  <c:v>-0.33555336000000002</c:v>
                </c:pt>
                <c:pt idx="854">
                  <c:v>-0.33535267000000002</c:v>
                </c:pt>
                <c:pt idx="855">
                  <c:v>-0.33515063</c:v>
                </c:pt>
                <c:pt idx="856">
                  <c:v>-0.33495005</c:v>
                </c:pt>
                <c:pt idx="857">
                  <c:v>-0.33474823999999997</c:v>
                </c:pt>
                <c:pt idx="858">
                  <c:v>-0.33454692000000003</c:v>
                </c:pt>
                <c:pt idx="859">
                  <c:v>-0.33434587999999998</c:v>
                </c:pt>
                <c:pt idx="860">
                  <c:v>-0.33414486999999998</c:v>
                </c:pt>
                <c:pt idx="861">
                  <c:v>-0.33394283000000002</c:v>
                </c:pt>
                <c:pt idx="862">
                  <c:v>-0.33374224000000002</c:v>
                </c:pt>
                <c:pt idx="863">
                  <c:v>-0.33354147000000001</c:v>
                </c:pt>
                <c:pt idx="864">
                  <c:v>-0.33334039999999998</c:v>
                </c:pt>
                <c:pt idx="865">
                  <c:v>-0.33313984000000002</c:v>
                </c:pt>
                <c:pt idx="866">
                  <c:v>-0.33293872000000002</c:v>
                </c:pt>
                <c:pt idx="867">
                  <c:v>-0.33273884999999997</c:v>
                </c:pt>
                <c:pt idx="868">
                  <c:v>-0.33253813999999998</c:v>
                </c:pt>
                <c:pt idx="869">
                  <c:v>-0.33233792000000001</c:v>
                </c:pt>
                <c:pt idx="870">
                  <c:v>-0.33213722000000001</c:v>
                </c:pt>
                <c:pt idx="871">
                  <c:v>-0.33193654</c:v>
                </c:pt>
                <c:pt idx="872">
                  <c:v>-0.33173710000000001</c:v>
                </c:pt>
                <c:pt idx="873">
                  <c:v>-0.33153607000000002</c:v>
                </c:pt>
                <c:pt idx="874">
                  <c:v>-0.33133620000000003</c:v>
                </c:pt>
                <c:pt idx="875">
                  <c:v>-0.33113606000000001</c:v>
                </c:pt>
                <c:pt idx="876">
                  <c:v>-0.33093621000000001</c:v>
                </c:pt>
                <c:pt idx="877">
                  <c:v>-0.33073677000000001</c:v>
                </c:pt>
                <c:pt idx="878">
                  <c:v>-0.33053547999999999</c:v>
                </c:pt>
                <c:pt idx="879">
                  <c:v>-0.33033718000000001</c:v>
                </c:pt>
                <c:pt idx="880">
                  <c:v>-0.33013594000000002</c:v>
                </c:pt>
                <c:pt idx="881">
                  <c:v>-0.32993694000000001</c:v>
                </c:pt>
                <c:pt idx="882">
                  <c:v>-0.32973680999999999</c:v>
                </c:pt>
                <c:pt idx="883">
                  <c:v>-0.32953787000000001</c:v>
                </c:pt>
                <c:pt idx="884">
                  <c:v>-0.32933831000000002</c:v>
                </c:pt>
                <c:pt idx="885">
                  <c:v>-0.32913894999999999</c:v>
                </c:pt>
                <c:pt idx="886">
                  <c:v>-0.32893932999999997</c:v>
                </c:pt>
                <c:pt idx="887">
                  <c:v>-0.32874093999999998</c:v>
                </c:pt>
                <c:pt idx="888">
                  <c:v>-0.32854085</c:v>
                </c:pt>
                <c:pt idx="889">
                  <c:v>-0.32834163</c:v>
                </c:pt>
                <c:pt idx="890">
                  <c:v>-0.32814291000000001</c:v>
                </c:pt>
                <c:pt idx="891">
                  <c:v>-0.32794382</c:v>
                </c:pt>
                <c:pt idx="892">
                  <c:v>-0.32774520000000001</c:v>
                </c:pt>
                <c:pt idx="893">
                  <c:v>-0.32754612</c:v>
                </c:pt>
                <c:pt idx="894">
                  <c:v>-0.32734787999999998</c:v>
                </c:pt>
                <c:pt idx="895">
                  <c:v>-0.32714869000000002</c:v>
                </c:pt>
                <c:pt idx="896">
                  <c:v>-0.32695025</c:v>
                </c:pt>
                <c:pt idx="897">
                  <c:v>-0.32675159999999998</c:v>
                </c:pt>
                <c:pt idx="898">
                  <c:v>-0.32655339999999999</c:v>
                </c:pt>
                <c:pt idx="899">
                  <c:v>-0.32635501</c:v>
                </c:pt>
                <c:pt idx="900">
                  <c:v>-0.32615660000000002</c:v>
                </c:pt>
                <c:pt idx="901">
                  <c:v>-0.32595864000000002</c:v>
                </c:pt>
                <c:pt idx="902">
                  <c:v>-0.32575872</c:v>
                </c:pt>
                <c:pt idx="903">
                  <c:v>-0.32556115000000002</c:v>
                </c:pt>
                <c:pt idx="904">
                  <c:v>-0.32536227000000001</c:v>
                </c:pt>
                <c:pt idx="905">
                  <c:v>-0.32516526000000001</c:v>
                </c:pt>
                <c:pt idx="906">
                  <c:v>-0.32496713999999999</c:v>
                </c:pt>
                <c:pt idx="907">
                  <c:v>-0.32476885</c:v>
                </c:pt>
                <c:pt idx="908">
                  <c:v>-0.32457166999999998</c:v>
                </c:pt>
                <c:pt idx="909">
                  <c:v>-0.32437454999999998</c:v>
                </c:pt>
                <c:pt idx="910">
                  <c:v>-0.32417626999999999</c:v>
                </c:pt>
                <c:pt idx="911">
                  <c:v>-0.32397798999999999</c:v>
                </c:pt>
                <c:pt idx="912">
                  <c:v>-0.32378075000000001</c:v>
                </c:pt>
                <c:pt idx="913">
                  <c:v>-0.32358341000000002</c:v>
                </c:pt>
                <c:pt idx="914">
                  <c:v>-0.32338618000000002</c:v>
                </c:pt>
                <c:pt idx="915">
                  <c:v>-0.32318925999999998</c:v>
                </c:pt>
                <c:pt idx="916">
                  <c:v>-0.32299164000000002</c:v>
                </c:pt>
                <c:pt idx="917">
                  <c:v>-0.32279423000000002</c:v>
                </c:pt>
                <c:pt idx="918">
                  <c:v>-0.32259755000000001</c:v>
                </c:pt>
                <c:pt idx="919">
                  <c:v>-0.32240055000000001</c:v>
                </c:pt>
                <c:pt idx="920">
                  <c:v>-0.32220299000000002</c:v>
                </c:pt>
                <c:pt idx="921">
                  <c:v>-0.32200614</c:v>
                </c:pt>
                <c:pt idx="922">
                  <c:v>-0.32180900000000001</c:v>
                </c:pt>
                <c:pt idx="923">
                  <c:v>-0.32161176000000002</c:v>
                </c:pt>
                <c:pt idx="924">
                  <c:v>-0.32141574000000001</c:v>
                </c:pt>
                <c:pt idx="925">
                  <c:v>-0.32121884000000001</c:v>
                </c:pt>
                <c:pt idx="926">
                  <c:v>-0.32102248</c:v>
                </c:pt>
                <c:pt idx="927">
                  <c:v>-0.32082681000000002</c:v>
                </c:pt>
                <c:pt idx="928">
                  <c:v>-0.32062932999999999</c:v>
                </c:pt>
                <c:pt idx="929">
                  <c:v>-0.32043397000000001</c:v>
                </c:pt>
                <c:pt idx="930">
                  <c:v>-0.32023690999999999</c:v>
                </c:pt>
                <c:pt idx="931">
                  <c:v>-0.32003988</c:v>
                </c:pt>
                <c:pt idx="932">
                  <c:v>-0.31984424</c:v>
                </c:pt>
                <c:pt idx="933">
                  <c:v>-0.31964893</c:v>
                </c:pt>
                <c:pt idx="934">
                  <c:v>-0.31945203</c:v>
                </c:pt>
                <c:pt idx="935">
                  <c:v>-0.31925607</c:v>
                </c:pt>
                <c:pt idx="936">
                  <c:v>-0.31906085000000001</c:v>
                </c:pt>
                <c:pt idx="937">
                  <c:v>-0.31886377999999999</c:v>
                </c:pt>
                <c:pt idx="938">
                  <c:v>-0.31866871000000002</c:v>
                </c:pt>
                <c:pt idx="939">
                  <c:v>-0.31847305999999997</c:v>
                </c:pt>
                <c:pt idx="940">
                  <c:v>-0.31827697999999999</c:v>
                </c:pt>
                <c:pt idx="941">
                  <c:v>-0.31808175</c:v>
                </c:pt>
                <c:pt idx="942">
                  <c:v>-0.31788607000000002</c:v>
                </c:pt>
                <c:pt idx="943">
                  <c:v>-0.31769109000000001</c:v>
                </c:pt>
                <c:pt idx="944">
                  <c:v>-0.31749582999999998</c:v>
                </c:pt>
                <c:pt idx="945">
                  <c:v>-0.31729922999999999</c:v>
                </c:pt>
                <c:pt idx="946">
                  <c:v>-0.31710448000000002</c:v>
                </c:pt>
                <c:pt idx="947">
                  <c:v>-0.31691047</c:v>
                </c:pt>
                <c:pt idx="948">
                  <c:v>-0.31671412999999998</c:v>
                </c:pt>
                <c:pt idx="949">
                  <c:v>-0.31651849999999998</c:v>
                </c:pt>
                <c:pt idx="950">
                  <c:v>-0.31632473999999999</c:v>
                </c:pt>
                <c:pt idx="951">
                  <c:v>-0.3161293</c:v>
                </c:pt>
                <c:pt idx="952">
                  <c:v>-0.31593513000000001</c:v>
                </c:pt>
                <c:pt idx="953">
                  <c:v>-0.31573958000000002</c:v>
                </c:pt>
                <c:pt idx="954">
                  <c:v>-0.31554518999999998</c:v>
                </c:pt>
                <c:pt idx="955">
                  <c:v>-0.31535048999999998</c:v>
                </c:pt>
                <c:pt idx="956">
                  <c:v>-0.31515679000000002</c:v>
                </c:pt>
                <c:pt idx="957">
                  <c:v>-0.31496129</c:v>
                </c:pt>
                <c:pt idx="958">
                  <c:v>-0.31476725</c:v>
                </c:pt>
                <c:pt idx="959">
                  <c:v>-0.31457301999999998</c:v>
                </c:pt>
                <c:pt idx="960">
                  <c:v>-0.31437896999999998</c:v>
                </c:pt>
                <c:pt idx="961">
                  <c:v>-0.31418347000000002</c:v>
                </c:pt>
                <c:pt idx="962">
                  <c:v>-0.31399023999999998</c:v>
                </c:pt>
                <c:pt idx="963">
                  <c:v>-0.31379490999999998</c:v>
                </c:pt>
                <c:pt idx="964">
                  <c:v>-0.31360225000000003</c:v>
                </c:pt>
                <c:pt idx="965">
                  <c:v>-0.31340773999999999</c:v>
                </c:pt>
                <c:pt idx="966">
                  <c:v>-0.31321415000000002</c:v>
                </c:pt>
                <c:pt idx="967">
                  <c:v>-0.31301997999999998</c:v>
                </c:pt>
                <c:pt idx="968">
                  <c:v>-0.31282621999999999</c:v>
                </c:pt>
                <c:pt idx="969">
                  <c:v>-0.31263291999999998</c:v>
                </c:pt>
                <c:pt idx="970">
                  <c:v>-0.31243858000000002</c:v>
                </c:pt>
                <c:pt idx="971">
                  <c:v>-0.31224543999999999</c:v>
                </c:pt>
                <c:pt idx="972">
                  <c:v>-0.31205343000000002</c:v>
                </c:pt>
                <c:pt idx="973">
                  <c:v>-0.31185826</c:v>
                </c:pt>
                <c:pt idx="974">
                  <c:v>-0.31166507999999998</c:v>
                </c:pt>
                <c:pt idx="975">
                  <c:v>-0.31147239999999998</c:v>
                </c:pt>
                <c:pt idx="976">
                  <c:v>-0.31127927999999999</c:v>
                </c:pt>
                <c:pt idx="977">
                  <c:v>-0.31108557999999997</c:v>
                </c:pt>
                <c:pt idx="978">
                  <c:v>-0.31089250000000002</c:v>
                </c:pt>
                <c:pt idx="979">
                  <c:v>-0.31069945999999998</c:v>
                </c:pt>
                <c:pt idx="980">
                  <c:v>-0.31050674</c:v>
                </c:pt>
                <c:pt idx="981">
                  <c:v>-0.31031385</c:v>
                </c:pt>
                <c:pt idx="982">
                  <c:v>-0.31012081000000002</c:v>
                </c:pt>
                <c:pt idx="983">
                  <c:v>-0.30992855000000002</c:v>
                </c:pt>
                <c:pt idx="984">
                  <c:v>-0.30973557000000002</c:v>
                </c:pt>
                <c:pt idx="985">
                  <c:v>-0.30954308000000003</c:v>
                </c:pt>
                <c:pt idx="986">
                  <c:v>-0.30935042000000001</c:v>
                </c:pt>
                <c:pt idx="987">
                  <c:v>-0.30915782000000003</c:v>
                </c:pt>
                <c:pt idx="988">
                  <c:v>-0.30896596999999998</c:v>
                </c:pt>
                <c:pt idx="989">
                  <c:v>-0.30877237000000002</c:v>
                </c:pt>
                <c:pt idx="990">
                  <c:v>-0.30858170000000001</c:v>
                </c:pt>
                <c:pt idx="991">
                  <c:v>-0.30838872000000001</c:v>
                </c:pt>
                <c:pt idx="992">
                  <c:v>-0.30819695000000003</c:v>
                </c:pt>
                <c:pt idx="993">
                  <c:v>-0.30800567000000001</c:v>
                </c:pt>
                <c:pt idx="994">
                  <c:v>-0.30781236000000001</c:v>
                </c:pt>
                <c:pt idx="995">
                  <c:v>-0.30761979</c:v>
                </c:pt>
                <c:pt idx="996">
                  <c:v>-0.30742914999999998</c:v>
                </c:pt>
                <c:pt idx="997">
                  <c:v>-0.30723718</c:v>
                </c:pt>
                <c:pt idx="998">
                  <c:v>-0.30704543000000001</c:v>
                </c:pt>
                <c:pt idx="999">
                  <c:v>-0.30685405999999998</c:v>
                </c:pt>
                <c:pt idx="1000">
                  <c:v>-0.30666265999999998</c:v>
                </c:pt>
                <c:pt idx="1001">
                  <c:v>-0.30647073000000002</c:v>
                </c:pt>
                <c:pt idx="1002">
                  <c:v>-0.30627904</c:v>
                </c:pt>
                <c:pt idx="1003">
                  <c:v>-0.30608765999999998</c:v>
                </c:pt>
                <c:pt idx="1004">
                  <c:v>-0.30589595000000003</c:v>
                </c:pt>
                <c:pt idx="1005">
                  <c:v>-0.30570482999999998</c:v>
                </c:pt>
                <c:pt idx="1006">
                  <c:v>-0.30551388000000002</c:v>
                </c:pt>
                <c:pt idx="1007">
                  <c:v>-0.30532239999999999</c:v>
                </c:pt>
                <c:pt idx="1008">
                  <c:v>-0.30513205999999998</c:v>
                </c:pt>
                <c:pt idx="1009">
                  <c:v>-0.30494057000000002</c:v>
                </c:pt>
                <c:pt idx="1010">
                  <c:v>-0.30475007999999998</c:v>
                </c:pt>
                <c:pt idx="1011">
                  <c:v>-0.30455859000000002</c:v>
                </c:pt>
                <c:pt idx="1012">
                  <c:v>-0.30436827999999999</c:v>
                </c:pt>
                <c:pt idx="1013">
                  <c:v>-0.30417759999999999</c:v>
                </c:pt>
                <c:pt idx="1014">
                  <c:v>-0.30398634000000002</c:v>
                </c:pt>
                <c:pt idx="1015">
                  <c:v>-0.30379647999999998</c:v>
                </c:pt>
                <c:pt idx="1016">
                  <c:v>-0.30360614000000002</c:v>
                </c:pt>
                <c:pt idx="1017">
                  <c:v>-0.30341551</c:v>
                </c:pt>
                <c:pt idx="1018">
                  <c:v>-0.30322545000000001</c:v>
                </c:pt>
                <c:pt idx="1019">
                  <c:v>-0.30303447</c:v>
                </c:pt>
                <c:pt idx="1020">
                  <c:v>-0.30284399000000001</c:v>
                </c:pt>
                <c:pt idx="1021">
                  <c:v>-0.30265361000000002</c:v>
                </c:pt>
                <c:pt idx="1022">
                  <c:v>-0.30246392999999999</c:v>
                </c:pt>
                <c:pt idx="1023">
                  <c:v>-0.30227293</c:v>
                </c:pt>
                <c:pt idx="1024">
                  <c:v>-0.30208332999999998</c:v>
                </c:pt>
                <c:pt idx="1025">
                  <c:v>-0.30189347999999999</c:v>
                </c:pt>
                <c:pt idx="1026">
                  <c:v>-0.30170404000000001</c:v>
                </c:pt>
                <c:pt idx="1027">
                  <c:v>-0.30151424999999998</c:v>
                </c:pt>
                <c:pt idx="1028">
                  <c:v>-0.30132428999999999</c:v>
                </c:pt>
                <c:pt idx="1029">
                  <c:v>-0.30113524000000003</c:v>
                </c:pt>
                <c:pt idx="1030">
                  <c:v>-0.30094542000000002</c:v>
                </c:pt>
                <c:pt idx="1031">
                  <c:v>-0.30075568000000003</c:v>
                </c:pt>
                <c:pt idx="1032">
                  <c:v>-0.30056535000000001</c:v>
                </c:pt>
                <c:pt idx="1033">
                  <c:v>-0.30037635000000001</c:v>
                </c:pt>
                <c:pt idx="1034">
                  <c:v>-0.30018718</c:v>
                </c:pt>
                <c:pt idx="1035">
                  <c:v>-0.29999838000000001</c:v>
                </c:pt>
                <c:pt idx="1036">
                  <c:v>-0.29980961</c:v>
                </c:pt>
                <c:pt idx="1037">
                  <c:v>-0.29961956000000001</c:v>
                </c:pt>
                <c:pt idx="1038">
                  <c:v>-0.29943077000000001</c:v>
                </c:pt>
                <c:pt idx="1039">
                  <c:v>-0.2992416</c:v>
                </c:pt>
                <c:pt idx="1040">
                  <c:v>-0.29905321000000001</c:v>
                </c:pt>
                <c:pt idx="1041">
                  <c:v>-0.29886353999999998</c:v>
                </c:pt>
                <c:pt idx="1042">
                  <c:v>-0.29867521000000002</c:v>
                </c:pt>
                <c:pt idx="1043">
                  <c:v>-0.29848669999999999</c:v>
                </c:pt>
                <c:pt idx="1044">
                  <c:v>-0.29829847999999998</c:v>
                </c:pt>
                <c:pt idx="1045">
                  <c:v>-0.29810885999999998</c:v>
                </c:pt>
                <c:pt idx="1046">
                  <c:v>-0.29792132999999998</c:v>
                </c:pt>
                <c:pt idx="1047">
                  <c:v>-0.29773244999999998</c:v>
                </c:pt>
                <c:pt idx="1048">
                  <c:v>-0.29754456000000001</c:v>
                </c:pt>
                <c:pt idx="1049">
                  <c:v>-0.29735544000000003</c:v>
                </c:pt>
                <c:pt idx="1050">
                  <c:v>-0.29716712000000001</c:v>
                </c:pt>
                <c:pt idx="1051">
                  <c:v>-0.29697910999999999</c:v>
                </c:pt>
                <c:pt idx="1052">
                  <c:v>-0.29679118999999998</c:v>
                </c:pt>
                <c:pt idx="1053">
                  <c:v>-0.29660392000000002</c:v>
                </c:pt>
                <c:pt idx="1054">
                  <c:v>-0.29641496000000001</c:v>
                </c:pt>
                <c:pt idx="1055">
                  <c:v>-0.29622668000000002</c:v>
                </c:pt>
                <c:pt idx="1056">
                  <c:v>-0.29603913999999998</c:v>
                </c:pt>
                <c:pt idx="1057">
                  <c:v>-0.29585116</c:v>
                </c:pt>
                <c:pt idx="1058">
                  <c:v>-0.29566400999999998</c:v>
                </c:pt>
                <c:pt idx="1059">
                  <c:v>-0.29547567000000002</c:v>
                </c:pt>
                <c:pt idx="1060">
                  <c:v>-0.29528799999999999</c:v>
                </c:pt>
                <c:pt idx="1061">
                  <c:v>-0.29510080999999999</c:v>
                </c:pt>
                <c:pt idx="1062">
                  <c:v>-0.29491337000000001</c:v>
                </c:pt>
                <c:pt idx="1063">
                  <c:v>-0.29472616000000001</c:v>
                </c:pt>
                <c:pt idx="1064">
                  <c:v>-0.29453868999999999</c:v>
                </c:pt>
                <c:pt idx="1065">
                  <c:v>-0.29435204999999998</c:v>
                </c:pt>
                <c:pt idx="1066">
                  <c:v>-0.29416430999999998</c:v>
                </c:pt>
                <c:pt idx="1067">
                  <c:v>-0.29397748000000001</c:v>
                </c:pt>
                <c:pt idx="1068">
                  <c:v>-0.29379012999999998</c:v>
                </c:pt>
                <c:pt idx="1069">
                  <c:v>-0.29360260999999999</c:v>
                </c:pt>
                <c:pt idx="1070">
                  <c:v>-0.29341524000000002</c:v>
                </c:pt>
                <c:pt idx="1071">
                  <c:v>-0.29322903</c:v>
                </c:pt>
                <c:pt idx="1072">
                  <c:v>-0.29304238999999999</c:v>
                </c:pt>
                <c:pt idx="1073">
                  <c:v>-0.29285566000000002</c:v>
                </c:pt>
                <c:pt idx="1074">
                  <c:v>-0.29266941000000002</c:v>
                </c:pt>
                <c:pt idx="1075">
                  <c:v>-0.29248232000000002</c:v>
                </c:pt>
                <c:pt idx="1076">
                  <c:v>-0.29229588000000001</c:v>
                </c:pt>
                <c:pt idx="1077">
                  <c:v>-0.29210952000000001</c:v>
                </c:pt>
                <c:pt idx="1078">
                  <c:v>-0.29192264000000001</c:v>
                </c:pt>
                <c:pt idx="1079">
                  <c:v>-0.29173710000000003</c:v>
                </c:pt>
                <c:pt idx="1080">
                  <c:v>-0.29154944999999999</c:v>
                </c:pt>
                <c:pt idx="1081">
                  <c:v>-0.29136505000000001</c:v>
                </c:pt>
                <c:pt idx="1082">
                  <c:v>-0.29117795000000002</c:v>
                </c:pt>
                <c:pt idx="1083">
                  <c:v>-0.29099235000000001</c:v>
                </c:pt>
                <c:pt idx="1084">
                  <c:v>-0.29080591</c:v>
                </c:pt>
                <c:pt idx="1085">
                  <c:v>-0.29061962000000002</c:v>
                </c:pt>
                <c:pt idx="1086">
                  <c:v>-0.29043433000000002</c:v>
                </c:pt>
                <c:pt idx="1087">
                  <c:v>-0.29024843</c:v>
                </c:pt>
                <c:pt idx="1088">
                  <c:v>-0.29006203000000003</c:v>
                </c:pt>
                <c:pt idx="1089">
                  <c:v>-0.28987742999999999</c:v>
                </c:pt>
                <c:pt idx="1090">
                  <c:v>-0.28969057999999998</c:v>
                </c:pt>
                <c:pt idx="1091">
                  <c:v>-0.28950546999999999</c:v>
                </c:pt>
                <c:pt idx="1092">
                  <c:v>-0.28932048999999999</c:v>
                </c:pt>
                <c:pt idx="1093">
                  <c:v>-0.28913475</c:v>
                </c:pt>
                <c:pt idx="1094">
                  <c:v>-0.28894994000000002</c:v>
                </c:pt>
                <c:pt idx="1095">
                  <c:v>-0.28876370000000001</c:v>
                </c:pt>
                <c:pt idx="1096">
                  <c:v>-0.28857960999999999</c:v>
                </c:pt>
                <c:pt idx="1097">
                  <c:v>-0.28839334</c:v>
                </c:pt>
                <c:pt idx="1098">
                  <c:v>-0.28820931999999999</c:v>
                </c:pt>
                <c:pt idx="1099">
                  <c:v>-0.28802385000000003</c:v>
                </c:pt>
                <c:pt idx="1100">
                  <c:v>-0.28783845000000002</c:v>
                </c:pt>
                <c:pt idx="1101">
                  <c:v>-0.28765380000000002</c:v>
                </c:pt>
                <c:pt idx="1102">
                  <c:v>-0.28746896999999999</c:v>
                </c:pt>
                <c:pt idx="1103">
                  <c:v>-0.28728429</c:v>
                </c:pt>
                <c:pt idx="1104">
                  <c:v>-0.28710026999999999</c:v>
                </c:pt>
                <c:pt idx="1105">
                  <c:v>-0.28691471000000002</c:v>
                </c:pt>
                <c:pt idx="1106">
                  <c:v>-0.28673066000000003</c:v>
                </c:pt>
                <c:pt idx="1107">
                  <c:v>-0.28654568000000002</c:v>
                </c:pt>
                <c:pt idx="1108">
                  <c:v>-0.28636292000000002</c:v>
                </c:pt>
                <c:pt idx="1109">
                  <c:v>-0.28617757999999999</c:v>
                </c:pt>
                <c:pt idx="1110">
                  <c:v>-0.28599323999999998</c:v>
                </c:pt>
                <c:pt idx="1111">
                  <c:v>-0.28580862000000001</c:v>
                </c:pt>
                <c:pt idx="1112">
                  <c:v>-0.28562423999999997</c:v>
                </c:pt>
                <c:pt idx="1113">
                  <c:v>-0.28544043000000002</c:v>
                </c:pt>
                <c:pt idx="1114">
                  <c:v>-0.28525625999999998</c:v>
                </c:pt>
                <c:pt idx="1115">
                  <c:v>-0.28507283999999999</c:v>
                </c:pt>
                <c:pt idx="1116">
                  <c:v>-0.28488891</c:v>
                </c:pt>
                <c:pt idx="1117">
                  <c:v>-0.28470471000000003</c:v>
                </c:pt>
                <c:pt idx="1118">
                  <c:v>-0.28452159999999999</c:v>
                </c:pt>
                <c:pt idx="1119">
                  <c:v>-0.28433820999999998</c:v>
                </c:pt>
                <c:pt idx="1120">
                  <c:v>-0.28415435</c:v>
                </c:pt>
                <c:pt idx="1121">
                  <c:v>-0.28397028000000002</c:v>
                </c:pt>
                <c:pt idx="1122">
                  <c:v>-0.28378709000000002</c:v>
                </c:pt>
                <c:pt idx="1123">
                  <c:v>-0.28360398999999997</c:v>
                </c:pt>
                <c:pt idx="1124">
                  <c:v>-0.28342044999999999</c:v>
                </c:pt>
                <c:pt idx="1125">
                  <c:v>-0.28323704999999999</c:v>
                </c:pt>
                <c:pt idx="1126">
                  <c:v>-0.28305399999999997</c:v>
                </c:pt>
                <c:pt idx="1127">
                  <c:v>-0.28286991</c:v>
                </c:pt>
                <c:pt idx="1128">
                  <c:v>-0.28268694999999999</c:v>
                </c:pt>
                <c:pt idx="1129">
                  <c:v>-0.28250399999999998</c:v>
                </c:pt>
                <c:pt idx="1130">
                  <c:v>-0.28232055</c:v>
                </c:pt>
                <c:pt idx="1131">
                  <c:v>-0.28213816000000003</c:v>
                </c:pt>
                <c:pt idx="1132">
                  <c:v>-0.2819566</c:v>
                </c:pt>
                <c:pt idx="1133">
                  <c:v>-0.28177259999999998</c:v>
                </c:pt>
                <c:pt idx="1134">
                  <c:v>-0.28158917</c:v>
                </c:pt>
                <c:pt idx="1135">
                  <c:v>-0.28140705999999999</c:v>
                </c:pt>
                <c:pt idx="1136">
                  <c:v>-0.28122522</c:v>
                </c:pt>
                <c:pt idx="1137">
                  <c:v>-0.28104275000000001</c:v>
                </c:pt>
                <c:pt idx="1138">
                  <c:v>-0.28085967000000001</c:v>
                </c:pt>
                <c:pt idx="1139">
                  <c:v>-0.28067800999999998</c:v>
                </c:pt>
                <c:pt idx="1140">
                  <c:v>-0.28049592000000001</c:v>
                </c:pt>
                <c:pt idx="1141">
                  <c:v>-0.28031155000000002</c:v>
                </c:pt>
                <c:pt idx="1142">
                  <c:v>-0.28013009999999999</c:v>
                </c:pt>
                <c:pt idx="1143">
                  <c:v>-0.27994878000000001</c:v>
                </c:pt>
                <c:pt idx="1144">
                  <c:v>-0.27976598000000003</c:v>
                </c:pt>
                <c:pt idx="1145">
                  <c:v>-0.27958367000000001</c:v>
                </c:pt>
                <c:pt idx="1146">
                  <c:v>-0.27940139000000003</c:v>
                </c:pt>
                <c:pt idx="1147">
                  <c:v>-0.27922095000000002</c:v>
                </c:pt>
                <c:pt idx="1148">
                  <c:v>-0.27903948000000001</c:v>
                </c:pt>
                <c:pt idx="1149">
                  <c:v>-0.27885589999999999</c:v>
                </c:pt>
                <c:pt idx="1150">
                  <c:v>-0.27867597999999999</c:v>
                </c:pt>
                <c:pt idx="1151">
                  <c:v>-0.27849341</c:v>
                </c:pt>
                <c:pt idx="1152">
                  <c:v>-0.27831239000000002</c:v>
                </c:pt>
                <c:pt idx="1153">
                  <c:v>-0.27813085999999998</c:v>
                </c:pt>
                <c:pt idx="1154">
                  <c:v>-0.27794904999999998</c:v>
                </c:pt>
                <c:pt idx="1155">
                  <c:v>-0.27776865000000001</c:v>
                </c:pt>
                <c:pt idx="1156">
                  <c:v>-0.27758764000000002</c:v>
                </c:pt>
                <c:pt idx="1157">
                  <c:v>-0.27740568999999998</c:v>
                </c:pt>
                <c:pt idx="1158">
                  <c:v>-0.27722390000000002</c:v>
                </c:pt>
                <c:pt idx="1159">
                  <c:v>-0.27704308999999999</c:v>
                </c:pt>
                <c:pt idx="1160">
                  <c:v>-0.27686179</c:v>
                </c:pt>
                <c:pt idx="1161">
                  <c:v>-0.27668093999999999</c:v>
                </c:pt>
                <c:pt idx="1162">
                  <c:v>-0.27650033000000002</c:v>
                </c:pt>
                <c:pt idx="1163">
                  <c:v>-0.27632008000000002</c:v>
                </c:pt>
                <c:pt idx="1164">
                  <c:v>-0.27613879000000002</c:v>
                </c:pt>
                <c:pt idx="1165">
                  <c:v>-0.27595860999999999</c:v>
                </c:pt>
                <c:pt idx="1166">
                  <c:v>-0.27577802000000001</c:v>
                </c:pt>
                <c:pt idx="1167">
                  <c:v>-0.27559800000000001</c:v>
                </c:pt>
                <c:pt idx="1168">
                  <c:v>-0.27541673</c:v>
                </c:pt>
                <c:pt idx="1169">
                  <c:v>-0.27523709000000002</c:v>
                </c:pt>
                <c:pt idx="1170">
                  <c:v>-0.27505665000000001</c:v>
                </c:pt>
                <c:pt idx="1171">
                  <c:v>-0.27487707</c:v>
                </c:pt>
                <c:pt idx="1172">
                  <c:v>-0.27469495999999999</c:v>
                </c:pt>
                <c:pt idx="1173">
                  <c:v>-0.27451555</c:v>
                </c:pt>
                <c:pt idx="1174">
                  <c:v>-0.27433499</c:v>
                </c:pt>
                <c:pt idx="1175">
                  <c:v>-0.27415467999999998</c:v>
                </c:pt>
                <c:pt idx="1176">
                  <c:v>-0.27397473999999999</c:v>
                </c:pt>
                <c:pt idx="1177">
                  <c:v>-0.2737945</c:v>
                </c:pt>
                <c:pt idx="1178">
                  <c:v>-0.27361512999999998</c:v>
                </c:pt>
                <c:pt idx="1179">
                  <c:v>-0.27343550999999999</c:v>
                </c:pt>
                <c:pt idx="1180">
                  <c:v>-0.27325578</c:v>
                </c:pt>
                <c:pt idx="1181">
                  <c:v>-0.27307661</c:v>
                </c:pt>
                <c:pt idx="1182">
                  <c:v>-0.27289618999999998</c:v>
                </c:pt>
                <c:pt idx="1183">
                  <c:v>-0.27271615999999999</c:v>
                </c:pt>
                <c:pt idx="1184">
                  <c:v>-0.27253770999999999</c:v>
                </c:pt>
                <c:pt idx="1185">
                  <c:v>-0.27235854999999998</c:v>
                </c:pt>
                <c:pt idx="1186">
                  <c:v>-0.27217933</c:v>
                </c:pt>
                <c:pt idx="1187">
                  <c:v>-0.27199973999999999</c:v>
                </c:pt>
                <c:pt idx="1188">
                  <c:v>-0.27182002999999999</c:v>
                </c:pt>
                <c:pt idx="1189">
                  <c:v>-0.27164057000000003</c:v>
                </c:pt>
                <c:pt idx="1190">
                  <c:v>-0.27146236000000001</c:v>
                </c:pt>
                <c:pt idx="1191">
                  <c:v>-0.27128327000000002</c:v>
                </c:pt>
                <c:pt idx="1192">
                  <c:v>-0.27110394999999998</c:v>
                </c:pt>
                <c:pt idx="1193">
                  <c:v>-0.27092642</c:v>
                </c:pt>
                <c:pt idx="1194">
                  <c:v>-0.27074711000000001</c:v>
                </c:pt>
                <c:pt idx="1195">
                  <c:v>-0.27056930000000001</c:v>
                </c:pt>
                <c:pt idx="1196">
                  <c:v>-0.27038916000000002</c:v>
                </c:pt>
                <c:pt idx="1197">
                  <c:v>-0.2702098</c:v>
                </c:pt>
                <c:pt idx="1198">
                  <c:v>-0.27003253999999999</c:v>
                </c:pt>
                <c:pt idx="1199">
                  <c:v>-0.26985417</c:v>
                </c:pt>
                <c:pt idx="1200">
                  <c:v>-0.26967448999999999</c:v>
                </c:pt>
                <c:pt idx="1201">
                  <c:v>-0.26949694000000002</c:v>
                </c:pt>
                <c:pt idx="1202">
                  <c:v>-0.26931850000000002</c:v>
                </c:pt>
                <c:pt idx="1203">
                  <c:v>-0.26913999</c:v>
                </c:pt>
                <c:pt idx="1204">
                  <c:v>-0.26896219999999998</c:v>
                </c:pt>
                <c:pt idx="1205">
                  <c:v>-0.26878395999999999</c:v>
                </c:pt>
                <c:pt idx="1206">
                  <c:v>-0.26860745000000003</c:v>
                </c:pt>
                <c:pt idx="1207">
                  <c:v>-0.26842880000000002</c:v>
                </c:pt>
                <c:pt idx="1208">
                  <c:v>-0.26825160999999997</c:v>
                </c:pt>
                <c:pt idx="1209">
                  <c:v>-0.2680729</c:v>
                </c:pt>
                <c:pt idx="1210">
                  <c:v>-0.26789455000000001</c:v>
                </c:pt>
                <c:pt idx="1211">
                  <c:v>-0.26771776000000003</c:v>
                </c:pt>
                <c:pt idx="1212">
                  <c:v>-0.26754022</c:v>
                </c:pt>
                <c:pt idx="1213">
                  <c:v>-0.26736135999999999</c:v>
                </c:pt>
                <c:pt idx="1214">
                  <c:v>-0.26718439999999999</c:v>
                </c:pt>
                <c:pt idx="1215">
                  <c:v>-0.26700815999999999</c:v>
                </c:pt>
                <c:pt idx="1216">
                  <c:v>-0.26682905000000001</c:v>
                </c:pt>
                <c:pt idx="1217">
                  <c:v>-0.26665272000000001</c:v>
                </c:pt>
                <c:pt idx="1218">
                  <c:v>-0.26647560999999997</c:v>
                </c:pt>
                <c:pt idx="1219">
                  <c:v>-0.26629773000000001</c:v>
                </c:pt>
                <c:pt idx="1220">
                  <c:v>-0.26612142</c:v>
                </c:pt>
                <c:pt idx="1221">
                  <c:v>-0.26594405999999998</c:v>
                </c:pt>
                <c:pt idx="1222">
                  <c:v>-0.26576787000000002</c:v>
                </c:pt>
                <c:pt idx="1223">
                  <c:v>-0.26558994000000002</c:v>
                </c:pt>
                <c:pt idx="1224">
                  <c:v>-0.26541294999999998</c:v>
                </c:pt>
                <c:pt idx="1225">
                  <c:v>-0.26523602000000002</c:v>
                </c:pt>
                <c:pt idx="1226">
                  <c:v>-0.26505889999999999</c:v>
                </c:pt>
                <c:pt idx="1227">
                  <c:v>-0.2648836</c:v>
                </c:pt>
                <c:pt idx="1228">
                  <c:v>-0.26470716999999999</c:v>
                </c:pt>
                <c:pt idx="1229">
                  <c:v>-0.26453024000000003</c:v>
                </c:pt>
                <c:pt idx="1230">
                  <c:v>-0.26435355999999999</c:v>
                </c:pt>
                <c:pt idx="1231">
                  <c:v>-0.26417805999999999</c:v>
                </c:pt>
                <c:pt idx="1232">
                  <c:v>-0.26400057999999998</c:v>
                </c:pt>
                <c:pt idx="1233">
                  <c:v>-0.26382440000000001</c:v>
                </c:pt>
                <c:pt idx="1234">
                  <c:v>-0.26364847000000002</c:v>
                </c:pt>
                <c:pt idx="1235">
                  <c:v>-0.26347267000000002</c:v>
                </c:pt>
                <c:pt idx="1236">
                  <c:v>-0.26329562000000001</c:v>
                </c:pt>
                <c:pt idx="1237">
                  <c:v>-0.26312032000000002</c:v>
                </c:pt>
                <c:pt idx="1238">
                  <c:v>-0.26294438999999997</c:v>
                </c:pt>
                <c:pt idx="1239">
                  <c:v>-0.26276783999999997</c:v>
                </c:pt>
                <c:pt idx="1240">
                  <c:v>-0.26259272</c:v>
                </c:pt>
                <c:pt idx="1241">
                  <c:v>-0.26241772000000002</c:v>
                </c:pt>
                <c:pt idx="1242">
                  <c:v>-0.26224148000000003</c:v>
                </c:pt>
                <c:pt idx="1243">
                  <c:v>-0.26206507000000001</c:v>
                </c:pt>
                <c:pt idx="1244">
                  <c:v>-0.26188993999999999</c:v>
                </c:pt>
                <c:pt idx="1245">
                  <c:v>-0.26171495</c:v>
                </c:pt>
                <c:pt idx="1246">
                  <c:v>-0.26153871000000001</c:v>
                </c:pt>
                <c:pt idx="1247">
                  <c:v>-0.26136495999999998</c:v>
                </c:pt>
                <c:pt idx="1248">
                  <c:v>-0.26118882999999998</c:v>
                </c:pt>
                <c:pt idx="1249">
                  <c:v>-0.26101274000000002</c:v>
                </c:pt>
                <c:pt idx="1250">
                  <c:v>-0.26083772</c:v>
                </c:pt>
                <c:pt idx="1251">
                  <c:v>-0.26066354000000003</c:v>
                </c:pt>
                <c:pt idx="1252">
                  <c:v>-0.26048895999999999</c:v>
                </c:pt>
                <c:pt idx="1253">
                  <c:v>-0.26031249000000001</c:v>
                </c:pt>
                <c:pt idx="1254">
                  <c:v>-0.26013785</c:v>
                </c:pt>
                <c:pt idx="1255">
                  <c:v>-0.25996217999999999</c:v>
                </c:pt>
                <c:pt idx="1256">
                  <c:v>-0.25978868999999999</c:v>
                </c:pt>
                <c:pt idx="1257">
                  <c:v>-0.25961348000000001</c:v>
                </c:pt>
                <c:pt idx="1258">
                  <c:v>-0.25943961999999998</c:v>
                </c:pt>
                <c:pt idx="1259">
                  <c:v>-0.25926329999999997</c:v>
                </c:pt>
                <c:pt idx="1260">
                  <c:v>-0.25908945</c:v>
                </c:pt>
                <c:pt idx="1261">
                  <c:v>-0.25891537999999997</c:v>
                </c:pt>
                <c:pt idx="1262">
                  <c:v>-0.25874160000000002</c:v>
                </c:pt>
                <c:pt idx="1263">
                  <c:v>-0.25856750000000001</c:v>
                </c:pt>
                <c:pt idx="1264">
                  <c:v>-0.25839295000000001</c:v>
                </c:pt>
                <c:pt idx="1265">
                  <c:v>-0.25821667999999998</c:v>
                </c:pt>
                <c:pt idx="1266">
                  <c:v>-0.25804429000000001</c:v>
                </c:pt>
                <c:pt idx="1267">
                  <c:v>-0.25786919000000003</c:v>
                </c:pt>
                <c:pt idx="1268">
                  <c:v>-0.25769576</c:v>
                </c:pt>
                <c:pt idx="1269">
                  <c:v>-0.25752220999999997</c:v>
                </c:pt>
                <c:pt idx="1270">
                  <c:v>-0.25734959000000002</c:v>
                </c:pt>
                <c:pt idx="1271">
                  <c:v>-0.25717372999999999</c:v>
                </c:pt>
                <c:pt idx="1272">
                  <c:v>-0.25699956000000002</c:v>
                </c:pt>
                <c:pt idx="1273">
                  <c:v>-0.25682709999999997</c:v>
                </c:pt>
                <c:pt idx="1274">
                  <c:v>-0.25665373000000002</c:v>
                </c:pt>
                <c:pt idx="1275">
                  <c:v>-0.25647986</c:v>
                </c:pt>
                <c:pt idx="1276">
                  <c:v>-0.25630574</c:v>
                </c:pt>
                <c:pt idx="1277">
                  <c:v>-0.25613329000000001</c:v>
                </c:pt>
                <c:pt idx="1278">
                  <c:v>-0.25596010000000002</c:v>
                </c:pt>
                <c:pt idx="1279">
                  <c:v>-0.25578571999999999</c:v>
                </c:pt>
                <c:pt idx="1280">
                  <c:v>-0.25561358000000001</c:v>
                </c:pt>
                <c:pt idx="1281">
                  <c:v>-0.25544043999999999</c:v>
                </c:pt>
                <c:pt idx="1282">
                  <c:v>-0.25526681000000001</c:v>
                </c:pt>
                <c:pt idx="1283">
                  <c:v>-0.25509292</c:v>
                </c:pt>
                <c:pt idx="1284">
                  <c:v>-0.25491922</c:v>
                </c:pt>
                <c:pt idx="1285">
                  <c:v>-0.25474806</c:v>
                </c:pt>
                <c:pt idx="1286">
                  <c:v>-0.25457442000000002</c:v>
                </c:pt>
                <c:pt idx="1287">
                  <c:v>-0.25440207999999997</c:v>
                </c:pt>
                <c:pt idx="1288">
                  <c:v>-0.25422916000000001</c:v>
                </c:pt>
                <c:pt idx="1289">
                  <c:v>-0.25405657999999998</c:v>
                </c:pt>
                <c:pt idx="1290">
                  <c:v>-0.25388368</c:v>
                </c:pt>
                <c:pt idx="1291">
                  <c:v>-0.25371062999999999</c:v>
                </c:pt>
                <c:pt idx="1292">
                  <c:v>-0.25353852999999998</c:v>
                </c:pt>
                <c:pt idx="1293">
                  <c:v>-0.25336631999999998</c:v>
                </c:pt>
                <c:pt idx="1294">
                  <c:v>-0.25319425000000001</c:v>
                </c:pt>
                <c:pt idx="1295">
                  <c:v>-0.25302233000000002</c:v>
                </c:pt>
                <c:pt idx="1296">
                  <c:v>-0.25284835999999999</c:v>
                </c:pt>
                <c:pt idx="1297">
                  <c:v>-0.25267730999999999</c:v>
                </c:pt>
                <c:pt idx="1298">
                  <c:v>-0.25250456999999998</c:v>
                </c:pt>
                <c:pt idx="1299">
                  <c:v>-0.25233343000000003</c:v>
                </c:pt>
                <c:pt idx="1300">
                  <c:v>-0.25216216000000002</c:v>
                </c:pt>
                <c:pt idx="1301">
                  <c:v>-0.25198968999999999</c:v>
                </c:pt>
                <c:pt idx="1302">
                  <c:v>-0.25181841999999999</c:v>
                </c:pt>
                <c:pt idx="1303">
                  <c:v>-0.25164595000000001</c:v>
                </c:pt>
                <c:pt idx="1304">
                  <c:v>-0.25147311</c:v>
                </c:pt>
                <c:pt idx="1305">
                  <c:v>-0.25130209999999997</c:v>
                </c:pt>
                <c:pt idx="1306">
                  <c:v>-0.25113122999999998</c:v>
                </c:pt>
                <c:pt idx="1307">
                  <c:v>-0.25095909999999999</c:v>
                </c:pt>
                <c:pt idx="1308">
                  <c:v>-0.25078752999999998</c:v>
                </c:pt>
                <c:pt idx="1309">
                  <c:v>-0.25061696999999999</c:v>
                </c:pt>
                <c:pt idx="1310">
                  <c:v>-0.25044620000000001</c:v>
                </c:pt>
                <c:pt idx="1311">
                  <c:v>-0.25027332000000002</c:v>
                </c:pt>
                <c:pt idx="1312">
                  <c:v>-0.25010175000000001</c:v>
                </c:pt>
                <c:pt idx="1313">
                  <c:v>-0.24993277</c:v>
                </c:pt>
                <c:pt idx="1314">
                  <c:v>-0.24976124</c:v>
                </c:pt>
                <c:pt idx="1315">
                  <c:v>-0.24958910000000001</c:v>
                </c:pt>
                <c:pt idx="1316">
                  <c:v>-0.24941954</c:v>
                </c:pt>
                <c:pt idx="1317">
                  <c:v>-0.24924789999999999</c:v>
                </c:pt>
                <c:pt idx="1318">
                  <c:v>-0.24907649000000001</c:v>
                </c:pt>
                <c:pt idx="1319">
                  <c:v>-0.24890581000000001</c:v>
                </c:pt>
                <c:pt idx="1320">
                  <c:v>-0.24873518999999999</c:v>
                </c:pt>
                <c:pt idx="1321">
                  <c:v>-0.24856470999999999</c:v>
                </c:pt>
                <c:pt idx="1322">
                  <c:v>-0.24839478000000001</c:v>
                </c:pt>
                <c:pt idx="1323">
                  <c:v>-0.24822389</c:v>
                </c:pt>
                <c:pt idx="1324">
                  <c:v>-0.24805372000000001</c:v>
                </c:pt>
                <c:pt idx="1325">
                  <c:v>-0.24788351</c:v>
                </c:pt>
                <c:pt idx="1326">
                  <c:v>-0.2477125</c:v>
                </c:pt>
                <c:pt idx="1327">
                  <c:v>-0.24754161</c:v>
                </c:pt>
                <c:pt idx="1328">
                  <c:v>-0.2473726</c:v>
                </c:pt>
                <c:pt idx="1329">
                  <c:v>-0.24720221000000001</c:v>
                </c:pt>
                <c:pt idx="1330">
                  <c:v>-0.24703163</c:v>
                </c:pt>
                <c:pt idx="1331">
                  <c:v>-0.24686145000000001</c:v>
                </c:pt>
                <c:pt idx="1332">
                  <c:v>-0.24669167</c:v>
                </c:pt>
                <c:pt idx="1333">
                  <c:v>-0.24652288</c:v>
                </c:pt>
                <c:pt idx="1334">
                  <c:v>-0.24635389999999999</c:v>
                </c:pt>
                <c:pt idx="1335">
                  <c:v>-0.24618355</c:v>
                </c:pt>
                <c:pt idx="1336">
                  <c:v>-0.24601285000000001</c:v>
                </c:pt>
                <c:pt idx="1337">
                  <c:v>-0.24584331000000001</c:v>
                </c:pt>
                <c:pt idx="1338">
                  <c:v>-0.24567356000000001</c:v>
                </c:pt>
                <c:pt idx="1339">
                  <c:v>-0.24550464999999999</c:v>
                </c:pt>
                <c:pt idx="1340">
                  <c:v>-0.24533572000000001</c:v>
                </c:pt>
                <c:pt idx="1341">
                  <c:v>-0.24516687000000001</c:v>
                </c:pt>
                <c:pt idx="1342">
                  <c:v>-0.2449971</c:v>
                </c:pt>
                <c:pt idx="1343">
                  <c:v>-0.24482803</c:v>
                </c:pt>
                <c:pt idx="1344">
                  <c:v>-0.24465907000000001</c:v>
                </c:pt>
                <c:pt idx="1345">
                  <c:v>-0.24448914999999999</c:v>
                </c:pt>
                <c:pt idx="1346">
                  <c:v>-0.24432071999999999</c:v>
                </c:pt>
                <c:pt idx="1347">
                  <c:v>-0.24415189000000001</c:v>
                </c:pt>
                <c:pt idx="1348">
                  <c:v>-0.24398304000000001</c:v>
                </c:pt>
                <c:pt idx="1349">
                  <c:v>-0.24381312999999999</c:v>
                </c:pt>
                <c:pt idx="1350">
                  <c:v>-0.24364435000000001</c:v>
                </c:pt>
                <c:pt idx="1351">
                  <c:v>-0.24347621999999999</c:v>
                </c:pt>
                <c:pt idx="1352">
                  <c:v>-0.24330753999999999</c:v>
                </c:pt>
                <c:pt idx="1353">
                  <c:v>-0.24313725999999999</c:v>
                </c:pt>
                <c:pt idx="1354">
                  <c:v>-0.24297110999999999</c:v>
                </c:pt>
                <c:pt idx="1355">
                  <c:v>-0.24280093</c:v>
                </c:pt>
                <c:pt idx="1356">
                  <c:v>-0.24263361999999999</c:v>
                </c:pt>
                <c:pt idx="1357">
                  <c:v>-0.24246427000000001</c:v>
                </c:pt>
                <c:pt idx="1358">
                  <c:v>-0.24229730999999999</c:v>
                </c:pt>
                <c:pt idx="1359">
                  <c:v>-0.24212782999999999</c:v>
                </c:pt>
                <c:pt idx="1360">
                  <c:v>-0.24196023</c:v>
                </c:pt>
                <c:pt idx="1361">
                  <c:v>-0.24179200000000001</c:v>
                </c:pt>
                <c:pt idx="1362">
                  <c:v>-0.24162397999999999</c:v>
                </c:pt>
                <c:pt idx="1363">
                  <c:v>-0.24145658</c:v>
                </c:pt>
                <c:pt idx="1364">
                  <c:v>-0.24128891</c:v>
                </c:pt>
                <c:pt idx="1365">
                  <c:v>-0.24112054999999999</c:v>
                </c:pt>
                <c:pt idx="1366">
                  <c:v>-0.24095352</c:v>
                </c:pt>
                <c:pt idx="1367">
                  <c:v>-0.24078384</c:v>
                </c:pt>
                <c:pt idx="1368">
                  <c:v>-0.24061677000000001</c:v>
                </c:pt>
                <c:pt idx="1369">
                  <c:v>-0.24044936</c:v>
                </c:pt>
                <c:pt idx="1370">
                  <c:v>-0.24028245000000001</c:v>
                </c:pt>
                <c:pt idx="1371">
                  <c:v>-0.24011415</c:v>
                </c:pt>
                <c:pt idx="1372">
                  <c:v>-0.23994726</c:v>
                </c:pt>
                <c:pt idx="1373">
                  <c:v>-0.23977982</c:v>
                </c:pt>
                <c:pt idx="1374">
                  <c:v>-0.23961204</c:v>
                </c:pt>
                <c:pt idx="1375">
                  <c:v>-0.23944557999999999</c:v>
                </c:pt>
                <c:pt idx="1376">
                  <c:v>-0.23927845</c:v>
                </c:pt>
                <c:pt idx="1377">
                  <c:v>-0.23911201000000001</c:v>
                </c:pt>
                <c:pt idx="1378">
                  <c:v>-0.23894420999999999</c:v>
                </c:pt>
                <c:pt idx="1379">
                  <c:v>-0.23877746</c:v>
                </c:pt>
                <c:pt idx="1380">
                  <c:v>-0.23861168999999999</c:v>
                </c:pt>
                <c:pt idx="1381">
                  <c:v>-0.23844398</c:v>
                </c:pt>
                <c:pt idx="1382">
                  <c:v>-0.23827738000000001</c:v>
                </c:pt>
                <c:pt idx="1383">
                  <c:v>-0.23811164000000001</c:v>
                </c:pt>
                <c:pt idx="1384">
                  <c:v>-0.23794385000000001</c:v>
                </c:pt>
                <c:pt idx="1385">
                  <c:v>-0.23777661</c:v>
                </c:pt>
                <c:pt idx="1386">
                  <c:v>-0.23761080000000001</c:v>
                </c:pt>
                <c:pt idx="1387">
                  <c:v>-0.23744480000000001</c:v>
                </c:pt>
                <c:pt idx="1388">
                  <c:v>-0.23727771</c:v>
                </c:pt>
                <c:pt idx="1389">
                  <c:v>-0.2371125</c:v>
                </c:pt>
                <c:pt idx="1390">
                  <c:v>-0.23694510999999999</c:v>
                </c:pt>
                <c:pt idx="1391">
                  <c:v>-0.23677934</c:v>
                </c:pt>
                <c:pt idx="1392">
                  <c:v>-0.23661326999999999</c:v>
                </c:pt>
                <c:pt idx="1393">
                  <c:v>-0.23644728000000001</c:v>
                </c:pt>
                <c:pt idx="1394">
                  <c:v>-0.23628041999999999</c:v>
                </c:pt>
                <c:pt idx="1395">
                  <c:v>-0.23611546999999999</c:v>
                </c:pt>
                <c:pt idx="1396">
                  <c:v>-0.23594956</c:v>
                </c:pt>
                <c:pt idx="1397">
                  <c:v>-0.23578258999999999</c:v>
                </c:pt>
                <c:pt idx="1398">
                  <c:v>-0.23561866000000001</c:v>
                </c:pt>
                <c:pt idx="1399">
                  <c:v>-0.23545121999999999</c:v>
                </c:pt>
                <c:pt idx="1400">
                  <c:v>-0.23528595999999999</c:v>
                </c:pt>
                <c:pt idx="1401">
                  <c:v>-0.23512122999999999</c:v>
                </c:pt>
                <c:pt idx="1402">
                  <c:v>-0.23495675999999999</c:v>
                </c:pt>
                <c:pt idx="1403">
                  <c:v>-0.23478927999999999</c:v>
                </c:pt>
                <c:pt idx="1404">
                  <c:v>-0.23462515</c:v>
                </c:pt>
                <c:pt idx="1405">
                  <c:v>-0.23445817999999999</c:v>
                </c:pt>
                <c:pt idx="1406">
                  <c:v>-0.23429440000000001</c:v>
                </c:pt>
                <c:pt idx="1407">
                  <c:v>-0.23412872000000001</c:v>
                </c:pt>
                <c:pt idx="1408">
                  <c:v>-0.23396353</c:v>
                </c:pt>
                <c:pt idx="1409">
                  <c:v>-0.23380006</c:v>
                </c:pt>
                <c:pt idx="1410">
                  <c:v>-0.23363358000000001</c:v>
                </c:pt>
                <c:pt idx="1411">
                  <c:v>-0.23346853000000001</c:v>
                </c:pt>
                <c:pt idx="1412">
                  <c:v>-0.23330345999999999</c:v>
                </c:pt>
                <c:pt idx="1413">
                  <c:v>-0.23313921000000001</c:v>
                </c:pt>
                <c:pt idx="1414">
                  <c:v>-0.23297403</c:v>
                </c:pt>
                <c:pt idx="1415">
                  <c:v>-0.23281029</c:v>
                </c:pt>
                <c:pt idx="1416">
                  <c:v>-0.23264472</c:v>
                </c:pt>
                <c:pt idx="1417">
                  <c:v>-0.2324794</c:v>
                </c:pt>
                <c:pt idx="1418">
                  <c:v>-0.23231579999999999</c:v>
                </c:pt>
                <c:pt idx="1419">
                  <c:v>-0.23215246</c:v>
                </c:pt>
                <c:pt idx="1420">
                  <c:v>-0.23198733999999999</c:v>
                </c:pt>
                <c:pt idx="1421">
                  <c:v>-0.23182214000000001</c:v>
                </c:pt>
                <c:pt idx="1422">
                  <c:v>-0.23165894000000001</c:v>
                </c:pt>
                <c:pt idx="1423">
                  <c:v>-0.23149600000000001</c:v>
                </c:pt>
                <c:pt idx="1424">
                  <c:v>-0.23132976</c:v>
                </c:pt>
                <c:pt idx="1425">
                  <c:v>-0.23116569000000001</c:v>
                </c:pt>
                <c:pt idx="1426">
                  <c:v>-0.23100216000000001</c:v>
                </c:pt>
                <c:pt idx="1427">
                  <c:v>-0.23083904999999999</c:v>
                </c:pt>
                <c:pt idx="1428">
                  <c:v>-0.2306744</c:v>
                </c:pt>
                <c:pt idx="1429">
                  <c:v>-0.23051146</c:v>
                </c:pt>
                <c:pt idx="1430">
                  <c:v>-0.23034714000000001</c:v>
                </c:pt>
                <c:pt idx="1431">
                  <c:v>-0.23018352</c:v>
                </c:pt>
                <c:pt idx="1432">
                  <c:v>-0.23001970999999999</c:v>
                </c:pt>
                <c:pt idx="1433">
                  <c:v>-0.22985725000000001</c:v>
                </c:pt>
                <c:pt idx="1434">
                  <c:v>-0.22969247000000001</c:v>
                </c:pt>
                <c:pt idx="1435">
                  <c:v>-0.22952953000000001</c:v>
                </c:pt>
                <c:pt idx="1436">
                  <c:v>-0.22936569000000001</c:v>
                </c:pt>
                <c:pt idx="1437">
                  <c:v>-0.22920267999999999</c:v>
                </c:pt>
                <c:pt idx="1438">
                  <c:v>-0.22903989999999999</c:v>
                </c:pt>
                <c:pt idx="1439">
                  <c:v>-0.22887695</c:v>
                </c:pt>
                <c:pt idx="1440">
                  <c:v>-0.22871305</c:v>
                </c:pt>
                <c:pt idx="1441">
                  <c:v>-0.22855015000000001</c:v>
                </c:pt>
                <c:pt idx="1442">
                  <c:v>-0.22838732</c:v>
                </c:pt>
                <c:pt idx="1443">
                  <c:v>-0.22822468000000001</c:v>
                </c:pt>
                <c:pt idx="1444">
                  <c:v>-0.2280615</c:v>
                </c:pt>
                <c:pt idx="1445">
                  <c:v>-0.22789957999999999</c:v>
                </c:pt>
                <c:pt idx="1446">
                  <c:v>-0.22773583</c:v>
                </c:pt>
                <c:pt idx="1447">
                  <c:v>-0.22757395999999999</c:v>
                </c:pt>
                <c:pt idx="1448">
                  <c:v>-0.22741086999999999</c:v>
                </c:pt>
                <c:pt idx="1449">
                  <c:v>-0.22724846000000001</c:v>
                </c:pt>
                <c:pt idx="1450">
                  <c:v>-0.22708542000000001</c:v>
                </c:pt>
                <c:pt idx="1451">
                  <c:v>-0.22692261999999999</c:v>
                </c:pt>
                <c:pt idx="1452">
                  <c:v>-0.22676109999999999</c:v>
                </c:pt>
                <c:pt idx="1453">
                  <c:v>-0.22659947999999999</c:v>
                </c:pt>
                <c:pt idx="1454">
                  <c:v>-0.22643622999999999</c:v>
                </c:pt>
                <c:pt idx="1455">
                  <c:v>-0.22627369</c:v>
                </c:pt>
                <c:pt idx="1456">
                  <c:v>-0.22611259</c:v>
                </c:pt>
                <c:pt idx="1457">
                  <c:v>-0.22594919999999999</c:v>
                </c:pt>
                <c:pt idx="1458">
                  <c:v>-0.22578751999999999</c:v>
                </c:pt>
                <c:pt idx="1459">
                  <c:v>-0.22562644000000001</c:v>
                </c:pt>
                <c:pt idx="1460">
                  <c:v>-0.22546437999999999</c:v>
                </c:pt>
                <c:pt idx="1461">
                  <c:v>-0.22530272000000001</c:v>
                </c:pt>
                <c:pt idx="1462">
                  <c:v>-0.22514087999999999</c:v>
                </c:pt>
                <c:pt idx="1463">
                  <c:v>-0.22497875000000001</c:v>
                </c:pt>
                <c:pt idx="1464">
                  <c:v>-0.22481933000000001</c:v>
                </c:pt>
                <c:pt idx="1465">
                  <c:v>-0.22465644000000001</c:v>
                </c:pt>
                <c:pt idx="1466">
                  <c:v>-0.22449499000000001</c:v>
                </c:pt>
                <c:pt idx="1467">
                  <c:v>-0.22433288000000001</c:v>
                </c:pt>
                <c:pt idx="1468">
                  <c:v>-0.22417138</c:v>
                </c:pt>
                <c:pt idx="1469">
                  <c:v>-0.22401061999999999</c:v>
                </c:pt>
                <c:pt idx="1470">
                  <c:v>-0.22385018000000001</c:v>
                </c:pt>
                <c:pt idx="1471">
                  <c:v>-0.22368773</c:v>
                </c:pt>
                <c:pt idx="1472">
                  <c:v>-0.22352763</c:v>
                </c:pt>
                <c:pt idx="1473">
                  <c:v>-0.2233656</c:v>
                </c:pt>
                <c:pt idx="1474">
                  <c:v>-0.22320455</c:v>
                </c:pt>
                <c:pt idx="1475">
                  <c:v>-0.22304394</c:v>
                </c:pt>
                <c:pt idx="1476">
                  <c:v>-0.22288368</c:v>
                </c:pt>
                <c:pt idx="1477">
                  <c:v>-0.22272212999999999</c:v>
                </c:pt>
                <c:pt idx="1478">
                  <c:v>-0.22256228</c:v>
                </c:pt>
                <c:pt idx="1479">
                  <c:v>-0.22240078999999999</c:v>
                </c:pt>
                <c:pt idx="1480">
                  <c:v>-0.22224055000000001</c:v>
                </c:pt>
                <c:pt idx="1481">
                  <c:v>-0.22207954999999999</c:v>
                </c:pt>
                <c:pt idx="1482">
                  <c:v>-0.22191938</c:v>
                </c:pt>
                <c:pt idx="1483">
                  <c:v>-0.22175885000000001</c:v>
                </c:pt>
                <c:pt idx="1484">
                  <c:v>-0.22159845</c:v>
                </c:pt>
                <c:pt idx="1485">
                  <c:v>-0.22143916</c:v>
                </c:pt>
                <c:pt idx="1486">
                  <c:v>-0.22127781999999999</c:v>
                </c:pt>
                <c:pt idx="1487">
                  <c:v>-0.22111761999999999</c:v>
                </c:pt>
                <c:pt idx="1488">
                  <c:v>-0.22095693</c:v>
                </c:pt>
                <c:pt idx="1489">
                  <c:v>-0.22079772</c:v>
                </c:pt>
                <c:pt idx="1490">
                  <c:v>-0.22063801999999999</c:v>
                </c:pt>
                <c:pt idx="1491">
                  <c:v>-0.22047732</c:v>
                </c:pt>
                <c:pt idx="1492">
                  <c:v>-0.22031702</c:v>
                </c:pt>
                <c:pt idx="1493">
                  <c:v>-0.22015902000000001</c:v>
                </c:pt>
                <c:pt idx="1494">
                  <c:v>-0.21999974999999999</c:v>
                </c:pt>
                <c:pt idx="1495">
                  <c:v>-0.21983878000000001</c:v>
                </c:pt>
                <c:pt idx="1496">
                  <c:v>-0.21967941999999999</c:v>
                </c:pt>
                <c:pt idx="1497">
                  <c:v>-0.21951955000000001</c:v>
                </c:pt>
                <c:pt idx="1498">
                  <c:v>-0.21936079999999999</c:v>
                </c:pt>
                <c:pt idx="1499">
                  <c:v>-0.21920111</c:v>
                </c:pt>
                <c:pt idx="1500">
                  <c:v>-0.21904182</c:v>
                </c:pt>
                <c:pt idx="1501">
                  <c:v>-0.21888181000000001</c:v>
                </c:pt>
                <c:pt idx="1502">
                  <c:v>-0.21872243999999999</c:v>
                </c:pt>
                <c:pt idx="1503">
                  <c:v>-0.21856432000000001</c:v>
                </c:pt>
                <c:pt idx="1504">
                  <c:v>-0.21840599999999999</c:v>
                </c:pt>
                <c:pt idx="1505">
                  <c:v>-0.21824484</c:v>
                </c:pt>
                <c:pt idx="1506">
                  <c:v>-0.21808602999999999</c:v>
                </c:pt>
                <c:pt idx="1507">
                  <c:v>-0.21792729</c:v>
                </c:pt>
                <c:pt idx="1508">
                  <c:v>-0.21776788999999999</c:v>
                </c:pt>
                <c:pt idx="1509">
                  <c:v>-0.2176102</c:v>
                </c:pt>
                <c:pt idx="1510">
                  <c:v>-0.21745153</c:v>
                </c:pt>
                <c:pt idx="1511">
                  <c:v>-0.21729198999999999</c:v>
                </c:pt>
                <c:pt idx="1512">
                  <c:v>-0.21713373999999999</c:v>
                </c:pt>
                <c:pt idx="1513">
                  <c:v>-0.21697614000000001</c:v>
                </c:pt>
                <c:pt idx="1514">
                  <c:v>-0.21681639999999999</c:v>
                </c:pt>
                <c:pt idx="1515">
                  <c:v>-0.21665899999999999</c:v>
                </c:pt>
                <c:pt idx="1516">
                  <c:v>-0.21649994</c:v>
                </c:pt>
                <c:pt idx="1517">
                  <c:v>-0.21634200000000001</c:v>
                </c:pt>
                <c:pt idx="1518">
                  <c:v>-0.21618250999999999</c:v>
                </c:pt>
                <c:pt idx="1519">
                  <c:v>-0.21602494999999999</c:v>
                </c:pt>
                <c:pt idx="1520">
                  <c:v>-0.21586711</c:v>
                </c:pt>
                <c:pt idx="1521">
                  <c:v>-0.21570851999999999</c:v>
                </c:pt>
                <c:pt idx="1522">
                  <c:v>-0.21555065000000001</c:v>
                </c:pt>
                <c:pt idx="1523">
                  <c:v>-0.21539416</c:v>
                </c:pt>
                <c:pt idx="1524">
                  <c:v>-0.21523603999999999</c:v>
                </c:pt>
                <c:pt idx="1525">
                  <c:v>-0.21507736</c:v>
                </c:pt>
                <c:pt idx="1526">
                  <c:v>-0.21492088000000001</c:v>
                </c:pt>
                <c:pt idx="1527">
                  <c:v>-0.21476273000000001</c:v>
                </c:pt>
                <c:pt idx="1528">
                  <c:v>-0.21460545</c:v>
                </c:pt>
                <c:pt idx="1529">
                  <c:v>-0.21444748</c:v>
                </c:pt>
                <c:pt idx="1530">
                  <c:v>-0.21429037000000001</c:v>
                </c:pt>
                <c:pt idx="1531">
                  <c:v>-0.21413175000000001</c:v>
                </c:pt>
                <c:pt idx="1532">
                  <c:v>-0.21397421999999999</c:v>
                </c:pt>
                <c:pt idx="1533">
                  <c:v>-0.2138177</c:v>
                </c:pt>
                <c:pt idx="1534">
                  <c:v>-0.21365976</c:v>
                </c:pt>
                <c:pt idx="1535">
                  <c:v>-0.21350195999999999</c:v>
                </c:pt>
                <c:pt idx="1536">
                  <c:v>-0.21334481</c:v>
                </c:pt>
                <c:pt idx="1537">
                  <c:v>-0.21318883999999999</c:v>
                </c:pt>
                <c:pt idx="1538">
                  <c:v>-0.21303162</c:v>
                </c:pt>
                <c:pt idx="1539">
                  <c:v>-0.21287464</c:v>
                </c:pt>
                <c:pt idx="1540">
                  <c:v>-0.21271805999999999</c:v>
                </c:pt>
                <c:pt idx="1541">
                  <c:v>-0.21256127</c:v>
                </c:pt>
                <c:pt idx="1542">
                  <c:v>-0.21240381999999999</c:v>
                </c:pt>
                <c:pt idx="1543">
                  <c:v>-0.21224767</c:v>
                </c:pt>
                <c:pt idx="1544">
                  <c:v>-0.21209059999999999</c:v>
                </c:pt>
                <c:pt idx="1545">
                  <c:v>-0.21193405000000001</c:v>
                </c:pt>
                <c:pt idx="1546">
                  <c:v>-0.21177788</c:v>
                </c:pt>
                <c:pt idx="1547">
                  <c:v>-0.21162078000000001</c:v>
                </c:pt>
                <c:pt idx="1548">
                  <c:v>-0.21146499999999999</c:v>
                </c:pt>
                <c:pt idx="1549">
                  <c:v>-0.21130868999999999</c:v>
                </c:pt>
                <c:pt idx="1550">
                  <c:v>-0.2111519</c:v>
                </c:pt>
                <c:pt idx="1551">
                  <c:v>-0.21099564000000001</c:v>
                </c:pt>
                <c:pt idx="1552">
                  <c:v>-0.21084021</c:v>
                </c:pt>
                <c:pt idx="1553">
                  <c:v>-0.21068398999999999</c:v>
                </c:pt>
                <c:pt idx="1554">
                  <c:v>-0.21052699</c:v>
                </c:pt>
                <c:pt idx="1555">
                  <c:v>-0.210372</c:v>
                </c:pt>
                <c:pt idx="1556">
                  <c:v>-0.21021596000000001</c:v>
                </c:pt>
                <c:pt idx="1557">
                  <c:v>-0.21006011999999999</c:v>
                </c:pt>
                <c:pt idx="1558">
                  <c:v>-0.20990438</c:v>
                </c:pt>
                <c:pt idx="1559">
                  <c:v>-0.20974844000000001</c:v>
                </c:pt>
                <c:pt idx="1560">
                  <c:v>-0.20959384</c:v>
                </c:pt>
                <c:pt idx="1561">
                  <c:v>-0.20943688999999999</c:v>
                </c:pt>
                <c:pt idx="1562">
                  <c:v>-0.20928125</c:v>
                </c:pt>
                <c:pt idx="1563">
                  <c:v>-0.20912662000000001</c:v>
                </c:pt>
                <c:pt idx="1564">
                  <c:v>-0.20897176000000001</c:v>
                </c:pt>
                <c:pt idx="1565">
                  <c:v>-0.20881583000000001</c:v>
                </c:pt>
                <c:pt idx="1566">
                  <c:v>-0.20866013999999999</c:v>
                </c:pt>
                <c:pt idx="1567">
                  <c:v>-0.20850499</c:v>
                </c:pt>
                <c:pt idx="1568">
                  <c:v>-0.20835024999999999</c:v>
                </c:pt>
                <c:pt idx="1569">
                  <c:v>-0.20819409</c:v>
                </c:pt>
                <c:pt idx="1570">
                  <c:v>-0.20803937</c:v>
                </c:pt>
                <c:pt idx="1571">
                  <c:v>-0.20788566999999999</c:v>
                </c:pt>
                <c:pt idx="1572">
                  <c:v>-0.20773067000000001</c:v>
                </c:pt>
                <c:pt idx="1573">
                  <c:v>-0.20757539</c:v>
                </c:pt>
                <c:pt idx="1574">
                  <c:v>-0.20742018000000001</c:v>
                </c:pt>
                <c:pt idx="1575">
                  <c:v>-0.20726534999999999</c:v>
                </c:pt>
                <c:pt idx="1576">
                  <c:v>-0.20711048000000001</c:v>
                </c:pt>
                <c:pt idx="1577">
                  <c:v>-0.20695569999999999</c:v>
                </c:pt>
                <c:pt idx="1578">
                  <c:v>-0.20680164000000001</c:v>
                </c:pt>
                <c:pt idx="1579">
                  <c:v>-0.20664690999999999</c:v>
                </c:pt>
                <c:pt idx="1580">
                  <c:v>-0.20649287</c:v>
                </c:pt>
                <c:pt idx="1581">
                  <c:v>-0.20633878</c:v>
                </c:pt>
                <c:pt idx="1582">
                  <c:v>-0.2061846</c:v>
                </c:pt>
                <c:pt idx="1583">
                  <c:v>-0.20603103</c:v>
                </c:pt>
                <c:pt idx="1584">
                  <c:v>-0.20587737</c:v>
                </c:pt>
                <c:pt idx="1585">
                  <c:v>-0.20572125999999999</c:v>
                </c:pt>
                <c:pt idx="1586">
                  <c:v>-0.20556843</c:v>
                </c:pt>
                <c:pt idx="1587">
                  <c:v>-0.20541472999999999</c:v>
                </c:pt>
                <c:pt idx="1588">
                  <c:v>-0.20525971000000001</c:v>
                </c:pt>
                <c:pt idx="1589">
                  <c:v>-0.20510547000000001</c:v>
                </c:pt>
                <c:pt idx="1590">
                  <c:v>-0.20495152</c:v>
                </c:pt>
                <c:pt idx="1591">
                  <c:v>-0.20479799000000001</c:v>
                </c:pt>
                <c:pt idx="1592">
                  <c:v>-0.20464431</c:v>
                </c:pt>
                <c:pt idx="1593">
                  <c:v>-0.20449128999999999</c:v>
                </c:pt>
                <c:pt idx="1594">
                  <c:v>-0.20433719</c:v>
                </c:pt>
                <c:pt idx="1595">
                  <c:v>-0.20418486</c:v>
                </c:pt>
                <c:pt idx="1596">
                  <c:v>-0.20403126999999999</c:v>
                </c:pt>
                <c:pt idx="1597">
                  <c:v>-0.20387722</c:v>
                </c:pt>
                <c:pt idx="1598">
                  <c:v>-0.20372362999999999</c:v>
                </c:pt>
                <c:pt idx="1599">
                  <c:v>-0.20357164999999999</c:v>
                </c:pt>
                <c:pt idx="1600">
                  <c:v>-0.20341704999999999</c:v>
                </c:pt>
                <c:pt idx="1601">
                  <c:v>-0.20326490999999999</c:v>
                </c:pt>
                <c:pt idx="1602">
                  <c:v>-0.20311166999999999</c:v>
                </c:pt>
                <c:pt idx="1603">
                  <c:v>-0.20295835000000001</c:v>
                </c:pt>
                <c:pt idx="1604">
                  <c:v>-0.20280529</c:v>
                </c:pt>
                <c:pt idx="1605">
                  <c:v>-0.20265261000000001</c:v>
                </c:pt>
                <c:pt idx="1606">
                  <c:v>-0.20249938000000001</c:v>
                </c:pt>
                <c:pt idx="1607">
                  <c:v>-0.20234641</c:v>
                </c:pt>
                <c:pt idx="1608">
                  <c:v>-0.20219437000000001</c:v>
                </c:pt>
                <c:pt idx="1609">
                  <c:v>-0.20204178</c:v>
                </c:pt>
                <c:pt idx="1610">
                  <c:v>-0.20188887</c:v>
                </c:pt>
                <c:pt idx="1611">
                  <c:v>-0.20173584999999999</c:v>
                </c:pt>
                <c:pt idx="1612">
                  <c:v>-0.20158481</c:v>
                </c:pt>
                <c:pt idx="1613">
                  <c:v>-0.20143172000000001</c:v>
                </c:pt>
                <c:pt idx="1614">
                  <c:v>-0.20127925999999999</c:v>
                </c:pt>
                <c:pt idx="1615">
                  <c:v>-0.20112716</c:v>
                </c:pt>
                <c:pt idx="1616">
                  <c:v>-0.20097520999999999</c:v>
                </c:pt>
                <c:pt idx="1617">
                  <c:v>-0.20082203000000001</c:v>
                </c:pt>
                <c:pt idx="1618">
                  <c:v>-0.20067036999999999</c:v>
                </c:pt>
                <c:pt idx="1619">
                  <c:v>-0.20051717999999999</c:v>
                </c:pt>
                <c:pt idx="1620">
                  <c:v>-0.20036709999999999</c:v>
                </c:pt>
                <c:pt idx="1621">
                  <c:v>-0.20021454999999999</c:v>
                </c:pt>
                <c:pt idx="1622">
                  <c:v>-0.20006286000000001</c:v>
                </c:pt>
                <c:pt idx="1623">
                  <c:v>-0.19991173000000001</c:v>
                </c:pt>
                <c:pt idx="1624">
                  <c:v>-0.19975949000000001</c:v>
                </c:pt>
                <c:pt idx="1625">
                  <c:v>-0.19960834</c:v>
                </c:pt>
                <c:pt idx="1626">
                  <c:v>-0.19945615</c:v>
                </c:pt>
                <c:pt idx="1627">
                  <c:v>-0.19930556999999999</c:v>
                </c:pt>
                <c:pt idx="1628">
                  <c:v>-0.19915355000000001</c:v>
                </c:pt>
                <c:pt idx="1629">
                  <c:v>-0.19900177999999999</c:v>
                </c:pt>
                <c:pt idx="1630">
                  <c:v>-0.19885085999999999</c:v>
                </c:pt>
                <c:pt idx="1631">
                  <c:v>-0.19869878999999999</c:v>
                </c:pt>
                <c:pt idx="1632">
                  <c:v>-0.19854838</c:v>
                </c:pt>
                <c:pt idx="1633">
                  <c:v>-0.19839688999999999</c:v>
                </c:pt>
                <c:pt idx="1634">
                  <c:v>-0.19824617999999999</c:v>
                </c:pt>
                <c:pt idx="1635">
                  <c:v>-0.19809455000000001</c:v>
                </c:pt>
                <c:pt idx="1636">
                  <c:v>-0.1979446</c:v>
                </c:pt>
                <c:pt idx="1637">
                  <c:v>-0.19779413000000001</c:v>
                </c:pt>
                <c:pt idx="1638">
                  <c:v>-0.19764245999999999</c:v>
                </c:pt>
                <c:pt idx="1639">
                  <c:v>-0.19749256000000001</c:v>
                </c:pt>
                <c:pt idx="1640">
                  <c:v>-0.19734034</c:v>
                </c:pt>
                <c:pt idx="1641">
                  <c:v>-0.19719059999999999</c:v>
                </c:pt>
                <c:pt idx="1642">
                  <c:v>-0.19703909</c:v>
                </c:pt>
                <c:pt idx="1643">
                  <c:v>-0.19688928</c:v>
                </c:pt>
                <c:pt idx="1644">
                  <c:v>-0.19673892000000001</c:v>
                </c:pt>
                <c:pt idx="1645">
                  <c:v>-0.19658856</c:v>
                </c:pt>
                <c:pt idx="1646">
                  <c:v>-0.19643811999999999</c:v>
                </c:pt>
                <c:pt idx="1647">
                  <c:v>-0.19628686000000001</c:v>
                </c:pt>
                <c:pt idx="1648">
                  <c:v>-0.19613726000000001</c:v>
                </c:pt>
                <c:pt idx="1649">
                  <c:v>-0.19598768999999999</c:v>
                </c:pt>
                <c:pt idx="1650">
                  <c:v>-0.19583782</c:v>
                </c:pt>
                <c:pt idx="1651">
                  <c:v>-0.19568608000000001</c:v>
                </c:pt>
                <c:pt idx="1652">
                  <c:v>-0.19553654000000001</c:v>
                </c:pt>
                <c:pt idx="1653">
                  <c:v>-0.19538662000000001</c:v>
                </c:pt>
                <c:pt idx="1654">
                  <c:v>-0.19523739000000001</c:v>
                </c:pt>
                <c:pt idx="1655">
                  <c:v>-0.19508692</c:v>
                </c:pt>
                <c:pt idx="1656">
                  <c:v>-0.19493774</c:v>
                </c:pt>
                <c:pt idx="1657">
                  <c:v>-0.19478798</c:v>
                </c:pt>
                <c:pt idx="1658">
                  <c:v>-0.19463765</c:v>
                </c:pt>
                <c:pt idx="1659">
                  <c:v>-0.19448832999999999</c:v>
                </c:pt>
                <c:pt idx="1660">
                  <c:v>-0.19433774000000001</c:v>
                </c:pt>
                <c:pt idx="1661">
                  <c:v>-0.19418959999999999</c:v>
                </c:pt>
                <c:pt idx="1662">
                  <c:v>-0.19403972999999999</c:v>
                </c:pt>
                <c:pt idx="1663">
                  <c:v>-0.19389033</c:v>
                </c:pt>
                <c:pt idx="1664">
                  <c:v>-0.19374160000000001</c:v>
                </c:pt>
                <c:pt idx="1665">
                  <c:v>-0.19359117000000001</c:v>
                </c:pt>
                <c:pt idx="1666">
                  <c:v>-0.19344295</c:v>
                </c:pt>
                <c:pt idx="1667">
                  <c:v>-0.19329402000000001</c:v>
                </c:pt>
                <c:pt idx="1668">
                  <c:v>-0.19314495000000001</c:v>
                </c:pt>
                <c:pt idx="1669">
                  <c:v>-0.19299596999999999</c:v>
                </c:pt>
                <c:pt idx="1670">
                  <c:v>-0.19284618000000001</c:v>
                </c:pt>
                <c:pt idx="1671">
                  <c:v>-0.19269774000000001</c:v>
                </c:pt>
                <c:pt idx="1672">
                  <c:v>-0.19255024000000001</c:v>
                </c:pt>
                <c:pt idx="1673">
                  <c:v>-0.19239986000000001</c:v>
                </c:pt>
                <c:pt idx="1674">
                  <c:v>-0.19225181</c:v>
                </c:pt>
                <c:pt idx="1675">
                  <c:v>-0.19210442</c:v>
                </c:pt>
                <c:pt idx="1676">
                  <c:v>-0.19195414</c:v>
                </c:pt>
                <c:pt idx="1677">
                  <c:v>-0.19180651000000001</c:v>
                </c:pt>
                <c:pt idx="1678">
                  <c:v>-0.19165823000000001</c:v>
                </c:pt>
                <c:pt idx="1679">
                  <c:v>-0.19150827000000001</c:v>
                </c:pt>
                <c:pt idx="1680">
                  <c:v>-0.19136122</c:v>
                </c:pt>
                <c:pt idx="1681">
                  <c:v>-0.19121257999999999</c:v>
                </c:pt>
                <c:pt idx="1682">
                  <c:v>-0.1910647</c:v>
                </c:pt>
                <c:pt idx="1683">
                  <c:v>-0.19091664</c:v>
                </c:pt>
                <c:pt idx="1684">
                  <c:v>-0.19076903000000001</c:v>
                </c:pt>
                <c:pt idx="1685">
                  <c:v>-0.19062035999999999</c:v>
                </c:pt>
                <c:pt idx="1686">
                  <c:v>-0.19047223999999999</c:v>
                </c:pt>
                <c:pt idx="1687">
                  <c:v>-0.19032516999999999</c:v>
                </c:pt>
                <c:pt idx="1688">
                  <c:v>-0.19017719999999999</c:v>
                </c:pt>
                <c:pt idx="1689">
                  <c:v>-0.19002921</c:v>
                </c:pt>
                <c:pt idx="1690">
                  <c:v>-0.18988148999999999</c:v>
                </c:pt>
                <c:pt idx="1691">
                  <c:v>-0.18973370000000001</c:v>
                </c:pt>
                <c:pt idx="1692">
                  <c:v>-0.18958649</c:v>
                </c:pt>
                <c:pt idx="1693">
                  <c:v>-0.18943799</c:v>
                </c:pt>
                <c:pt idx="1694">
                  <c:v>-0.18929119999999999</c:v>
                </c:pt>
                <c:pt idx="1695">
                  <c:v>-0.18914428</c:v>
                </c:pt>
                <c:pt idx="1696">
                  <c:v>-0.18899597000000001</c:v>
                </c:pt>
                <c:pt idx="1697">
                  <c:v>-0.18884946999999999</c:v>
                </c:pt>
                <c:pt idx="1698">
                  <c:v>-0.18870190000000001</c:v>
                </c:pt>
                <c:pt idx="1699">
                  <c:v>-0.18855506999999999</c:v>
                </c:pt>
                <c:pt idx="1700">
                  <c:v>-0.18840826999999999</c:v>
                </c:pt>
                <c:pt idx="1701">
                  <c:v>-0.18826101000000001</c:v>
                </c:pt>
                <c:pt idx="1702">
                  <c:v>-0.18811352000000001</c:v>
                </c:pt>
                <c:pt idx="1703">
                  <c:v>-0.18796642</c:v>
                </c:pt>
                <c:pt idx="1704">
                  <c:v>-0.18781945</c:v>
                </c:pt>
                <c:pt idx="1705">
                  <c:v>-0.18767308999999999</c:v>
                </c:pt>
                <c:pt idx="1706">
                  <c:v>-0.18752592000000001</c:v>
                </c:pt>
                <c:pt idx="1707">
                  <c:v>-0.18737924</c:v>
                </c:pt>
                <c:pt idx="1708">
                  <c:v>-0.18723293999999999</c:v>
                </c:pt>
                <c:pt idx="1709">
                  <c:v>-0.18708595</c:v>
                </c:pt>
                <c:pt idx="1710">
                  <c:v>-0.18693897000000001</c:v>
                </c:pt>
                <c:pt idx="1711">
                  <c:v>-0.18679378999999999</c:v>
                </c:pt>
                <c:pt idx="1712">
                  <c:v>-0.18664791999999999</c:v>
                </c:pt>
                <c:pt idx="1713">
                  <c:v>-0.18650088000000001</c:v>
                </c:pt>
                <c:pt idx="1714">
                  <c:v>-0.18635504999999999</c:v>
                </c:pt>
                <c:pt idx="1715">
                  <c:v>-0.18620805000000001</c:v>
                </c:pt>
                <c:pt idx="1716">
                  <c:v>-0.1860619</c:v>
                </c:pt>
                <c:pt idx="1717">
                  <c:v>-0.18591564999999999</c:v>
                </c:pt>
                <c:pt idx="1718">
                  <c:v>-0.18577083</c:v>
                </c:pt>
                <c:pt idx="1719">
                  <c:v>-0.1856245</c:v>
                </c:pt>
                <c:pt idx="1720">
                  <c:v>-0.18547865999999999</c:v>
                </c:pt>
                <c:pt idx="1721">
                  <c:v>-0.18533283</c:v>
                </c:pt>
                <c:pt idx="1722">
                  <c:v>-0.18518655000000001</c:v>
                </c:pt>
                <c:pt idx="1723">
                  <c:v>-0.18504124999999999</c:v>
                </c:pt>
                <c:pt idx="1724">
                  <c:v>-0.18489535000000001</c:v>
                </c:pt>
                <c:pt idx="1725">
                  <c:v>-0.18474925</c:v>
                </c:pt>
                <c:pt idx="1726">
                  <c:v>-0.18460541</c:v>
                </c:pt>
                <c:pt idx="1727">
                  <c:v>-0.18445959000000001</c:v>
                </c:pt>
                <c:pt idx="1728">
                  <c:v>-0.18431400000000001</c:v>
                </c:pt>
                <c:pt idx="1729">
                  <c:v>-0.18416868</c:v>
                </c:pt>
                <c:pt idx="1730">
                  <c:v>-0.18402362</c:v>
                </c:pt>
                <c:pt idx="1731">
                  <c:v>-0.18387782999999999</c:v>
                </c:pt>
                <c:pt idx="1732">
                  <c:v>-0.18373234999999999</c:v>
                </c:pt>
                <c:pt idx="1733">
                  <c:v>-0.18358757000000001</c:v>
                </c:pt>
                <c:pt idx="1734">
                  <c:v>-0.18344208000000001</c:v>
                </c:pt>
                <c:pt idx="1735">
                  <c:v>-0.18329734</c:v>
                </c:pt>
                <c:pt idx="1736">
                  <c:v>-0.18315228</c:v>
                </c:pt>
                <c:pt idx="1737">
                  <c:v>-0.18300731000000001</c:v>
                </c:pt>
                <c:pt idx="1738">
                  <c:v>-0.18286215</c:v>
                </c:pt>
                <c:pt idx="1739">
                  <c:v>-0.18271855000000001</c:v>
                </c:pt>
                <c:pt idx="1740">
                  <c:v>-0.18257309999999999</c:v>
                </c:pt>
                <c:pt idx="1741">
                  <c:v>-0.18242854</c:v>
                </c:pt>
                <c:pt idx="1742">
                  <c:v>-0.18228357000000001</c:v>
                </c:pt>
                <c:pt idx="1743">
                  <c:v>-0.18213993000000001</c:v>
                </c:pt>
                <c:pt idx="1744">
                  <c:v>-0.18199443000000001</c:v>
                </c:pt>
                <c:pt idx="1745">
                  <c:v>-0.18185088999999999</c:v>
                </c:pt>
                <c:pt idx="1746">
                  <c:v>-0.18170645999999999</c:v>
                </c:pt>
                <c:pt idx="1747">
                  <c:v>-0.18156228999999999</c:v>
                </c:pt>
                <c:pt idx="1748">
                  <c:v>-0.18141805</c:v>
                </c:pt>
                <c:pt idx="1749">
                  <c:v>-0.18127362</c:v>
                </c:pt>
                <c:pt idx="1750">
                  <c:v>-0.18113022000000001</c:v>
                </c:pt>
                <c:pt idx="1751">
                  <c:v>-0.18098600000000001</c:v>
                </c:pt>
                <c:pt idx="1752">
                  <c:v>-0.18084127</c:v>
                </c:pt>
                <c:pt idx="1753">
                  <c:v>-0.18069782000000001</c:v>
                </c:pt>
                <c:pt idx="1754">
                  <c:v>-0.18055436999999999</c:v>
                </c:pt>
                <c:pt idx="1755">
                  <c:v>-0.18041020999999999</c:v>
                </c:pt>
                <c:pt idx="1756">
                  <c:v>-0.18026598999999999</c:v>
                </c:pt>
                <c:pt idx="1757">
                  <c:v>-0.18012323</c:v>
                </c:pt>
                <c:pt idx="1758">
                  <c:v>-0.17997937</c:v>
                </c:pt>
                <c:pt idx="1759">
                  <c:v>-0.17983624000000001</c:v>
                </c:pt>
                <c:pt idx="1760">
                  <c:v>-0.17969303</c:v>
                </c:pt>
                <c:pt idx="1761">
                  <c:v>-0.17954856</c:v>
                </c:pt>
                <c:pt idx="1762">
                  <c:v>-0.17940571999999999</c:v>
                </c:pt>
                <c:pt idx="1763">
                  <c:v>-0.17926275999999999</c:v>
                </c:pt>
                <c:pt idx="1764">
                  <c:v>-0.17911845000000001</c:v>
                </c:pt>
                <c:pt idx="1765">
                  <c:v>-0.17897552999999999</c:v>
                </c:pt>
                <c:pt idx="1766">
                  <c:v>-0.17883231999999999</c:v>
                </c:pt>
                <c:pt idx="1767">
                  <c:v>-0.17868872999999999</c:v>
                </c:pt>
                <c:pt idx="1768">
                  <c:v>-0.17854779000000001</c:v>
                </c:pt>
                <c:pt idx="1769">
                  <c:v>-0.17840486999999999</c:v>
                </c:pt>
                <c:pt idx="1770">
                  <c:v>-0.17826156000000001</c:v>
                </c:pt>
                <c:pt idx="1771">
                  <c:v>-0.17811851000000001</c:v>
                </c:pt>
                <c:pt idx="1772">
                  <c:v>-0.17797598000000001</c:v>
                </c:pt>
                <c:pt idx="1773">
                  <c:v>-0.17783344000000001</c:v>
                </c:pt>
                <c:pt idx="1774">
                  <c:v>-0.17769023</c:v>
                </c:pt>
                <c:pt idx="1775">
                  <c:v>-0.17754782999999999</c:v>
                </c:pt>
                <c:pt idx="1776">
                  <c:v>-0.17740573000000001</c:v>
                </c:pt>
                <c:pt idx="1777">
                  <c:v>-0.17726314000000001</c:v>
                </c:pt>
                <c:pt idx="1778">
                  <c:v>-0.17712043</c:v>
                </c:pt>
                <c:pt idx="1779">
                  <c:v>-0.17697742</c:v>
                </c:pt>
                <c:pt idx="1780">
                  <c:v>-0.17683586000000001</c:v>
                </c:pt>
                <c:pt idx="1781">
                  <c:v>-0.17669403</c:v>
                </c:pt>
                <c:pt idx="1782">
                  <c:v>-0.17655175000000001</c:v>
                </c:pt>
                <c:pt idx="1783">
                  <c:v>-0.17640989000000001</c:v>
                </c:pt>
                <c:pt idx="1784">
                  <c:v>-0.17626789000000001</c:v>
                </c:pt>
                <c:pt idx="1785">
                  <c:v>-0.17612483000000001</c:v>
                </c:pt>
                <c:pt idx="1786">
                  <c:v>-0.17598367000000001</c:v>
                </c:pt>
                <c:pt idx="1787">
                  <c:v>-0.17584187000000001</c:v>
                </c:pt>
                <c:pt idx="1788">
                  <c:v>-0.17569969999999999</c:v>
                </c:pt>
                <c:pt idx="1789">
                  <c:v>-0.17555717000000001</c:v>
                </c:pt>
                <c:pt idx="1790">
                  <c:v>-0.17541549000000001</c:v>
                </c:pt>
                <c:pt idx="1791">
                  <c:v>-0.17527540999999999</c:v>
                </c:pt>
                <c:pt idx="1792">
                  <c:v>-0.17513353000000001</c:v>
                </c:pt>
                <c:pt idx="1793">
                  <c:v>-0.17499213</c:v>
                </c:pt>
                <c:pt idx="1794">
                  <c:v>-0.17485004000000001</c:v>
                </c:pt>
                <c:pt idx="1795">
                  <c:v>-0.17470860999999999</c:v>
                </c:pt>
                <c:pt idx="1796">
                  <c:v>-0.17456737999999999</c:v>
                </c:pt>
                <c:pt idx="1797">
                  <c:v>-0.17442640000000001</c:v>
                </c:pt>
                <c:pt idx="1798">
                  <c:v>-0.17428537</c:v>
                </c:pt>
                <c:pt idx="1799">
                  <c:v>-0.17414453999999999</c:v>
                </c:pt>
                <c:pt idx="1800">
                  <c:v>-0.17400347999999999</c:v>
                </c:pt>
                <c:pt idx="1801">
                  <c:v>-0.17386233000000001</c:v>
                </c:pt>
                <c:pt idx="1802">
                  <c:v>-0.17372135999999999</c:v>
                </c:pt>
                <c:pt idx="1803">
                  <c:v>-0.17358095000000001</c:v>
                </c:pt>
                <c:pt idx="1804">
                  <c:v>-0.17343971</c:v>
                </c:pt>
                <c:pt idx="1805">
                  <c:v>-0.17329826000000001</c:v>
                </c:pt>
                <c:pt idx="1806">
                  <c:v>-0.17315818999999999</c:v>
                </c:pt>
                <c:pt idx="1807">
                  <c:v>-0.17301772000000001</c:v>
                </c:pt>
                <c:pt idx="1808">
                  <c:v>-0.17287606</c:v>
                </c:pt>
                <c:pt idx="1809">
                  <c:v>-0.17273569</c:v>
                </c:pt>
                <c:pt idx="1810">
                  <c:v>-0.17259598000000001</c:v>
                </c:pt>
                <c:pt idx="1811">
                  <c:v>-0.17245497000000001</c:v>
                </c:pt>
                <c:pt idx="1812">
                  <c:v>-0.17231489999999999</c:v>
                </c:pt>
                <c:pt idx="1813">
                  <c:v>-0.17217447999999999</c:v>
                </c:pt>
                <c:pt idx="1814">
                  <c:v>-0.17203363999999999</c:v>
                </c:pt>
                <c:pt idx="1815">
                  <c:v>-0.17189423000000001</c:v>
                </c:pt>
                <c:pt idx="1816">
                  <c:v>-0.1717542</c:v>
                </c:pt>
                <c:pt idx="1817">
                  <c:v>-0.17161362999999999</c:v>
                </c:pt>
                <c:pt idx="1818">
                  <c:v>-0.17147401000000001</c:v>
                </c:pt>
                <c:pt idx="1819">
                  <c:v>-0.17133406000000001</c:v>
                </c:pt>
                <c:pt idx="1820">
                  <c:v>-0.17119375000000001</c:v>
                </c:pt>
                <c:pt idx="1821">
                  <c:v>-0.17105382999999999</c:v>
                </c:pt>
                <c:pt idx="1822">
                  <c:v>-0.17091393999999999</c:v>
                </c:pt>
                <c:pt idx="1823">
                  <c:v>-0.17077512</c:v>
                </c:pt>
                <c:pt idx="1824">
                  <c:v>-0.17063497</c:v>
                </c:pt>
                <c:pt idx="1825">
                  <c:v>-0.17049584000000001</c:v>
                </c:pt>
                <c:pt idx="1826">
                  <c:v>-0.17035620000000001</c:v>
                </c:pt>
                <c:pt idx="1827">
                  <c:v>-0.17021708999999999</c:v>
                </c:pt>
                <c:pt idx="1828">
                  <c:v>-0.17007806</c:v>
                </c:pt>
                <c:pt idx="1829">
                  <c:v>-0.16993732</c:v>
                </c:pt>
                <c:pt idx="1830">
                  <c:v>-0.16979801</c:v>
                </c:pt>
                <c:pt idx="1831">
                  <c:v>-0.16965857000000001</c:v>
                </c:pt>
                <c:pt idx="1832">
                  <c:v>-0.16952094000000001</c:v>
                </c:pt>
                <c:pt idx="1833">
                  <c:v>-0.1693817</c:v>
                </c:pt>
                <c:pt idx="1834">
                  <c:v>-0.16924143999999999</c:v>
                </c:pt>
                <c:pt idx="1835">
                  <c:v>-0.1691037</c:v>
                </c:pt>
                <c:pt idx="1836">
                  <c:v>-0.16896414000000001</c:v>
                </c:pt>
                <c:pt idx="1837">
                  <c:v>-0.1688267</c:v>
                </c:pt>
                <c:pt idx="1838">
                  <c:v>-0.16868630000000001</c:v>
                </c:pt>
                <c:pt idx="1839">
                  <c:v>-0.16854780999999999</c:v>
                </c:pt>
                <c:pt idx="1840">
                  <c:v>-0.16840878000000001</c:v>
                </c:pt>
                <c:pt idx="1841">
                  <c:v>-0.16827075999999999</c:v>
                </c:pt>
                <c:pt idx="1842">
                  <c:v>-0.16813136000000001</c:v>
                </c:pt>
                <c:pt idx="1843">
                  <c:v>-0.16799448</c:v>
                </c:pt>
                <c:pt idx="1844">
                  <c:v>-0.16785431000000001</c:v>
                </c:pt>
                <c:pt idx="1845">
                  <c:v>-0.16771696</c:v>
                </c:pt>
                <c:pt idx="1846">
                  <c:v>-0.16757836000000001</c:v>
                </c:pt>
                <c:pt idx="1847">
                  <c:v>-0.16744023</c:v>
                </c:pt>
                <c:pt idx="1848">
                  <c:v>-0.16730149999999999</c:v>
                </c:pt>
                <c:pt idx="1849">
                  <c:v>-0.16716424999999999</c:v>
                </c:pt>
                <c:pt idx="1850">
                  <c:v>-0.16702581</c:v>
                </c:pt>
                <c:pt idx="1851">
                  <c:v>-0.16688760999999999</c:v>
                </c:pt>
                <c:pt idx="1852">
                  <c:v>-0.16674982999999999</c:v>
                </c:pt>
                <c:pt idx="1853">
                  <c:v>-0.16661263000000001</c:v>
                </c:pt>
                <c:pt idx="1854">
                  <c:v>-0.16647449</c:v>
                </c:pt>
                <c:pt idx="1855">
                  <c:v>-0.16633623</c:v>
                </c:pt>
                <c:pt idx="1856">
                  <c:v>-0.16619834</c:v>
                </c:pt>
                <c:pt idx="1857">
                  <c:v>-0.16606048000000001</c:v>
                </c:pt>
                <c:pt idx="1858">
                  <c:v>-0.16592356</c:v>
                </c:pt>
                <c:pt idx="1859">
                  <c:v>-0.16578476</c:v>
                </c:pt>
                <c:pt idx="1860">
                  <c:v>-0.16564824</c:v>
                </c:pt>
                <c:pt idx="1861">
                  <c:v>-0.16551091000000001</c:v>
                </c:pt>
                <c:pt idx="1862">
                  <c:v>-0.16537345000000001</c:v>
                </c:pt>
                <c:pt idx="1863">
                  <c:v>-0.16523662</c:v>
                </c:pt>
                <c:pt idx="1864">
                  <c:v>-0.1650991</c:v>
                </c:pt>
                <c:pt idx="1865">
                  <c:v>-0.16496169999999999</c:v>
                </c:pt>
                <c:pt idx="1866">
                  <c:v>-0.16482466000000001</c:v>
                </c:pt>
                <c:pt idx="1867">
                  <c:v>-0.16468775999999999</c:v>
                </c:pt>
                <c:pt idx="1868">
                  <c:v>-0.16455041000000001</c:v>
                </c:pt>
                <c:pt idx="1869">
                  <c:v>-0.16441375</c:v>
                </c:pt>
                <c:pt idx="1870">
                  <c:v>-0.16427642000000001</c:v>
                </c:pt>
                <c:pt idx="1871">
                  <c:v>-0.16414015000000001</c:v>
                </c:pt>
                <c:pt idx="1872">
                  <c:v>-0.16400307</c:v>
                </c:pt>
                <c:pt idx="1873">
                  <c:v>-0.16386649</c:v>
                </c:pt>
                <c:pt idx="1874">
                  <c:v>-0.16372978999999999</c:v>
                </c:pt>
                <c:pt idx="1875">
                  <c:v>-0.16359264000000001</c:v>
                </c:pt>
                <c:pt idx="1876">
                  <c:v>-0.16345657</c:v>
                </c:pt>
                <c:pt idx="1877">
                  <c:v>-0.16331955000000001</c:v>
                </c:pt>
                <c:pt idx="1878">
                  <c:v>-0.16318373999999999</c:v>
                </c:pt>
                <c:pt idx="1879">
                  <c:v>-0.16304713000000001</c:v>
                </c:pt>
                <c:pt idx="1880">
                  <c:v>-0.16291099000000001</c:v>
                </c:pt>
                <c:pt idx="1881">
                  <c:v>-0.16277427999999999</c:v>
                </c:pt>
                <c:pt idx="1882">
                  <c:v>-0.16263801999999999</c:v>
                </c:pt>
                <c:pt idx="1883">
                  <c:v>-0.16250242000000001</c:v>
                </c:pt>
                <c:pt idx="1884">
                  <c:v>-0.16236597999999999</c:v>
                </c:pt>
                <c:pt idx="1885">
                  <c:v>-0.16223037000000001</c:v>
                </c:pt>
                <c:pt idx="1886">
                  <c:v>-0.16209407000000001</c:v>
                </c:pt>
                <c:pt idx="1887">
                  <c:v>-0.16195847999999999</c:v>
                </c:pt>
                <c:pt idx="1888">
                  <c:v>-0.16182293</c:v>
                </c:pt>
                <c:pt idx="1889">
                  <c:v>-0.16168700999999999</c:v>
                </c:pt>
                <c:pt idx="1890">
                  <c:v>-0.16155137</c:v>
                </c:pt>
                <c:pt idx="1891">
                  <c:v>-0.16141501999999999</c:v>
                </c:pt>
                <c:pt idx="1892">
                  <c:v>-0.16127997999999999</c:v>
                </c:pt>
                <c:pt idx="1893">
                  <c:v>-0.16114544</c:v>
                </c:pt>
                <c:pt idx="1894">
                  <c:v>-0.16100887</c:v>
                </c:pt>
                <c:pt idx="1895">
                  <c:v>-0.16087292</c:v>
                </c:pt>
                <c:pt idx="1896">
                  <c:v>-0.16073865000000001</c:v>
                </c:pt>
                <c:pt idx="1897">
                  <c:v>-0.16060262</c:v>
                </c:pt>
                <c:pt idx="1898">
                  <c:v>-0.16046684</c:v>
                </c:pt>
                <c:pt idx="1899">
                  <c:v>-0.16033257000000001</c:v>
                </c:pt>
                <c:pt idx="1900">
                  <c:v>-0.16019812999999999</c:v>
                </c:pt>
                <c:pt idx="1901">
                  <c:v>-0.16006271</c:v>
                </c:pt>
                <c:pt idx="1902">
                  <c:v>-0.15992734</c:v>
                </c:pt>
                <c:pt idx="1903">
                  <c:v>-0.15979149000000001</c:v>
                </c:pt>
                <c:pt idx="1904">
                  <c:v>-0.15965789999999999</c:v>
                </c:pt>
                <c:pt idx="1905">
                  <c:v>-0.15952279</c:v>
                </c:pt>
                <c:pt idx="1906">
                  <c:v>-0.15938817999999999</c:v>
                </c:pt>
                <c:pt idx="1907">
                  <c:v>-0.15925309000000001</c:v>
                </c:pt>
                <c:pt idx="1908">
                  <c:v>-0.15911765999999999</c:v>
                </c:pt>
                <c:pt idx="1909">
                  <c:v>-0.15898449000000001</c:v>
                </c:pt>
                <c:pt idx="1910">
                  <c:v>-0.15885052999999999</c:v>
                </c:pt>
                <c:pt idx="1911">
                  <c:v>-0.15871477000000001</c:v>
                </c:pt>
                <c:pt idx="1912">
                  <c:v>-0.15858082000000001</c:v>
                </c:pt>
                <c:pt idx="1913">
                  <c:v>-0.15844689000000001</c:v>
                </c:pt>
                <c:pt idx="1914">
                  <c:v>-0.15831245999999999</c:v>
                </c:pt>
                <c:pt idx="1915">
                  <c:v>-0.15817819</c:v>
                </c:pt>
                <c:pt idx="1916">
                  <c:v>-0.15804393</c:v>
                </c:pt>
                <c:pt idx="1917">
                  <c:v>-0.15791005</c:v>
                </c:pt>
                <c:pt idx="1918">
                  <c:v>-0.15777545000000001</c:v>
                </c:pt>
                <c:pt idx="1919">
                  <c:v>-0.15764194000000001</c:v>
                </c:pt>
                <c:pt idx="1920">
                  <c:v>-0.15750773000000001</c:v>
                </c:pt>
                <c:pt idx="1921">
                  <c:v>-0.15737398</c:v>
                </c:pt>
                <c:pt idx="1922">
                  <c:v>-0.15724052999999999</c:v>
                </c:pt>
                <c:pt idx="1923">
                  <c:v>-0.15710551</c:v>
                </c:pt>
                <c:pt idx="1924">
                  <c:v>-0.15697289</c:v>
                </c:pt>
                <c:pt idx="1925">
                  <c:v>-0.15683863000000001</c:v>
                </c:pt>
                <c:pt idx="1926">
                  <c:v>-0.15670592</c:v>
                </c:pt>
                <c:pt idx="1927">
                  <c:v>-0.15657188999999999</c:v>
                </c:pt>
                <c:pt idx="1928">
                  <c:v>-0.15643909</c:v>
                </c:pt>
                <c:pt idx="1929">
                  <c:v>-0.15630533999999999</c:v>
                </c:pt>
                <c:pt idx="1930">
                  <c:v>-0.15617195</c:v>
                </c:pt>
                <c:pt idx="1931">
                  <c:v>-0.15603833</c:v>
                </c:pt>
                <c:pt idx="1932">
                  <c:v>-0.15590513</c:v>
                </c:pt>
                <c:pt idx="1933">
                  <c:v>-0.15577083</c:v>
                </c:pt>
                <c:pt idx="1934">
                  <c:v>-0.15563853999999999</c:v>
                </c:pt>
                <c:pt idx="1935">
                  <c:v>-0.15550501</c:v>
                </c:pt>
                <c:pt idx="1936">
                  <c:v>-0.15537264000000001</c:v>
                </c:pt>
                <c:pt idx="1937">
                  <c:v>-0.1552404</c:v>
                </c:pt>
                <c:pt idx="1938">
                  <c:v>-0.15510762</c:v>
                </c:pt>
                <c:pt idx="1939">
                  <c:v>-0.15497480999999999</c:v>
                </c:pt>
                <c:pt idx="1940">
                  <c:v>-0.15484165999999999</c:v>
                </c:pt>
                <c:pt idx="1941">
                  <c:v>-0.15470886</c:v>
                </c:pt>
                <c:pt idx="1942">
                  <c:v>-0.15457647999999999</c:v>
                </c:pt>
                <c:pt idx="1943">
                  <c:v>-0.15444358999999999</c:v>
                </c:pt>
                <c:pt idx="1944">
                  <c:v>-0.15431181999999999</c:v>
                </c:pt>
                <c:pt idx="1945">
                  <c:v>-0.15417921000000001</c:v>
                </c:pt>
                <c:pt idx="1946">
                  <c:v>-0.15404648000000001</c:v>
                </c:pt>
                <c:pt idx="1947">
                  <c:v>-0.15391437999999999</c:v>
                </c:pt>
                <c:pt idx="1948">
                  <c:v>-0.15378183000000001</c:v>
                </c:pt>
                <c:pt idx="1949">
                  <c:v>-0.15364924999999999</c:v>
                </c:pt>
                <c:pt idx="1950">
                  <c:v>-0.1535174</c:v>
                </c:pt>
                <c:pt idx="1951">
                  <c:v>-0.15338500999999999</c:v>
                </c:pt>
                <c:pt idx="1952">
                  <c:v>-0.15325315</c:v>
                </c:pt>
                <c:pt idx="1953">
                  <c:v>-0.15312155999999999</c:v>
                </c:pt>
                <c:pt idx="1954">
                  <c:v>-0.15298923</c:v>
                </c:pt>
                <c:pt idx="1955">
                  <c:v>-0.15285755000000001</c:v>
                </c:pt>
                <c:pt idx="1956">
                  <c:v>-0.15272503000000001</c:v>
                </c:pt>
                <c:pt idx="1957">
                  <c:v>-0.15259354</c:v>
                </c:pt>
                <c:pt idx="1958">
                  <c:v>-0.15246192</c:v>
                </c:pt>
                <c:pt idx="1959">
                  <c:v>-0.15233053999999999</c:v>
                </c:pt>
                <c:pt idx="1960">
                  <c:v>-0.15219872000000001</c:v>
                </c:pt>
                <c:pt idx="1961">
                  <c:v>-0.15206675</c:v>
                </c:pt>
                <c:pt idx="1962">
                  <c:v>-0.15193670000000001</c:v>
                </c:pt>
                <c:pt idx="1963">
                  <c:v>-0.15180445000000001</c:v>
                </c:pt>
                <c:pt idx="1964">
                  <c:v>-0.15167372000000001</c:v>
                </c:pt>
                <c:pt idx="1965">
                  <c:v>-0.15154216000000001</c:v>
                </c:pt>
                <c:pt idx="1966">
                  <c:v>-0.15141143000000001</c:v>
                </c:pt>
                <c:pt idx="1967">
                  <c:v>-0.15127947999999999</c:v>
                </c:pt>
                <c:pt idx="1968">
                  <c:v>-0.15114865999999999</c:v>
                </c:pt>
                <c:pt idx="1969">
                  <c:v>-0.15101818</c:v>
                </c:pt>
                <c:pt idx="1970">
                  <c:v>-0.15088688</c:v>
                </c:pt>
                <c:pt idx="1971">
                  <c:v>-0.15075514000000001</c:v>
                </c:pt>
                <c:pt idx="1972">
                  <c:v>-0.15062502</c:v>
                </c:pt>
                <c:pt idx="1973">
                  <c:v>-0.15049367</c:v>
                </c:pt>
                <c:pt idx="1974">
                  <c:v>-0.15036325</c:v>
                </c:pt>
                <c:pt idx="1975">
                  <c:v>-0.15023259999999999</c:v>
                </c:pt>
                <c:pt idx="1976">
                  <c:v>-0.15010208999999999</c:v>
                </c:pt>
                <c:pt idx="1977">
                  <c:v>-0.14997162999999999</c:v>
                </c:pt>
                <c:pt idx="1978">
                  <c:v>-0.14984111999999999</c:v>
                </c:pt>
                <c:pt idx="1979">
                  <c:v>-0.14971038</c:v>
                </c:pt>
                <c:pt idx="1980">
                  <c:v>-0.14958007000000001</c:v>
                </c:pt>
                <c:pt idx="1981">
                  <c:v>-0.14945011</c:v>
                </c:pt>
                <c:pt idx="1982">
                  <c:v>-0.14931902999999999</c:v>
                </c:pt>
                <c:pt idx="1983">
                  <c:v>-0.14918946</c:v>
                </c:pt>
                <c:pt idx="1984">
                  <c:v>-0.14905948999999999</c:v>
                </c:pt>
                <c:pt idx="1985">
                  <c:v>-0.14892933</c:v>
                </c:pt>
                <c:pt idx="1986">
                  <c:v>-0.14879874000000001</c:v>
                </c:pt>
                <c:pt idx="1987">
                  <c:v>-0.14866858999999999</c:v>
                </c:pt>
                <c:pt idx="1988">
                  <c:v>-0.14853831000000001</c:v>
                </c:pt>
                <c:pt idx="1989">
                  <c:v>-0.14840962999999999</c:v>
                </c:pt>
                <c:pt idx="1990">
                  <c:v>-0.14827963</c:v>
                </c:pt>
                <c:pt idx="1991">
                  <c:v>-0.14815057000000001</c:v>
                </c:pt>
                <c:pt idx="1992">
                  <c:v>-0.14801979000000001</c:v>
                </c:pt>
                <c:pt idx="1993">
                  <c:v>-0.14788935</c:v>
                </c:pt>
                <c:pt idx="1994">
                  <c:v>-0.14776114000000001</c:v>
                </c:pt>
                <c:pt idx="1995">
                  <c:v>-0.14763158000000001</c:v>
                </c:pt>
                <c:pt idx="1996">
                  <c:v>-0.14750228000000001</c:v>
                </c:pt>
                <c:pt idx="1997">
                  <c:v>-0.14737210000000001</c:v>
                </c:pt>
                <c:pt idx="1998">
                  <c:v>-0.14724377</c:v>
                </c:pt>
                <c:pt idx="1999">
                  <c:v>-0.14711421999999999</c:v>
                </c:pt>
                <c:pt idx="2000">
                  <c:v>-0.14698504000000001</c:v>
                </c:pt>
                <c:pt idx="2001">
                  <c:v>-0.14685529</c:v>
                </c:pt>
                <c:pt idx="2002">
                  <c:v>-0.14672637999999999</c:v>
                </c:pt>
                <c:pt idx="2003">
                  <c:v>-0.14659734999999999</c:v>
                </c:pt>
                <c:pt idx="2004">
                  <c:v>-0.14646882999999999</c:v>
                </c:pt>
                <c:pt idx="2005">
                  <c:v>-0.14633947999999999</c:v>
                </c:pt>
                <c:pt idx="2006">
                  <c:v>-0.14621001</c:v>
                </c:pt>
                <c:pt idx="2007">
                  <c:v>-0.14608164000000001</c:v>
                </c:pt>
                <c:pt idx="2008">
                  <c:v>-0.14595301999999999</c:v>
                </c:pt>
                <c:pt idx="2009">
                  <c:v>-0.14582497</c:v>
                </c:pt>
                <c:pt idx="2010">
                  <c:v>-0.14569563999999999</c:v>
                </c:pt>
                <c:pt idx="2011">
                  <c:v>-0.14556658</c:v>
                </c:pt>
                <c:pt idx="2012">
                  <c:v>-0.14543917000000001</c:v>
                </c:pt>
                <c:pt idx="2013">
                  <c:v>-0.14530992000000001</c:v>
                </c:pt>
                <c:pt idx="2014">
                  <c:v>-0.14518191</c:v>
                </c:pt>
                <c:pt idx="2015">
                  <c:v>-0.14505356999999999</c:v>
                </c:pt>
                <c:pt idx="2016">
                  <c:v>-0.14492563999999999</c:v>
                </c:pt>
                <c:pt idx="2017">
                  <c:v>-0.14479628999999999</c:v>
                </c:pt>
                <c:pt idx="2018">
                  <c:v>-0.14466915999999999</c:v>
                </c:pt>
                <c:pt idx="2019">
                  <c:v>-0.14454079</c:v>
                </c:pt>
                <c:pt idx="2020">
                  <c:v>-0.14441258000000001</c:v>
                </c:pt>
                <c:pt idx="2021">
                  <c:v>-0.14428561000000001</c:v>
                </c:pt>
                <c:pt idx="2022">
                  <c:v>-0.14415729999999999</c:v>
                </c:pt>
                <c:pt idx="2023">
                  <c:v>-0.14402872999999999</c:v>
                </c:pt>
                <c:pt idx="2024">
                  <c:v>-0.14390124000000001</c:v>
                </c:pt>
                <c:pt idx="2025">
                  <c:v>-0.14377375000000001</c:v>
                </c:pt>
                <c:pt idx="2026">
                  <c:v>-0.14364631999999999</c:v>
                </c:pt>
                <c:pt idx="2027">
                  <c:v>-0.14351797999999999</c:v>
                </c:pt>
                <c:pt idx="2028">
                  <c:v>-0.14339113000000001</c:v>
                </c:pt>
                <c:pt idx="2029">
                  <c:v>-0.14326285</c:v>
                </c:pt>
                <c:pt idx="2030">
                  <c:v>-0.14313566</c:v>
                </c:pt>
                <c:pt idx="2031">
                  <c:v>-0.14300768</c:v>
                </c:pt>
                <c:pt idx="2032">
                  <c:v>-0.14288113</c:v>
                </c:pt>
                <c:pt idx="2033">
                  <c:v>-0.14275408000000001</c:v>
                </c:pt>
                <c:pt idx="2034">
                  <c:v>-0.14262625000000001</c:v>
                </c:pt>
                <c:pt idx="2035">
                  <c:v>-0.14249870000000001</c:v>
                </c:pt>
                <c:pt idx="2036">
                  <c:v>-0.14237253</c:v>
                </c:pt>
                <c:pt idx="2037">
                  <c:v>-0.14224485000000001</c:v>
                </c:pt>
                <c:pt idx="2038">
                  <c:v>-0.14211834000000001</c:v>
                </c:pt>
                <c:pt idx="2039">
                  <c:v>-0.14199065</c:v>
                </c:pt>
                <c:pt idx="2040">
                  <c:v>-0.14186419</c:v>
                </c:pt>
                <c:pt idx="2041">
                  <c:v>-0.14173748</c:v>
                </c:pt>
                <c:pt idx="2042">
                  <c:v>-0.14161077999999999</c:v>
                </c:pt>
                <c:pt idx="2043">
                  <c:v>-0.14148437</c:v>
                </c:pt>
                <c:pt idx="2044">
                  <c:v>-0.14135727000000001</c:v>
                </c:pt>
                <c:pt idx="2045">
                  <c:v>-0.14123036</c:v>
                </c:pt>
                <c:pt idx="2046">
                  <c:v>-0.14110400000000001</c:v>
                </c:pt>
                <c:pt idx="2047">
                  <c:v>-0.14097802000000001</c:v>
                </c:pt>
                <c:pt idx="2048">
                  <c:v>-0.14085164999999999</c:v>
                </c:pt>
                <c:pt idx="2049">
                  <c:v>-0.14072571</c:v>
                </c:pt>
                <c:pt idx="2050">
                  <c:v>-0.14059922</c:v>
                </c:pt>
                <c:pt idx="2051">
                  <c:v>-0.14047250999999999</c:v>
                </c:pt>
                <c:pt idx="2052">
                  <c:v>-0.14034761000000001</c:v>
                </c:pt>
                <c:pt idx="2053">
                  <c:v>-0.14022055999999999</c:v>
                </c:pt>
                <c:pt idx="2054">
                  <c:v>-0.14009466000000001</c:v>
                </c:pt>
                <c:pt idx="2055">
                  <c:v>-0.13996765</c:v>
                </c:pt>
                <c:pt idx="2056">
                  <c:v>-0.13984250000000001</c:v>
                </c:pt>
                <c:pt idx="2057">
                  <c:v>-0.1397166</c:v>
                </c:pt>
                <c:pt idx="2058">
                  <c:v>-0.13959099</c:v>
                </c:pt>
                <c:pt idx="2059">
                  <c:v>-0.13946463000000001</c:v>
                </c:pt>
                <c:pt idx="2060">
                  <c:v>-0.13933951</c:v>
                </c:pt>
                <c:pt idx="2061">
                  <c:v>-0.13921317999999999</c:v>
                </c:pt>
                <c:pt idx="2062">
                  <c:v>-0.13908872</c:v>
                </c:pt>
                <c:pt idx="2063">
                  <c:v>-0.13896257000000001</c:v>
                </c:pt>
                <c:pt idx="2064">
                  <c:v>-0.13883697</c:v>
                </c:pt>
                <c:pt idx="2065">
                  <c:v>-0.13871220000000001</c:v>
                </c:pt>
                <c:pt idx="2066">
                  <c:v>-0.13858659000000001</c:v>
                </c:pt>
                <c:pt idx="2067">
                  <c:v>-0.13846073</c:v>
                </c:pt>
                <c:pt idx="2068">
                  <c:v>-0.13833538000000001</c:v>
                </c:pt>
                <c:pt idx="2069">
                  <c:v>-0.1382109</c:v>
                </c:pt>
                <c:pt idx="2070">
                  <c:v>-0.1380856</c:v>
                </c:pt>
                <c:pt idx="2071">
                  <c:v>-0.13796052</c:v>
                </c:pt>
                <c:pt idx="2072">
                  <c:v>-0.13783451999999999</c:v>
                </c:pt>
                <c:pt idx="2073">
                  <c:v>-0.13770989</c:v>
                </c:pt>
                <c:pt idx="2074">
                  <c:v>-0.13758585000000001</c:v>
                </c:pt>
                <c:pt idx="2075">
                  <c:v>-0.13746115</c:v>
                </c:pt>
                <c:pt idx="2076">
                  <c:v>-0.13733611000000001</c:v>
                </c:pt>
                <c:pt idx="2077">
                  <c:v>-0.13721051000000001</c:v>
                </c:pt>
                <c:pt idx="2078">
                  <c:v>-0.13708718</c:v>
                </c:pt>
                <c:pt idx="2079">
                  <c:v>-0.13696206999999999</c:v>
                </c:pt>
                <c:pt idx="2080">
                  <c:v>-0.13683723</c:v>
                </c:pt>
                <c:pt idx="2081">
                  <c:v>-0.13671321</c:v>
                </c:pt>
                <c:pt idx="2082">
                  <c:v>-0.13658814</c:v>
                </c:pt>
                <c:pt idx="2083">
                  <c:v>-0.13646419000000001</c:v>
                </c:pt>
                <c:pt idx="2084">
                  <c:v>-0.13633972999999999</c:v>
                </c:pt>
                <c:pt idx="2085">
                  <c:v>-0.13621538</c:v>
                </c:pt>
                <c:pt idx="2086">
                  <c:v>-0.13609188999999999</c:v>
                </c:pt>
                <c:pt idx="2087">
                  <c:v>-0.13596757000000001</c:v>
                </c:pt>
                <c:pt idx="2088">
                  <c:v>-0.13584294999999999</c:v>
                </c:pt>
                <c:pt idx="2089">
                  <c:v>-0.13571950999999999</c:v>
                </c:pt>
                <c:pt idx="2090">
                  <c:v>-0.13559561000000001</c:v>
                </c:pt>
                <c:pt idx="2091">
                  <c:v>-0.13547223999999999</c:v>
                </c:pt>
                <c:pt idx="2092">
                  <c:v>-0.13534777000000001</c:v>
                </c:pt>
                <c:pt idx="2093">
                  <c:v>-0.13522413</c:v>
                </c:pt>
                <c:pt idx="2094">
                  <c:v>-0.13510059999999999</c:v>
                </c:pt>
                <c:pt idx="2095">
                  <c:v>-0.13497645</c:v>
                </c:pt>
                <c:pt idx="2096">
                  <c:v>-0.13485341000000001</c:v>
                </c:pt>
                <c:pt idx="2097">
                  <c:v>-0.13472955</c:v>
                </c:pt>
                <c:pt idx="2098">
                  <c:v>-0.13460535000000001</c:v>
                </c:pt>
                <c:pt idx="2099">
                  <c:v>-0.13448226999999999</c:v>
                </c:pt>
                <c:pt idx="2100">
                  <c:v>-0.13435932</c:v>
                </c:pt>
                <c:pt idx="2101">
                  <c:v>-0.13423574999999999</c:v>
                </c:pt>
                <c:pt idx="2102">
                  <c:v>-0.13411222</c:v>
                </c:pt>
                <c:pt idx="2103">
                  <c:v>-0.13398913000000001</c:v>
                </c:pt>
                <c:pt idx="2104">
                  <c:v>-0.13386628</c:v>
                </c:pt>
                <c:pt idx="2105">
                  <c:v>-0.133743</c:v>
                </c:pt>
                <c:pt idx="2106">
                  <c:v>-0.13362004</c:v>
                </c:pt>
                <c:pt idx="2107">
                  <c:v>-0.13349695</c:v>
                </c:pt>
                <c:pt idx="2108">
                  <c:v>-0.13337439000000001</c:v>
                </c:pt>
                <c:pt idx="2109">
                  <c:v>-0.13325147000000001</c:v>
                </c:pt>
                <c:pt idx="2110">
                  <c:v>-0.13312911999999999</c:v>
                </c:pt>
                <c:pt idx="2111">
                  <c:v>-0.13300619999999999</c:v>
                </c:pt>
                <c:pt idx="2112">
                  <c:v>-0.13288333999999999</c:v>
                </c:pt>
                <c:pt idx="2113">
                  <c:v>-0.13276110999999999</c:v>
                </c:pt>
                <c:pt idx="2114">
                  <c:v>-0.13263747000000001</c:v>
                </c:pt>
                <c:pt idx="2115">
                  <c:v>-0.13251581000000001</c:v>
                </c:pt>
                <c:pt idx="2116">
                  <c:v>-0.13239313</c:v>
                </c:pt>
                <c:pt idx="2117">
                  <c:v>-0.13227062000000001</c:v>
                </c:pt>
                <c:pt idx="2118">
                  <c:v>-0.13214775000000001</c:v>
                </c:pt>
                <c:pt idx="2119">
                  <c:v>-0.13202589000000001</c:v>
                </c:pt>
                <c:pt idx="2120">
                  <c:v>-0.13190409</c:v>
                </c:pt>
                <c:pt idx="2121">
                  <c:v>-0.13178134999999999</c:v>
                </c:pt>
                <c:pt idx="2122">
                  <c:v>-0.13166001999999999</c:v>
                </c:pt>
                <c:pt idx="2123">
                  <c:v>-0.13153727000000001</c:v>
                </c:pt>
                <c:pt idx="2124">
                  <c:v>-0.13141516</c:v>
                </c:pt>
                <c:pt idx="2125">
                  <c:v>-0.13129419000000001</c:v>
                </c:pt>
                <c:pt idx="2126">
                  <c:v>-0.13117149</c:v>
                </c:pt>
                <c:pt idx="2127">
                  <c:v>-0.13105042</c:v>
                </c:pt>
                <c:pt idx="2128">
                  <c:v>-0.13092827000000001</c:v>
                </c:pt>
                <c:pt idx="2129">
                  <c:v>-0.13080620000000001</c:v>
                </c:pt>
                <c:pt idx="2130">
                  <c:v>-0.13068548999999999</c:v>
                </c:pt>
                <c:pt idx="2131">
                  <c:v>-0.13056339</c:v>
                </c:pt>
                <c:pt idx="2132">
                  <c:v>-0.13044194000000001</c:v>
                </c:pt>
                <c:pt idx="2133">
                  <c:v>-0.13032004999999999</c:v>
                </c:pt>
                <c:pt idx="2134">
                  <c:v>-0.13019858000000001</c:v>
                </c:pt>
                <c:pt idx="2135">
                  <c:v>-0.13007782000000001</c:v>
                </c:pt>
                <c:pt idx="2136">
                  <c:v>-0.12995723000000001</c:v>
                </c:pt>
                <c:pt idx="2137">
                  <c:v>-0.12983621000000001</c:v>
                </c:pt>
                <c:pt idx="2138">
                  <c:v>-0.12971418000000001</c:v>
                </c:pt>
                <c:pt idx="2139">
                  <c:v>-0.12959272999999999</c:v>
                </c:pt>
                <c:pt idx="2140">
                  <c:v>-0.12947207999999999</c:v>
                </c:pt>
                <c:pt idx="2141">
                  <c:v>-0.12935126</c:v>
                </c:pt>
                <c:pt idx="2142">
                  <c:v>-0.12923084000000001</c:v>
                </c:pt>
                <c:pt idx="2143">
                  <c:v>-0.12910891999999999</c:v>
                </c:pt>
                <c:pt idx="2144">
                  <c:v>-0.12898921999999999</c:v>
                </c:pt>
                <c:pt idx="2145">
                  <c:v>-0.12886776999999999</c:v>
                </c:pt>
                <c:pt idx="2146">
                  <c:v>-0.12874656000000001</c:v>
                </c:pt>
                <c:pt idx="2147">
                  <c:v>-0.12862666</c:v>
                </c:pt>
                <c:pt idx="2148">
                  <c:v>-0.12850574000000001</c:v>
                </c:pt>
                <c:pt idx="2149">
                  <c:v>-0.12838506999999999</c:v>
                </c:pt>
                <c:pt idx="2150">
                  <c:v>-0.12826496000000001</c:v>
                </c:pt>
                <c:pt idx="2151">
                  <c:v>-0.12814362000000001</c:v>
                </c:pt>
                <c:pt idx="2152">
                  <c:v>-0.12802357</c:v>
                </c:pt>
                <c:pt idx="2153">
                  <c:v>-0.12790317000000001</c:v>
                </c:pt>
                <c:pt idx="2154">
                  <c:v>-0.12778350999999999</c:v>
                </c:pt>
                <c:pt idx="2155">
                  <c:v>-0.12766234000000001</c:v>
                </c:pt>
                <c:pt idx="2156">
                  <c:v>-0.12754307000000001</c:v>
                </c:pt>
                <c:pt idx="2157">
                  <c:v>-0.12742244999999999</c:v>
                </c:pt>
                <c:pt idx="2158">
                  <c:v>-0.12730341000000001</c:v>
                </c:pt>
                <c:pt idx="2159">
                  <c:v>-0.12718267999999999</c:v>
                </c:pt>
                <c:pt idx="2160">
                  <c:v>-0.12706307</c:v>
                </c:pt>
                <c:pt idx="2161">
                  <c:v>-0.12694372000000001</c:v>
                </c:pt>
                <c:pt idx="2162">
                  <c:v>-0.12682412000000001</c:v>
                </c:pt>
                <c:pt idx="2163">
                  <c:v>-0.12670334999999999</c:v>
                </c:pt>
                <c:pt idx="2164">
                  <c:v>-0.12658463</c:v>
                </c:pt>
                <c:pt idx="2165">
                  <c:v>-0.12646514</c:v>
                </c:pt>
                <c:pt idx="2166">
                  <c:v>-0.12634500000000001</c:v>
                </c:pt>
                <c:pt idx="2167">
                  <c:v>-0.1262259</c:v>
                </c:pt>
                <c:pt idx="2168">
                  <c:v>-0.12610642</c:v>
                </c:pt>
                <c:pt idx="2169">
                  <c:v>-0.12598704999999999</c:v>
                </c:pt>
                <c:pt idx="2170">
                  <c:v>-0.12586742000000001</c:v>
                </c:pt>
                <c:pt idx="2171">
                  <c:v>-0.12574851000000001</c:v>
                </c:pt>
                <c:pt idx="2172">
                  <c:v>-0.12562961</c:v>
                </c:pt>
                <c:pt idx="2173">
                  <c:v>-0.12551029999999999</c:v>
                </c:pt>
                <c:pt idx="2174">
                  <c:v>-0.12539021</c:v>
                </c:pt>
                <c:pt idx="2175">
                  <c:v>-0.12527266000000001</c:v>
                </c:pt>
                <c:pt idx="2176">
                  <c:v>-0.12515311000000001</c:v>
                </c:pt>
                <c:pt idx="2177">
                  <c:v>-0.12503392999999999</c:v>
                </c:pt>
                <c:pt idx="2178">
                  <c:v>-0.12491526</c:v>
                </c:pt>
                <c:pt idx="2179">
                  <c:v>-0.12479683</c:v>
                </c:pt>
                <c:pt idx="2180">
                  <c:v>-0.12467747999999999</c:v>
                </c:pt>
                <c:pt idx="2181">
                  <c:v>-0.12455856999999999</c:v>
                </c:pt>
                <c:pt idx="2182">
                  <c:v>-0.12444011000000001</c:v>
                </c:pt>
                <c:pt idx="2183">
                  <c:v>-0.12432245</c:v>
                </c:pt>
                <c:pt idx="2184">
                  <c:v>-0.12420394</c:v>
                </c:pt>
                <c:pt idx="2185">
                  <c:v>-0.12408532999999999</c:v>
                </c:pt>
                <c:pt idx="2186">
                  <c:v>-0.1239672</c:v>
                </c:pt>
                <c:pt idx="2187">
                  <c:v>-0.12384815</c:v>
                </c:pt>
                <c:pt idx="2188">
                  <c:v>-0.12372978</c:v>
                </c:pt>
                <c:pt idx="2189">
                  <c:v>-0.12361169</c:v>
                </c:pt>
                <c:pt idx="2190">
                  <c:v>-0.12349383</c:v>
                </c:pt>
                <c:pt idx="2191">
                  <c:v>-0.12337555</c:v>
                </c:pt>
                <c:pt idx="2192">
                  <c:v>-0.12325758000000001</c:v>
                </c:pt>
                <c:pt idx="2193">
                  <c:v>-0.12313963999999999</c:v>
                </c:pt>
                <c:pt idx="2194">
                  <c:v>-0.1230214</c:v>
                </c:pt>
                <c:pt idx="2195">
                  <c:v>-0.12290455</c:v>
                </c:pt>
                <c:pt idx="2196">
                  <c:v>-0.12278556</c:v>
                </c:pt>
                <c:pt idx="2197">
                  <c:v>-0.12266902</c:v>
                </c:pt>
                <c:pt idx="2198">
                  <c:v>-0.12254956</c:v>
                </c:pt>
                <c:pt idx="2199">
                  <c:v>-0.12243233000000001</c:v>
                </c:pt>
                <c:pt idx="2200">
                  <c:v>-0.12231532000000001</c:v>
                </c:pt>
                <c:pt idx="2201">
                  <c:v>-0.12219835</c:v>
                </c:pt>
                <c:pt idx="2202">
                  <c:v>-0.12208073</c:v>
                </c:pt>
                <c:pt idx="2203">
                  <c:v>-0.12196276</c:v>
                </c:pt>
                <c:pt idx="2204">
                  <c:v>-0.12184523999999999</c:v>
                </c:pt>
                <c:pt idx="2205">
                  <c:v>-0.12172765000000001</c:v>
                </c:pt>
                <c:pt idx="2206">
                  <c:v>-0.12161155999999999</c:v>
                </c:pt>
                <c:pt idx="2207">
                  <c:v>-0.12149322999999999</c:v>
                </c:pt>
                <c:pt idx="2208">
                  <c:v>-0.12137711</c:v>
                </c:pt>
                <c:pt idx="2209">
                  <c:v>-0.12126029000000001</c:v>
                </c:pt>
                <c:pt idx="2210">
                  <c:v>-0.12114219</c:v>
                </c:pt>
                <c:pt idx="2211">
                  <c:v>-0.12102518</c:v>
                </c:pt>
                <c:pt idx="2212">
                  <c:v>-0.12090927999999999</c:v>
                </c:pt>
                <c:pt idx="2213">
                  <c:v>-0.12079215</c:v>
                </c:pt>
                <c:pt idx="2214">
                  <c:v>-0.12067501999999999</c:v>
                </c:pt>
                <c:pt idx="2215">
                  <c:v>-0.12055808</c:v>
                </c:pt>
                <c:pt idx="2216">
                  <c:v>-0.12044207</c:v>
                </c:pt>
                <c:pt idx="2217">
                  <c:v>-0.12032536000000001</c:v>
                </c:pt>
                <c:pt idx="2218">
                  <c:v>-0.12020858</c:v>
                </c:pt>
                <c:pt idx="2219">
                  <c:v>-0.12009145</c:v>
                </c:pt>
                <c:pt idx="2220">
                  <c:v>-0.11997558999999999</c:v>
                </c:pt>
                <c:pt idx="2221">
                  <c:v>-0.11985919</c:v>
                </c:pt>
                <c:pt idx="2222">
                  <c:v>-0.11974426000000001</c:v>
                </c:pt>
                <c:pt idx="2223">
                  <c:v>-0.11962676999999999</c:v>
                </c:pt>
                <c:pt idx="2224">
                  <c:v>-0.11951042000000001</c:v>
                </c:pt>
                <c:pt idx="2225">
                  <c:v>-0.11939548</c:v>
                </c:pt>
                <c:pt idx="2226">
                  <c:v>-0.11927857</c:v>
                </c:pt>
                <c:pt idx="2227">
                  <c:v>-0.11916305000000001</c:v>
                </c:pt>
                <c:pt idx="2228">
                  <c:v>-0.11904693</c:v>
                </c:pt>
                <c:pt idx="2229">
                  <c:v>-0.11893056</c:v>
                </c:pt>
                <c:pt idx="2230">
                  <c:v>-0.11881506999999999</c:v>
                </c:pt>
                <c:pt idx="2231">
                  <c:v>-0.11869855</c:v>
                </c:pt>
                <c:pt idx="2232">
                  <c:v>-0.11858323</c:v>
                </c:pt>
                <c:pt idx="2233">
                  <c:v>-0.1184677</c:v>
                </c:pt>
                <c:pt idx="2234">
                  <c:v>-0.11835171999999999</c:v>
                </c:pt>
                <c:pt idx="2235">
                  <c:v>-0.11823657</c:v>
                </c:pt>
                <c:pt idx="2236">
                  <c:v>-0.11812164999999999</c:v>
                </c:pt>
                <c:pt idx="2237">
                  <c:v>-0.118005</c:v>
                </c:pt>
                <c:pt idx="2238">
                  <c:v>-0.11788996</c:v>
                </c:pt>
                <c:pt idx="2239">
                  <c:v>-0.11777548</c:v>
                </c:pt>
                <c:pt idx="2240">
                  <c:v>-0.11766024</c:v>
                </c:pt>
                <c:pt idx="2241">
                  <c:v>-0.11754438</c:v>
                </c:pt>
                <c:pt idx="2242">
                  <c:v>-0.11742951</c:v>
                </c:pt>
                <c:pt idx="2243">
                  <c:v>-0.11731431</c:v>
                </c:pt>
                <c:pt idx="2244">
                  <c:v>-0.11719918</c:v>
                </c:pt>
                <c:pt idx="2245">
                  <c:v>-0.11708403000000001</c:v>
                </c:pt>
                <c:pt idx="2246">
                  <c:v>-0.11696929</c:v>
                </c:pt>
                <c:pt idx="2247">
                  <c:v>-0.11685418</c:v>
                </c:pt>
                <c:pt idx="2248">
                  <c:v>-0.11673989</c:v>
                </c:pt>
                <c:pt idx="2249">
                  <c:v>-0.11662519</c:v>
                </c:pt>
                <c:pt idx="2250">
                  <c:v>-0.11650968</c:v>
                </c:pt>
                <c:pt idx="2251">
                  <c:v>-0.11639592999999999</c:v>
                </c:pt>
                <c:pt idx="2252">
                  <c:v>-0.11628105</c:v>
                </c:pt>
                <c:pt idx="2253">
                  <c:v>-0.11616659999999999</c:v>
                </c:pt>
                <c:pt idx="2254">
                  <c:v>-0.1160523</c:v>
                </c:pt>
                <c:pt idx="2255">
                  <c:v>-0.11593812000000001</c:v>
                </c:pt>
                <c:pt idx="2256">
                  <c:v>-0.11582362</c:v>
                </c:pt>
                <c:pt idx="2257">
                  <c:v>-0.11571001</c:v>
                </c:pt>
                <c:pt idx="2258">
                  <c:v>-0.11559473000000001</c:v>
                </c:pt>
                <c:pt idx="2259">
                  <c:v>-0.11548074999999999</c:v>
                </c:pt>
                <c:pt idx="2260">
                  <c:v>-0.11536592</c:v>
                </c:pt>
                <c:pt idx="2261">
                  <c:v>-0.11525241999999999</c:v>
                </c:pt>
                <c:pt idx="2262">
                  <c:v>-0.11513912</c:v>
                </c:pt>
                <c:pt idx="2263">
                  <c:v>-0.11502426</c:v>
                </c:pt>
                <c:pt idx="2264">
                  <c:v>-0.11491028</c:v>
                </c:pt>
                <c:pt idx="2265">
                  <c:v>-0.11479696</c:v>
                </c:pt>
                <c:pt idx="2266">
                  <c:v>-0.11468378</c:v>
                </c:pt>
                <c:pt idx="2267">
                  <c:v>-0.11456967</c:v>
                </c:pt>
                <c:pt idx="2268">
                  <c:v>-0.11445688</c:v>
                </c:pt>
                <c:pt idx="2269">
                  <c:v>-0.11434215</c:v>
                </c:pt>
                <c:pt idx="2270">
                  <c:v>-0.11422866</c:v>
                </c:pt>
                <c:pt idx="2271">
                  <c:v>-0.11411515999999999</c:v>
                </c:pt>
                <c:pt idx="2272">
                  <c:v>-0.11400105000000001</c:v>
                </c:pt>
                <c:pt idx="2273">
                  <c:v>-0.11388816</c:v>
                </c:pt>
                <c:pt idx="2274">
                  <c:v>-0.11377435</c:v>
                </c:pt>
                <c:pt idx="2275">
                  <c:v>-0.11366126999999999</c:v>
                </c:pt>
                <c:pt idx="2276">
                  <c:v>-0.11354892</c:v>
                </c:pt>
                <c:pt idx="2277">
                  <c:v>-0.11343507</c:v>
                </c:pt>
                <c:pt idx="2278">
                  <c:v>-0.11332194</c:v>
                </c:pt>
                <c:pt idx="2279">
                  <c:v>-0.11320897000000001</c:v>
                </c:pt>
                <c:pt idx="2280">
                  <c:v>-0.11309637</c:v>
                </c:pt>
                <c:pt idx="2281">
                  <c:v>-0.11298328000000001</c:v>
                </c:pt>
                <c:pt idx="2282">
                  <c:v>-0.11287026</c:v>
                </c:pt>
                <c:pt idx="2283">
                  <c:v>-0.11275762</c:v>
                </c:pt>
                <c:pt idx="2284">
                  <c:v>-0.11264449</c:v>
                </c:pt>
                <c:pt idx="2285">
                  <c:v>-0.11253165</c:v>
                </c:pt>
                <c:pt idx="2286">
                  <c:v>-0.11242004</c:v>
                </c:pt>
                <c:pt idx="2287">
                  <c:v>-0.11230751</c:v>
                </c:pt>
                <c:pt idx="2288">
                  <c:v>-0.11219405</c:v>
                </c:pt>
                <c:pt idx="2289">
                  <c:v>-0.11208298</c:v>
                </c:pt>
                <c:pt idx="2290">
                  <c:v>-0.11196889</c:v>
                </c:pt>
                <c:pt idx="2291">
                  <c:v>-0.11185711</c:v>
                </c:pt>
                <c:pt idx="2292">
                  <c:v>-0.11174536</c:v>
                </c:pt>
                <c:pt idx="2293">
                  <c:v>-0.11163238</c:v>
                </c:pt>
                <c:pt idx="2294">
                  <c:v>-0.11152062</c:v>
                </c:pt>
                <c:pt idx="2295">
                  <c:v>-0.11140795000000001</c:v>
                </c:pt>
                <c:pt idx="2296">
                  <c:v>-0.11129487</c:v>
                </c:pt>
                <c:pt idx="2297">
                  <c:v>-0.1111853</c:v>
                </c:pt>
                <c:pt idx="2298">
                  <c:v>-0.11107316</c:v>
                </c:pt>
                <c:pt idx="2299">
                  <c:v>-0.11095953</c:v>
                </c:pt>
                <c:pt idx="2300">
                  <c:v>-0.11084885</c:v>
                </c:pt>
                <c:pt idx="2301">
                  <c:v>-0.11073781000000001</c:v>
                </c:pt>
                <c:pt idx="2302">
                  <c:v>-0.11062424999999999</c:v>
                </c:pt>
                <c:pt idx="2303">
                  <c:v>-0.11051349000000001</c:v>
                </c:pt>
                <c:pt idx="2304">
                  <c:v>-0.11040247</c:v>
                </c:pt>
                <c:pt idx="2305">
                  <c:v>-0.11028994</c:v>
                </c:pt>
                <c:pt idx="2306">
                  <c:v>-0.11017979</c:v>
                </c:pt>
                <c:pt idx="2307">
                  <c:v>-0.11006871999999999</c:v>
                </c:pt>
                <c:pt idx="2308">
                  <c:v>-0.10995621999999999</c:v>
                </c:pt>
                <c:pt idx="2309">
                  <c:v>-0.10984499</c:v>
                </c:pt>
                <c:pt idx="2310">
                  <c:v>-0.10973404</c:v>
                </c:pt>
                <c:pt idx="2311">
                  <c:v>-0.1096231</c:v>
                </c:pt>
                <c:pt idx="2312">
                  <c:v>-0.10951188000000001</c:v>
                </c:pt>
                <c:pt idx="2313">
                  <c:v>-0.10940029</c:v>
                </c:pt>
                <c:pt idx="2314">
                  <c:v>-0.10928997</c:v>
                </c:pt>
                <c:pt idx="2315">
                  <c:v>-0.10917921999999999</c:v>
                </c:pt>
                <c:pt idx="2316">
                  <c:v>-0.10906817000000001</c:v>
                </c:pt>
                <c:pt idx="2317">
                  <c:v>-0.10895676</c:v>
                </c:pt>
                <c:pt idx="2318">
                  <c:v>-0.10884720000000001</c:v>
                </c:pt>
                <c:pt idx="2319">
                  <c:v>-0.10873453</c:v>
                </c:pt>
                <c:pt idx="2320">
                  <c:v>-0.10862413999999999</c:v>
                </c:pt>
                <c:pt idx="2321">
                  <c:v>-0.10851450999999999</c:v>
                </c:pt>
                <c:pt idx="2322">
                  <c:v>-0.10840237</c:v>
                </c:pt>
                <c:pt idx="2323">
                  <c:v>-0.10829312000000001</c:v>
                </c:pt>
                <c:pt idx="2324">
                  <c:v>-0.10818239</c:v>
                </c:pt>
                <c:pt idx="2325">
                  <c:v>-0.1080714</c:v>
                </c:pt>
                <c:pt idx="2326">
                  <c:v>-0.10796203</c:v>
                </c:pt>
                <c:pt idx="2327">
                  <c:v>-0.1078519</c:v>
                </c:pt>
                <c:pt idx="2328">
                  <c:v>-0.10774137</c:v>
                </c:pt>
                <c:pt idx="2329">
                  <c:v>-0.10763098</c:v>
                </c:pt>
                <c:pt idx="2330">
                  <c:v>-0.10752132</c:v>
                </c:pt>
                <c:pt idx="2331">
                  <c:v>-0.10741133999999999</c:v>
                </c:pt>
                <c:pt idx="2332">
                  <c:v>-0.10730205</c:v>
                </c:pt>
                <c:pt idx="2333">
                  <c:v>-0.10719127000000001</c:v>
                </c:pt>
                <c:pt idx="2334">
                  <c:v>-0.10708077000000001</c:v>
                </c:pt>
                <c:pt idx="2335">
                  <c:v>-0.10697086</c:v>
                </c:pt>
                <c:pt idx="2336">
                  <c:v>-0.10686122000000001</c:v>
                </c:pt>
                <c:pt idx="2337">
                  <c:v>-0.10675232</c:v>
                </c:pt>
                <c:pt idx="2338">
                  <c:v>-0.10664194</c:v>
                </c:pt>
                <c:pt idx="2339">
                  <c:v>-0.10653285</c:v>
                </c:pt>
                <c:pt idx="2340">
                  <c:v>-0.10642226</c:v>
                </c:pt>
                <c:pt idx="2341">
                  <c:v>-0.10631287</c:v>
                </c:pt>
                <c:pt idx="2342">
                  <c:v>-0.10620488</c:v>
                </c:pt>
                <c:pt idx="2343">
                  <c:v>-0.10609428</c:v>
                </c:pt>
                <c:pt idx="2344">
                  <c:v>-0.10598546</c:v>
                </c:pt>
                <c:pt idx="2345">
                  <c:v>-0.10587574</c:v>
                </c:pt>
                <c:pt idx="2346">
                  <c:v>-0.10576785</c:v>
                </c:pt>
                <c:pt idx="2347">
                  <c:v>-0.10565854</c:v>
                </c:pt>
                <c:pt idx="2348">
                  <c:v>-0.10554877999999999</c:v>
                </c:pt>
                <c:pt idx="2349">
                  <c:v>-0.1054398</c:v>
                </c:pt>
                <c:pt idx="2350">
                  <c:v>-0.10533202999999999</c:v>
                </c:pt>
                <c:pt idx="2351">
                  <c:v>-0.10522231999999999</c:v>
                </c:pt>
                <c:pt idx="2352">
                  <c:v>-0.10511276</c:v>
                </c:pt>
                <c:pt idx="2353">
                  <c:v>-0.10500556</c:v>
                </c:pt>
                <c:pt idx="2354">
                  <c:v>-0.10489582</c:v>
                </c:pt>
                <c:pt idx="2355">
                  <c:v>-0.10478677</c:v>
                </c:pt>
                <c:pt idx="2356">
                  <c:v>-0.10467844</c:v>
                </c:pt>
                <c:pt idx="2357">
                  <c:v>-0.10457080000000001</c:v>
                </c:pt>
                <c:pt idx="2358">
                  <c:v>-0.10446177</c:v>
                </c:pt>
                <c:pt idx="2359">
                  <c:v>-0.10435286000000001</c:v>
                </c:pt>
                <c:pt idx="2360">
                  <c:v>-0.10424474</c:v>
                </c:pt>
                <c:pt idx="2361">
                  <c:v>-0.1041362</c:v>
                </c:pt>
                <c:pt idx="2362">
                  <c:v>-0.10402783</c:v>
                </c:pt>
                <c:pt idx="2363">
                  <c:v>-0.10392176</c:v>
                </c:pt>
                <c:pt idx="2364">
                  <c:v>-0.10381058999999999</c:v>
                </c:pt>
                <c:pt idx="2365">
                  <c:v>-0.10370327</c:v>
                </c:pt>
                <c:pt idx="2366">
                  <c:v>-0.10359617</c:v>
                </c:pt>
                <c:pt idx="2367">
                  <c:v>-0.10348649</c:v>
                </c:pt>
                <c:pt idx="2368">
                  <c:v>-0.10338077</c:v>
                </c:pt>
                <c:pt idx="2369">
                  <c:v>-0.10327042</c:v>
                </c:pt>
                <c:pt idx="2370">
                  <c:v>-0.10316344</c:v>
                </c:pt>
                <c:pt idx="2371">
                  <c:v>-0.10305659</c:v>
                </c:pt>
                <c:pt idx="2372">
                  <c:v>-0.10294833</c:v>
                </c:pt>
                <c:pt idx="2373">
                  <c:v>-0.10284134</c:v>
                </c:pt>
                <c:pt idx="2374">
                  <c:v>-0.10273235999999999</c:v>
                </c:pt>
                <c:pt idx="2375">
                  <c:v>-0.10262676</c:v>
                </c:pt>
                <c:pt idx="2376">
                  <c:v>-0.10251755</c:v>
                </c:pt>
                <c:pt idx="2377">
                  <c:v>-0.10241069999999999</c:v>
                </c:pt>
                <c:pt idx="2378">
                  <c:v>-0.10230348</c:v>
                </c:pt>
                <c:pt idx="2379">
                  <c:v>-0.10219644999999999</c:v>
                </c:pt>
                <c:pt idx="2380">
                  <c:v>-0.10208900999999999</c:v>
                </c:pt>
                <c:pt idx="2381">
                  <c:v>-0.10198117</c:v>
                </c:pt>
                <c:pt idx="2382">
                  <c:v>-0.10187359</c:v>
                </c:pt>
                <c:pt idx="2383">
                  <c:v>-0.10176778</c:v>
                </c:pt>
                <c:pt idx="2384">
                  <c:v>-0.10165989</c:v>
                </c:pt>
                <c:pt idx="2385">
                  <c:v>-0.10155442000000001</c:v>
                </c:pt>
                <c:pt idx="2386">
                  <c:v>-0.10144690000000001</c:v>
                </c:pt>
                <c:pt idx="2387">
                  <c:v>-0.10134015</c:v>
                </c:pt>
                <c:pt idx="2388">
                  <c:v>-0.10123198999999999</c:v>
                </c:pt>
                <c:pt idx="2389">
                  <c:v>-0.10112655</c:v>
                </c:pt>
                <c:pt idx="2390">
                  <c:v>-0.10101923</c:v>
                </c:pt>
                <c:pt idx="2391">
                  <c:v>-0.10091316</c:v>
                </c:pt>
                <c:pt idx="2392">
                  <c:v>-0.10080666000000001</c:v>
                </c:pt>
                <c:pt idx="2393">
                  <c:v>-0.10069986</c:v>
                </c:pt>
                <c:pt idx="2394">
                  <c:v>-0.10059373000000001</c:v>
                </c:pt>
                <c:pt idx="2395">
                  <c:v>-0.10048717</c:v>
                </c:pt>
                <c:pt idx="2396">
                  <c:v>-0.10038089</c:v>
                </c:pt>
                <c:pt idx="2397">
                  <c:v>-0.10027469999999999</c:v>
                </c:pt>
                <c:pt idx="2398">
                  <c:v>-0.10016822</c:v>
                </c:pt>
                <c:pt idx="2399">
                  <c:v>-0.10006184999999999</c:v>
                </c:pt>
                <c:pt idx="2400">
                  <c:v>-9.9956144999999996E-2</c:v>
                </c:pt>
                <c:pt idx="2401">
                  <c:v>-9.9849080000000007E-2</c:v>
                </c:pt>
                <c:pt idx="2402">
                  <c:v>-9.9745344999999999E-2</c:v>
                </c:pt>
                <c:pt idx="2403">
                  <c:v>-9.9638537999999999E-2</c:v>
                </c:pt>
                <c:pt idx="2404">
                  <c:v>-9.9532548999999998E-2</c:v>
                </c:pt>
                <c:pt idx="2405">
                  <c:v>-9.9426095000000006E-2</c:v>
                </c:pt>
                <c:pt idx="2406">
                  <c:v>-9.9320904000000002E-2</c:v>
                </c:pt>
                <c:pt idx="2407">
                  <c:v>-9.9214258E-2</c:v>
                </c:pt>
                <c:pt idx="2408">
                  <c:v>-9.9108322999999998E-2</c:v>
                </c:pt>
                <c:pt idx="2409">
                  <c:v>-9.9004751000000002E-2</c:v>
                </c:pt>
                <c:pt idx="2410">
                  <c:v>-9.8898021000000003E-2</c:v>
                </c:pt>
                <c:pt idx="2411">
                  <c:v>-9.8792117999999998E-2</c:v>
                </c:pt>
                <c:pt idx="2412">
                  <c:v>-9.8686262999999996E-2</c:v>
                </c:pt>
                <c:pt idx="2413">
                  <c:v>-9.8580073000000004E-2</c:v>
                </c:pt>
                <c:pt idx="2414">
                  <c:v>-9.8477329000000002E-2</c:v>
                </c:pt>
                <c:pt idx="2415">
                  <c:v>-9.8370880999999993E-2</c:v>
                </c:pt>
                <c:pt idx="2416">
                  <c:v>-9.8266263000000006E-2</c:v>
                </c:pt>
                <c:pt idx="2417">
                  <c:v>-9.8160316999999997E-2</c:v>
                </c:pt>
                <c:pt idx="2418">
                  <c:v>-9.8055434999999996E-2</c:v>
                </c:pt>
                <c:pt idx="2419">
                  <c:v>-9.7950762999999996E-2</c:v>
                </c:pt>
                <c:pt idx="2420">
                  <c:v>-9.7845790000000002E-2</c:v>
                </c:pt>
                <c:pt idx="2421">
                  <c:v>-9.7741482000000005E-2</c:v>
                </c:pt>
                <c:pt idx="2422">
                  <c:v>-9.7635707000000002E-2</c:v>
                </c:pt>
                <c:pt idx="2423">
                  <c:v>-9.7531194000000002E-2</c:v>
                </c:pt>
                <c:pt idx="2424">
                  <c:v>-9.7426772999999994E-2</c:v>
                </c:pt>
                <c:pt idx="2425">
                  <c:v>-9.7321576000000007E-2</c:v>
                </c:pt>
                <c:pt idx="2426">
                  <c:v>-9.721755E-2</c:v>
                </c:pt>
                <c:pt idx="2427">
                  <c:v>-9.7112087999999999E-2</c:v>
                </c:pt>
                <c:pt idx="2428">
                  <c:v>-9.7008333000000002E-2</c:v>
                </c:pt>
                <c:pt idx="2429">
                  <c:v>-9.6902125000000006E-2</c:v>
                </c:pt>
                <c:pt idx="2430">
                  <c:v>-9.6799342999999996E-2</c:v>
                </c:pt>
                <c:pt idx="2431">
                  <c:v>-9.6696071999999994E-2</c:v>
                </c:pt>
                <c:pt idx="2432">
                  <c:v>-9.6590351000000005E-2</c:v>
                </c:pt>
                <c:pt idx="2433">
                  <c:v>-9.6486372000000001E-2</c:v>
                </c:pt>
                <c:pt idx="2434">
                  <c:v>-9.6382093000000002E-2</c:v>
                </c:pt>
                <c:pt idx="2435">
                  <c:v>-9.6279056000000002E-2</c:v>
                </c:pt>
                <c:pt idx="2436">
                  <c:v>-9.6173905000000004E-2</c:v>
                </c:pt>
                <c:pt idx="2437">
                  <c:v>-9.6069503000000001E-2</c:v>
                </c:pt>
                <c:pt idx="2438">
                  <c:v>-9.5965405000000004E-2</c:v>
                </c:pt>
                <c:pt idx="2439">
                  <c:v>-9.5861846000000001E-2</c:v>
                </c:pt>
                <c:pt idx="2440">
                  <c:v>-9.5757898999999994E-2</c:v>
                </c:pt>
                <c:pt idx="2441">
                  <c:v>-9.5654787000000005E-2</c:v>
                </c:pt>
                <c:pt idx="2442">
                  <c:v>-9.5550647000000002E-2</c:v>
                </c:pt>
                <c:pt idx="2443">
                  <c:v>-9.5447826E-2</c:v>
                </c:pt>
                <c:pt idx="2444">
                  <c:v>-9.5343509000000007E-2</c:v>
                </c:pt>
                <c:pt idx="2445">
                  <c:v>-9.5239807999999995E-2</c:v>
                </c:pt>
                <c:pt idx="2446">
                  <c:v>-9.5135928999999994E-2</c:v>
                </c:pt>
                <c:pt idx="2447">
                  <c:v>-9.5034177999999997E-2</c:v>
                </c:pt>
                <c:pt idx="2448">
                  <c:v>-9.4930498000000002E-2</c:v>
                </c:pt>
                <c:pt idx="2449">
                  <c:v>-9.4825949000000007E-2</c:v>
                </c:pt>
                <c:pt idx="2450">
                  <c:v>-9.4723139999999997E-2</c:v>
                </c:pt>
                <c:pt idx="2451">
                  <c:v>-9.4619434000000002E-2</c:v>
                </c:pt>
                <c:pt idx="2452">
                  <c:v>-9.4516958999999998E-2</c:v>
                </c:pt>
                <c:pt idx="2453">
                  <c:v>-9.4414153000000001E-2</c:v>
                </c:pt>
                <c:pt idx="2454">
                  <c:v>-9.4309852E-2</c:v>
                </c:pt>
                <c:pt idx="2455">
                  <c:v>-9.4208318999999999E-2</c:v>
                </c:pt>
                <c:pt idx="2456">
                  <c:v>-9.4105536000000004E-2</c:v>
                </c:pt>
                <c:pt idx="2457">
                  <c:v>-9.4001665999999998E-2</c:v>
                </c:pt>
                <c:pt idx="2458">
                  <c:v>-9.3899535000000006E-2</c:v>
                </c:pt>
                <c:pt idx="2459">
                  <c:v>-9.3796757999999994E-2</c:v>
                </c:pt>
                <c:pt idx="2460">
                  <c:v>-9.3693312000000001E-2</c:v>
                </c:pt>
                <c:pt idx="2461">
                  <c:v>-9.3591151999999997E-2</c:v>
                </c:pt>
                <c:pt idx="2462">
                  <c:v>-9.3488718999999998E-2</c:v>
                </c:pt>
                <c:pt idx="2463">
                  <c:v>-9.3385810999999999E-2</c:v>
                </c:pt>
                <c:pt idx="2464">
                  <c:v>-9.3284278999999998E-2</c:v>
                </c:pt>
                <c:pt idx="2465">
                  <c:v>-9.3181221999999994E-2</c:v>
                </c:pt>
                <c:pt idx="2466">
                  <c:v>-9.3078737999999994E-2</c:v>
                </c:pt>
                <c:pt idx="2467">
                  <c:v>-9.2977600999999993E-2</c:v>
                </c:pt>
                <c:pt idx="2468">
                  <c:v>-9.2874486000000006E-2</c:v>
                </c:pt>
                <c:pt idx="2469">
                  <c:v>-9.2772601999999996E-2</c:v>
                </c:pt>
                <c:pt idx="2470">
                  <c:v>-9.2668712E-2</c:v>
                </c:pt>
                <c:pt idx="2471">
                  <c:v>-9.2568748000000006E-2</c:v>
                </c:pt>
                <c:pt idx="2472">
                  <c:v>-9.2466145999999999E-2</c:v>
                </c:pt>
                <c:pt idx="2473">
                  <c:v>-9.2363938000000007E-2</c:v>
                </c:pt>
                <c:pt idx="2474">
                  <c:v>-9.2261694000000005E-2</c:v>
                </c:pt>
                <c:pt idx="2475">
                  <c:v>-9.2160300000000001E-2</c:v>
                </c:pt>
                <c:pt idx="2476">
                  <c:v>-9.2058329999999994E-2</c:v>
                </c:pt>
                <c:pt idx="2477">
                  <c:v>-9.1956537000000005E-2</c:v>
                </c:pt>
                <c:pt idx="2478">
                  <c:v>-9.1855723E-2</c:v>
                </c:pt>
                <c:pt idx="2479">
                  <c:v>-9.1753154000000003E-2</c:v>
                </c:pt>
                <c:pt idx="2480">
                  <c:v>-9.1651867999999997E-2</c:v>
                </c:pt>
                <c:pt idx="2481">
                  <c:v>-9.1550461999999999E-2</c:v>
                </c:pt>
                <c:pt idx="2482">
                  <c:v>-9.1448910999999994E-2</c:v>
                </c:pt>
                <c:pt idx="2483">
                  <c:v>-9.1347126000000001E-2</c:v>
                </c:pt>
                <c:pt idx="2484">
                  <c:v>-9.1246515E-2</c:v>
                </c:pt>
                <c:pt idx="2485">
                  <c:v>-9.1145542999999996E-2</c:v>
                </c:pt>
                <c:pt idx="2486">
                  <c:v>-9.1043673000000006E-2</c:v>
                </c:pt>
                <c:pt idx="2487">
                  <c:v>-9.0943002999999994E-2</c:v>
                </c:pt>
                <c:pt idx="2488">
                  <c:v>-9.0842408999999999E-2</c:v>
                </c:pt>
                <c:pt idx="2489">
                  <c:v>-9.0740583E-2</c:v>
                </c:pt>
                <c:pt idx="2490">
                  <c:v>-9.0638159999999995E-2</c:v>
                </c:pt>
                <c:pt idx="2491">
                  <c:v>-9.0538226999999999E-2</c:v>
                </c:pt>
                <c:pt idx="2492">
                  <c:v>-9.0438234000000006E-2</c:v>
                </c:pt>
                <c:pt idx="2493">
                  <c:v>-9.0336289E-2</c:v>
                </c:pt>
                <c:pt idx="2494">
                  <c:v>-9.0235784999999999E-2</c:v>
                </c:pt>
                <c:pt idx="2495">
                  <c:v>-9.0135810999999996E-2</c:v>
                </c:pt>
                <c:pt idx="2496">
                  <c:v>-9.0034854999999997E-2</c:v>
                </c:pt>
                <c:pt idx="2497">
                  <c:v>-8.9934294999999997E-2</c:v>
                </c:pt>
                <c:pt idx="2498">
                  <c:v>-8.9833099999999999E-2</c:v>
                </c:pt>
                <c:pt idx="2499">
                  <c:v>-8.9733892999999995E-2</c:v>
                </c:pt>
                <c:pt idx="2500">
                  <c:v>-8.9631547000000006E-2</c:v>
                </c:pt>
                <c:pt idx="2501">
                  <c:v>-8.9532957999999996E-2</c:v>
                </c:pt>
                <c:pt idx="2502">
                  <c:v>-8.9430913000000001E-2</c:v>
                </c:pt>
                <c:pt idx="2503">
                  <c:v>-8.9331146E-2</c:v>
                </c:pt>
                <c:pt idx="2504">
                  <c:v>-8.9232696E-2</c:v>
                </c:pt>
                <c:pt idx="2505">
                  <c:v>-8.9131554000000002E-2</c:v>
                </c:pt>
                <c:pt idx="2506">
                  <c:v>-8.9031584999999996E-2</c:v>
                </c:pt>
                <c:pt idx="2507">
                  <c:v>-8.8932140000000007E-2</c:v>
                </c:pt>
                <c:pt idx="2508">
                  <c:v>-8.8831446999999994E-2</c:v>
                </c:pt>
                <c:pt idx="2509">
                  <c:v>-8.8731441999999994E-2</c:v>
                </c:pt>
                <c:pt idx="2510">
                  <c:v>-8.8631257000000005E-2</c:v>
                </c:pt>
                <c:pt idx="2511">
                  <c:v>-8.8532209000000001E-2</c:v>
                </c:pt>
                <c:pt idx="2512">
                  <c:v>-8.8431063000000004E-2</c:v>
                </c:pt>
                <c:pt idx="2513">
                  <c:v>-8.8332314999999995E-2</c:v>
                </c:pt>
                <c:pt idx="2514">
                  <c:v>-8.8232640000000001E-2</c:v>
                </c:pt>
                <c:pt idx="2515">
                  <c:v>-8.8132723999999996E-2</c:v>
                </c:pt>
                <c:pt idx="2516">
                  <c:v>-8.8033254000000005E-2</c:v>
                </c:pt>
                <c:pt idx="2517">
                  <c:v>-8.7934568000000005E-2</c:v>
                </c:pt>
                <c:pt idx="2518">
                  <c:v>-8.7834441999999999E-2</c:v>
                </c:pt>
                <c:pt idx="2519">
                  <c:v>-8.7734933000000001E-2</c:v>
                </c:pt>
                <c:pt idx="2520">
                  <c:v>-8.7636159000000005E-2</c:v>
                </c:pt>
                <c:pt idx="2521">
                  <c:v>-8.7536095999999994E-2</c:v>
                </c:pt>
                <c:pt idx="2522">
                  <c:v>-8.7436471000000002E-2</c:v>
                </c:pt>
                <c:pt idx="2523">
                  <c:v>-8.7339123000000005E-2</c:v>
                </c:pt>
                <c:pt idx="2524">
                  <c:v>-8.7240075E-2</c:v>
                </c:pt>
                <c:pt idx="2525">
                  <c:v>-8.7139384E-2</c:v>
                </c:pt>
                <c:pt idx="2526">
                  <c:v>-8.7041073999999996E-2</c:v>
                </c:pt>
                <c:pt idx="2527">
                  <c:v>-8.6942733999999994E-2</c:v>
                </c:pt>
                <c:pt idx="2528">
                  <c:v>-8.6844133000000004E-2</c:v>
                </c:pt>
                <c:pt idx="2529">
                  <c:v>-8.6744761000000004E-2</c:v>
                </c:pt>
                <c:pt idx="2530">
                  <c:v>-8.6646354999999994E-2</c:v>
                </c:pt>
                <c:pt idx="2531">
                  <c:v>-8.6547310000000002E-2</c:v>
                </c:pt>
                <c:pt idx="2532">
                  <c:v>-8.6448638999999994E-2</c:v>
                </c:pt>
                <c:pt idx="2533">
                  <c:v>-8.6350679E-2</c:v>
                </c:pt>
                <c:pt idx="2534">
                  <c:v>-8.6251520999999998E-2</c:v>
                </c:pt>
                <c:pt idx="2535">
                  <c:v>-8.6153481000000004E-2</c:v>
                </c:pt>
                <c:pt idx="2536">
                  <c:v>-8.6054891999999994E-2</c:v>
                </c:pt>
                <c:pt idx="2537">
                  <c:v>-8.5957663000000004E-2</c:v>
                </c:pt>
                <c:pt idx="2538">
                  <c:v>-8.5859533000000002E-2</c:v>
                </c:pt>
                <c:pt idx="2539">
                  <c:v>-8.5758886000000006E-2</c:v>
                </c:pt>
                <c:pt idx="2540">
                  <c:v>-8.5662644999999996E-2</c:v>
                </c:pt>
                <c:pt idx="2541">
                  <c:v>-8.5564311000000004E-2</c:v>
                </c:pt>
                <c:pt idx="2542">
                  <c:v>-8.5466519000000005E-2</c:v>
                </c:pt>
                <c:pt idx="2543">
                  <c:v>-8.5366868999999998E-2</c:v>
                </c:pt>
                <c:pt idx="2544">
                  <c:v>-8.5271083999999997E-2</c:v>
                </c:pt>
                <c:pt idx="2545">
                  <c:v>-8.5171895999999997E-2</c:v>
                </c:pt>
                <c:pt idx="2546">
                  <c:v>-8.5075102999999999E-2</c:v>
                </c:pt>
                <c:pt idx="2547">
                  <c:v>-8.4976584999999993E-2</c:v>
                </c:pt>
                <c:pt idx="2548">
                  <c:v>-8.4878871999999994E-2</c:v>
                </c:pt>
                <c:pt idx="2549">
                  <c:v>-8.4781212999999994E-2</c:v>
                </c:pt>
                <c:pt idx="2550">
                  <c:v>-8.4684062000000004E-2</c:v>
                </c:pt>
                <c:pt idx="2551">
                  <c:v>-8.4587753000000002E-2</c:v>
                </c:pt>
                <c:pt idx="2552">
                  <c:v>-8.4488949999999993E-2</c:v>
                </c:pt>
                <c:pt idx="2553">
                  <c:v>-8.4391418999999995E-2</c:v>
                </c:pt>
                <c:pt idx="2554">
                  <c:v>-8.4293720000000003E-2</c:v>
                </c:pt>
                <c:pt idx="2555">
                  <c:v>-8.4196952000000005E-2</c:v>
                </c:pt>
                <c:pt idx="2556">
                  <c:v>-8.4099892999999995E-2</c:v>
                </c:pt>
                <c:pt idx="2557">
                  <c:v>-8.4002883E-2</c:v>
                </c:pt>
                <c:pt idx="2558">
                  <c:v>-8.3904293000000005E-2</c:v>
                </c:pt>
                <c:pt idx="2559">
                  <c:v>-8.3807580000000007E-2</c:v>
                </c:pt>
                <c:pt idx="2560">
                  <c:v>-8.3710989999999999E-2</c:v>
                </c:pt>
                <c:pt idx="2561">
                  <c:v>-8.3614699000000001E-2</c:v>
                </c:pt>
                <c:pt idx="2562">
                  <c:v>-8.3516991999999998E-2</c:v>
                </c:pt>
                <c:pt idx="2563">
                  <c:v>-8.3419899000000006E-2</c:v>
                </c:pt>
                <c:pt idx="2564">
                  <c:v>-8.3322489E-2</c:v>
                </c:pt>
                <c:pt idx="2565">
                  <c:v>-8.3226124999999998E-2</c:v>
                </c:pt>
                <c:pt idx="2566">
                  <c:v>-8.3129500999999995E-2</c:v>
                </c:pt>
                <c:pt idx="2567">
                  <c:v>-8.3032644000000003E-2</c:v>
                </c:pt>
                <c:pt idx="2568">
                  <c:v>-8.2936724000000003E-2</c:v>
                </c:pt>
                <c:pt idx="2569">
                  <c:v>-8.2839898999999995E-2</c:v>
                </c:pt>
                <c:pt idx="2570">
                  <c:v>-8.2743465000000002E-2</c:v>
                </c:pt>
                <c:pt idx="2571">
                  <c:v>-8.2646556999999995E-2</c:v>
                </c:pt>
                <c:pt idx="2572">
                  <c:v>-8.2550310000000002E-2</c:v>
                </c:pt>
                <c:pt idx="2573">
                  <c:v>-8.2455081E-2</c:v>
                </c:pt>
                <c:pt idx="2574">
                  <c:v>-8.2358615999999996E-2</c:v>
                </c:pt>
                <c:pt idx="2575">
                  <c:v>-8.2263465999999993E-2</c:v>
                </c:pt>
                <c:pt idx="2576">
                  <c:v>-8.2165524000000004E-2</c:v>
                </c:pt>
                <c:pt idx="2577">
                  <c:v>-8.2069879999999998E-2</c:v>
                </c:pt>
                <c:pt idx="2578">
                  <c:v>-8.1973960999999998E-2</c:v>
                </c:pt>
                <c:pt idx="2579">
                  <c:v>-8.1878751E-2</c:v>
                </c:pt>
                <c:pt idx="2580">
                  <c:v>-8.1782241000000006E-2</c:v>
                </c:pt>
                <c:pt idx="2581">
                  <c:v>-8.1685549999999996E-2</c:v>
                </c:pt>
                <c:pt idx="2582">
                  <c:v>-8.1590057999999993E-2</c:v>
                </c:pt>
                <c:pt idx="2583">
                  <c:v>-8.1495046000000002E-2</c:v>
                </c:pt>
                <c:pt idx="2584">
                  <c:v>-8.1398987000000006E-2</c:v>
                </c:pt>
                <c:pt idx="2585">
                  <c:v>-8.1302885000000005E-2</c:v>
                </c:pt>
                <c:pt idx="2586">
                  <c:v>-8.1207611999999998E-2</c:v>
                </c:pt>
                <c:pt idx="2587">
                  <c:v>-8.1112487999999996E-2</c:v>
                </c:pt>
                <c:pt idx="2588">
                  <c:v>-8.1017702999999996E-2</c:v>
                </c:pt>
                <c:pt idx="2589">
                  <c:v>-8.0921652999999996E-2</c:v>
                </c:pt>
                <c:pt idx="2590">
                  <c:v>-8.0826285999999997E-2</c:v>
                </c:pt>
                <c:pt idx="2591">
                  <c:v>-8.0731580999999997E-2</c:v>
                </c:pt>
                <c:pt idx="2592">
                  <c:v>-8.0635238999999997E-2</c:v>
                </c:pt>
                <c:pt idx="2593">
                  <c:v>-8.0539925999999998E-2</c:v>
                </c:pt>
                <c:pt idx="2594">
                  <c:v>-8.0445812000000005E-2</c:v>
                </c:pt>
                <c:pt idx="2595">
                  <c:v>-8.0350128000000007E-2</c:v>
                </c:pt>
                <c:pt idx="2596">
                  <c:v>-8.0255081000000006E-2</c:v>
                </c:pt>
                <c:pt idx="2597">
                  <c:v>-8.0159632999999994E-2</c:v>
                </c:pt>
                <c:pt idx="2598">
                  <c:v>-8.0066471E-2</c:v>
                </c:pt>
                <c:pt idx="2599">
                  <c:v>-7.9970836000000003E-2</c:v>
                </c:pt>
                <c:pt idx="2600">
                  <c:v>-7.9875478999999999E-2</c:v>
                </c:pt>
                <c:pt idx="2601">
                  <c:v>-7.9781658000000005E-2</c:v>
                </c:pt>
                <c:pt idx="2602">
                  <c:v>-7.9686415999999996E-2</c:v>
                </c:pt>
                <c:pt idx="2603">
                  <c:v>-7.9591367999999996E-2</c:v>
                </c:pt>
                <c:pt idx="2604">
                  <c:v>-7.9497449999999997E-2</c:v>
                </c:pt>
                <c:pt idx="2605">
                  <c:v>-7.9404396000000002E-2</c:v>
                </c:pt>
                <c:pt idx="2606">
                  <c:v>-7.9309741000000003E-2</c:v>
                </c:pt>
                <c:pt idx="2607">
                  <c:v>-7.9214520999999996E-2</c:v>
                </c:pt>
                <c:pt idx="2608">
                  <c:v>-7.9119805000000001E-2</c:v>
                </c:pt>
                <c:pt idx="2609">
                  <c:v>-7.9024537000000006E-2</c:v>
                </c:pt>
                <c:pt idx="2610">
                  <c:v>-7.8932033999999998E-2</c:v>
                </c:pt>
                <c:pt idx="2611">
                  <c:v>-7.8837897000000004E-2</c:v>
                </c:pt>
                <c:pt idx="2612">
                  <c:v>-7.8743746000000003E-2</c:v>
                </c:pt>
                <c:pt idx="2613">
                  <c:v>-7.8648502999999995E-2</c:v>
                </c:pt>
                <c:pt idx="2614">
                  <c:v>-7.8555159999999999E-2</c:v>
                </c:pt>
                <c:pt idx="2615">
                  <c:v>-7.8460932999999997E-2</c:v>
                </c:pt>
                <c:pt idx="2616">
                  <c:v>-7.8367347000000004E-2</c:v>
                </c:pt>
                <c:pt idx="2617">
                  <c:v>-7.8273907000000004E-2</c:v>
                </c:pt>
                <c:pt idx="2618">
                  <c:v>-7.8180940000000004E-2</c:v>
                </c:pt>
                <c:pt idx="2619">
                  <c:v>-7.8085688E-2</c:v>
                </c:pt>
                <c:pt idx="2620">
                  <c:v>-7.7992128999999993E-2</c:v>
                </c:pt>
                <c:pt idx="2621">
                  <c:v>-7.7899621000000002E-2</c:v>
                </c:pt>
                <c:pt idx="2622">
                  <c:v>-7.7805302000000007E-2</c:v>
                </c:pt>
                <c:pt idx="2623">
                  <c:v>-7.7711666999999998E-2</c:v>
                </c:pt>
                <c:pt idx="2624">
                  <c:v>-7.7618156999999993E-2</c:v>
                </c:pt>
                <c:pt idx="2625">
                  <c:v>-7.7524813999999997E-2</c:v>
                </c:pt>
                <c:pt idx="2626">
                  <c:v>-7.7431939000000005E-2</c:v>
                </c:pt>
                <c:pt idx="2627">
                  <c:v>-7.7339062E-2</c:v>
                </c:pt>
                <c:pt idx="2628">
                  <c:v>-7.7245383000000001E-2</c:v>
                </c:pt>
                <c:pt idx="2629">
                  <c:v>-7.7151551999999998E-2</c:v>
                </c:pt>
                <c:pt idx="2630">
                  <c:v>-7.7058919000000003E-2</c:v>
                </c:pt>
                <c:pt idx="2631">
                  <c:v>-7.6965336999999995E-2</c:v>
                </c:pt>
                <c:pt idx="2632">
                  <c:v>-7.6874365E-2</c:v>
                </c:pt>
                <c:pt idx="2633">
                  <c:v>-7.6781076000000004E-2</c:v>
                </c:pt>
                <c:pt idx="2634">
                  <c:v>-7.6687752999999997E-2</c:v>
                </c:pt>
                <c:pt idx="2635">
                  <c:v>-7.6594755E-2</c:v>
                </c:pt>
                <c:pt idx="2636">
                  <c:v>-7.6502618999999994E-2</c:v>
                </c:pt>
                <c:pt idx="2637">
                  <c:v>-7.6409194999999999E-2</c:v>
                </c:pt>
                <c:pt idx="2638">
                  <c:v>-7.6317463000000002E-2</c:v>
                </c:pt>
                <c:pt idx="2639">
                  <c:v>-7.6223974999999999E-2</c:v>
                </c:pt>
                <c:pt idx="2640">
                  <c:v>-7.6130944000000006E-2</c:v>
                </c:pt>
                <c:pt idx="2641">
                  <c:v>-7.6038777000000002E-2</c:v>
                </c:pt>
                <c:pt idx="2642">
                  <c:v>-7.5945910000000005E-2</c:v>
                </c:pt>
                <c:pt idx="2643">
                  <c:v>-7.5854386999999995E-2</c:v>
                </c:pt>
                <c:pt idx="2644">
                  <c:v>-7.5762636999999994E-2</c:v>
                </c:pt>
                <c:pt idx="2645">
                  <c:v>-7.5669444000000002E-2</c:v>
                </c:pt>
                <c:pt idx="2646">
                  <c:v>-7.5577281999999996E-2</c:v>
                </c:pt>
                <c:pt idx="2647">
                  <c:v>-7.5485432000000005E-2</c:v>
                </c:pt>
                <c:pt idx="2648">
                  <c:v>-7.5393537999999996E-2</c:v>
                </c:pt>
                <c:pt idx="2649">
                  <c:v>-7.5300389999999995E-2</c:v>
                </c:pt>
                <c:pt idx="2650">
                  <c:v>-7.5209164999999994E-2</c:v>
                </c:pt>
                <c:pt idx="2651">
                  <c:v>-7.5117128000000005E-2</c:v>
                </c:pt>
                <c:pt idx="2652">
                  <c:v>-7.5024740000000006E-2</c:v>
                </c:pt>
                <c:pt idx="2653">
                  <c:v>-7.4933416000000003E-2</c:v>
                </c:pt>
                <c:pt idx="2654">
                  <c:v>-7.4842328999999999E-2</c:v>
                </c:pt>
                <c:pt idx="2655">
                  <c:v>-7.4750868999999998E-2</c:v>
                </c:pt>
                <c:pt idx="2656">
                  <c:v>-7.4657857999999994E-2</c:v>
                </c:pt>
                <c:pt idx="2657">
                  <c:v>-7.4567934000000002E-2</c:v>
                </c:pt>
                <c:pt idx="2658">
                  <c:v>-7.4476030999999998E-2</c:v>
                </c:pt>
                <c:pt idx="2659">
                  <c:v>-7.4384075999999993E-2</c:v>
                </c:pt>
                <c:pt idx="2660">
                  <c:v>-7.429173E-2</c:v>
                </c:pt>
                <c:pt idx="2661">
                  <c:v>-7.4201292000000002E-2</c:v>
                </c:pt>
                <c:pt idx="2662">
                  <c:v>-7.4110483000000005E-2</c:v>
                </c:pt>
                <c:pt idx="2663">
                  <c:v>-7.4019064999999995E-2</c:v>
                </c:pt>
                <c:pt idx="2664">
                  <c:v>-7.3927175999999997E-2</c:v>
                </c:pt>
                <c:pt idx="2665">
                  <c:v>-7.3837078E-2</c:v>
                </c:pt>
                <c:pt idx="2666">
                  <c:v>-7.3745555000000004E-2</c:v>
                </c:pt>
                <c:pt idx="2667">
                  <c:v>-7.3654062000000006E-2</c:v>
                </c:pt>
                <c:pt idx="2668">
                  <c:v>-7.3563858999999995E-2</c:v>
                </c:pt>
                <c:pt idx="2669">
                  <c:v>-7.3473799000000006E-2</c:v>
                </c:pt>
                <c:pt idx="2670">
                  <c:v>-7.3382741000000001E-2</c:v>
                </c:pt>
                <c:pt idx="2671">
                  <c:v>-7.3291381000000003E-2</c:v>
                </c:pt>
                <c:pt idx="2672">
                  <c:v>-7.3200661E-2</c:v>
                </c:pt>
                <c:pt idx="2673">
                  <c:v>-7.3109997999999995E-2</c:v>
                </c:pt>
                <c:pt idx="2674">
                  <c:v>-7.3019564999999995E-2</c:v>
                </c:pt>
                <c:pt idx="2675">
                  <c:v>-7.2928740000000006E-2</c:v>
                </c:pt>
                <c:pt idx="2676">
                  <c:v>-7.2837747999999994E-2</c:v>
                </c:pt>
                <c:pt idx="2677">
                  <c:v>-7.2747436999999998E-2</c:v>
                </c:pt>
                <c:pt idx="2678">
                  <c:v>-7.2657556999999998E-2</c:v>
                </c:pt>
                <c:pt idx="2679">
                  <c:v>-7.2566442999999994E-2</c:v>
                </c:pt>
                <c:pt idx="2680">
                  <c:v>-7.2476524000000001E-2</c:v>
                </c:pt>
                <c:pt idx="2681">
                  <c:v>-7.2386214000000004E-2</c:v>
                </c:pt>
                <c:pt idx="2682">
                  <c:v>-7.2296333000000004E-2</c:v>
                </c:pt>
                <c:pt idx="2683">
                  <c:v>-7.2206309999999996E-2</c:v>
                </c:pt>
                <c:pt idx="2684">
                  <c:v>-7.2116928999999996E-2</c:v>
                </c:pt>
                <c:pt idx="2685">
                  <c:v>-7.2026425000000005E-2</c:v>
                </c:pt>
                <c:pt idx="2686">
                  <c:v>-7.1936259000000002E-2</c:v>
                </c:pt>
                <c:pt idx="2687">
                  <c:v>-7.1845203999999996E-2</c:v>
                </c:pt>
                <c:pt idx="2688">
                  <c:v>-7.1755626000000003E-2</c:v>
                </c:pt>
                <c:pt idx="2689">
                  <c:v>-7.1666407000000001E-2</c:v>
                </c:pt>
                <c:pt idx="2690">
                  <c:v>-7.1577314000000003E-2</c:v>
                </c:pt>
                <c:pt idx="2691">
                  <c:v>-7.1487627999999998E-2</c:v>
                </c:pt>
                <c:pt idx="2692">
                  <c:v>-7.1399117999999998E-2</c:v>
                </c:pt>
                <c:pt idx="2693">
                  <c:v>-7.1307517000000001E-2</c:v>
                </c:pt>
                <c:pt idx="2694">
                  <c:v>-7.1219254999999995E-2</c:v>
                </c:pt>
                <c:pt idx="2695">
                  <c:v>-7.1129806000000004E-2</c:v>
                </c:pt>
                <c:pt idx="2696">
                  <c:v>-7.1041534000000003E-2</c:v>
                </c:pt>
                <c:pt idx="2697">
                  <c:v>-7.0950544000000004E-2</c:v>
                </c:pt>
                <c:pt idx="2698">
                  <c:v>-7.0861799000000003E-2</c:v>
                </c:pt>
                <c:pt idx="2699">
                  <c:v>-7.0772866000000004E-2</c:v>
                </c:pt>
                <c:pt idx="2700">
                  <c:v>-7.0684611999999994E-2</c:v>
                </c:pt>
                <c:pt idx="2701">
                  <c:v>-7.0594153000000007E-2</c:v>
                </c:pt>
                <c:pt idx="2702">
                  <c:v>-7.050534E-2</c:v>
                </c:pt>
                <c:pt idx="2703">
                  <c:v>-7.0415699999999998E-2</c:v>
                </c:pt>
                <c:pt idx="2704">
                  <c:v>-7.0327464000000006E-2</c:v>
                </c:pt>
                <c:pt idx="2705">
                  <c:v>-7.0238589000000004E-2</c:v>
                </c:pt>
                <c:pt idx="2706">
                  <c:v>-7.0149320000000001E-2</c:v>
                </c:pt>
                <c:pt idx="2707">
                  <c:v>-7.0060708999999999E-2</c:v>
                </c:pt>
                <c:pt idx="2708">
                  <c:v>-6.9972433000000001E-2</c:v>
                </c:pt>
                <c:pt idx="2709">
                  <c:v>-6.9883572000000005E-2</c:v>
                </c:pt>
                <c:pt idx="2710">
                  <c:v>-6.9795101999999998E-2</c:v>
                </c:pt>
                <c:pt idx="2711">
                  <c:v>-6.9705972000000005E-2</c:v>
                </c:pt>
                <c:pt idx="2712">
                  <c:v>-6.9618034999999995E-2</c:v>
                </c:pt>
                <c:pt idx="2713">
                  <c:v>-6.9530471999999996E-2</c:v>
                </c:pt>
                <c:pt idx="2714">
                  <c:v>-6.9441766000000002E-2</c:v>
                </c:pt>
                <c:pt idx="2715">
                  <c:v>-6.9352365999999999E-2</c:v>
                </c:pt>
                <c:pt idx="2716">
                  <c:v>-6.9265195000000002E-2</c:v>
                </c:pt>
                <c:pt idx="2717">
                  <c:v>-6.9177132000000002E-2</c:v>
                </c:pt>
                <c:pt idx="2718">
                  <c:v>-6.9088938000000003E-2</c:v>
                </c:pt>
                <c:pt idx="2719">
                  <c:v>-6.8999554000000005E-2</c:v>
                </c:pt>
                <c:pt idx="2720">
                  <c:v>-6.8912677000000006E-2</c:v>
                </c:pt>
                <c:pt idx="2721">
                  <c:v>-6.8824906000000005E-2</c:v>
                </c:pt>
                <c:pt idx="2722">
                  <c:v>-6.8735911999999996E-2</c:v>
                </c:pt>
                <c:pt idx="2723">
                  <c:v>-6.8648646999999993E-2</c:v>
                </c:pt>
                <c:pt idx="2724">
                  <c:v>-6.8560195000000004E-2</c:v>
                </c:pt>
                <c:pt idx="2725">
                  <c:v>-6.8473695000000001E-2</c:v>
                </c:pt>
                <c:pt idx="2726">
                  <c:v>-6.8385768E-2</c:v>
                </c:pt>
                <c:pt idx="2727">
                  <c:v>-6.8298273000000007E-2</c:v>
                </c:pt>
                <c:pt idx="2728">
                  <c:v>-6.8210076999999994E-2</c:v>
                </c:pt>
                <c:pt idx="2729">
                  <c:v>-6.8121761000000003E-2</c:v>
                </c:pt>
                <c:pt idx="2730">
                  <c:v>-6.8034635999999996E-2</c:v>
                </c:pt>
                <c:pt idx="2731">
                  <c:v>-6.7947898000000007E-2</c:v>
                </c:pt>
                <c:pt idx="2732">
                  <c:v>-6.7860233000000006E-2</c:v>
                </c:pt>
                <c:pt idx="2733">
                  <c:v>-6.7772444000000001E-2</c:v>
                </c:pt>
                <c:pt idx="2734">
                  <c:v>-6.7685309999999999E-2</c:v>
                </c:pt>
                <c:pt idx="2735">
                  <c:v>-6.7598836999999995E-2</c:v>
                </c:pt>
                <c:pt idx="2736">
                  <c:v>-6.7510952999999999E-2</c:v>
                </c:pt>
                <c:pt idx="2737">
                  <c:v>-6.7424460000000005E-2</c:v>
                </c:pt>
                <c:pt idx="2738">
                  <c:v>-6.7337338999999996E-2</c:v>
                </c:pt>
                <c:pt idx="2739">
                  <c:v>-6.7250357999999996E-2</c:v>
                </c:pt>
                <c:pt idx="2740">
                  <c:v>-6.7163218999999996E-2</c:v>
                </c:pt>
                <c:pt idx="2741">
                  <c:v>-6.7076737999999997E-2</c:v>
                </c:pt>
                <c:pt idx="2742">
                  <c:v>-6.6990677999999998E-2</c:v>
                </c:pt>
                <c:pt idx="2743">
                  <c:v>-6.6903156000000005E-2</c:v>
                </c:pt>
                <c:pt idx="2744">
                  <c:v>-6.6816818E-2</c:v>
                </c:pt>
                <c:pt idx="2745">
                  <c:v>-6.6731136999999996E-2</c:v>
                </c:pt>
                <c:pt idx="2746">
                  <c:v>-6.6643223000000001E-2</c:v>
                </c:pt>
                <c:pt idx="2747">
                  <c:v>-6.6557270000000002E-2</c:v>
                </c:pt>
                <c:pt idx="2748">
                  <c:v>-6.6470405999999996E-2</c:v>
                </c:pt>
                <c:pt idx="2749">
                  <c:v>-6.6384456999999994E-2</c:v>
                </c:pt>
                <c:pt idx="2750">
                  <c:v>-6.6297848000000006E-2</c:v>
                </c:pt>
                <c:pt idx="2751">
                  <c:v>-6.6211628999999994E-2</c:v>
                </c:pt>
                <c:pt idx="2752">
                  <c:v>-6.6126085000000001E-2</c:v>
                </c:pt>
                <c:pt idx="2753">
                  <c:v>-6.6039351999999996E-2</c:v>
                </c:pt>
                <c:pt idx="2754">
                  <c:v>-6.5953529999999996E-2</c:v>
                </c:pt>
                <c:pt idx="2755">
                  <c:v>-6.5866796000000005E-2</c:v>
                </c:pt>
                <c:pt idx="2756">
                  <c:v>-6.5780975000000005E-2</c:v>
                </c:pt>
                <c:pt idx="2757">
                  <c:v>-6.5694749999999996E-2</c:v>
                </c:pt>
                <c:pt idx="2758">
                  <c:v>-6.5608929999999996E-2</c:v>
                </c:pt>
                <c:pt idx="2759">
                  <c:v>-6.5524010999999993E-2</c:v>
                </c:pt>
                <c:pt idx="2760">
                  <c:v>-6.5438187999999994E-2</c:v>
                </c:pt>
                <c:pt idx="2761">
                  <c:v>-6.5352746000000003E-2</c:v>
                </c:pt>
                <c:pt idx="2762">
                  <c:v>-6.5266934999999998E-2</c:v>
                </c:pt>
                <c:pt idx="2763">
                  <c:v>-6.5180687000000001E-2</c:v>
                </c:pt>
                <c:pt idx="2764">
                  <c:v>-6.5095398999999998E-2</c:v>
                </c:pt>
                <c:pt idx="2765">
                  <c:v>-6.5009688999999996E-2</c:v>
                </c:pt>
                <c:pt idx="2766">
                  <c:v>-6.4924101999999997E-2</c:v>
                </c:pt>
                <c:pt idx="2767">
                  <c:v>-6.4838678999999996E-2</c:v>
                </c:pt>
                <c:pt idx="2768">
                  <c:v>-6.4753886999999996E-2</c:v>
                </c:pt>
                <c:pt idx="2769">
                  <c:v>-6.4668159000000003E-2</c:v>
                </c:pt>
                <c:pt idx="2770">
                  <c:v>-6.4582850999999997E-2</c:v>
                </c:pt>
                <c:pt idx="2771">
                  <c:v>-6.4497910000000006E-2</c:v>
                </c:pt>
                <c:pt idx="2772">
                  <c:v>-6.4413625000000002E-2</c:v>
                </c:pt>
                <c:pt idx="2773">
                  <c:v>-6.4328703000000001E-2</c:v>
                </c:pt>
                <c:pt idx="2774">
                  <c:v>-6.4243613000000005E-2</c:v>
                </c:pt>
                <c:pt idx="2775">
                  <c:v>-6.4158149999999997E-2</c:v>
                </c:pt>
                <c:pt idx="2776">
                  <c:v>-6.4073613000000001E-2</c:v>
                </c:pt>
                <c:pt idx="2777">
                  <c:v>-6.3989200999999996E-2</c:v>
                </c:pt>
                <c:pt idx="2778">
                  <c:v>-6.3904114999999997E-2</c:v>
                </c:pt>
                <c:pt idx="2779">
                  <c:v>-6.3818870999999999E-2</c:v>
                </c:pt>
                <c:pt idx="2780">
                  <c:v>-6.3734605999999999E-2</c:v>
                </c:pt>
                <c:pt idx="2781">
                  <c:v>-6.3648852000000006E-2</c:v>
                </c:pt>
                <c:pt idx="2782">
                  <c:v>-6.3565367999999997E-2</c:v>
                </c:pt>
                <c:pt idx="2783">
                  <c:v>-6.3479875000000005E-2</c:v>
                </c:pt>
                <c:pt idx="2784">
                  <c:v>-6.3396606999999994E-2</c:v>
                </c:pt>
                <c:pt idx="2785">
                  <c:v>-6.3312695000000002E-2</c:v>
                </c:pt>
                <c:pt idx="2786">
                  <c:v>-6.3227591999999999E-2</c:v>
                </c:pt>
                <c:pt idx="2787">
                  <c:v>-6.3144685000000006E-2</c:v>
                </c:pt>
                <c:pt idx="2788">
                  <c:v>-6.3058782999999993E-2</c:v>
                </c:pt>
                <c:pt idx="2789">
                  <c:v>-6.2974867000000004E-2</c:v>
                </c:pt>
                <c:pt idx="2790">
                  <c:v>-6.2891313000000004E-2</c:v>
                </c:pt>
                <c:pt idx="2791">
                  <c:v>-6.2806830999999994E-2</c:v>
                </c:pt>
                <c:pt idx="2792">
                  <c:v>-6.2722781000000005E-2</c:v>
                </c:pt>
                <c:pt idx="2793">
                  <c:v>-6.2639595000000006E-2</c:v>
                </c:pt>
                <c:pt idx="2794">
                  <c:v>-6.2554975999999998E-2</c:v>
                </c:pt>
                <c:pt idx="2795">
                  <c:v>-6.2471302999999999E-2</c:v>
                </c:pt>
                <c:pt idx="2796">
                  <c:v>-6.2387980000000003E-2</c:v>
                </c:pt>
                <c:pt idx="2797">
                  <c:v>-6.2304036E-2</c:v>
                </c:pt>
                <c:pt idx="2798">
                  <c:v>-6.2220446999999998E-2</c:v>
                </c:pt>
                <c:pt idx="2799">
                  <c:v>-6.2136238000000003E-2</c:v>
                </c:pt>
                <c:pt idx="2800">
                  <c:v>-6.2053419999999998E-2</c:v>
                </c:pt>
                <c:pt idx="2801">
                  <c:v>-6.1970508000000001E-2</c:v>
                </c:pt>
                <c:pt idx="2802">
                  <c:v>-6.1886373000000001E-2</c:v>
                </c:pt>
                <c:pt idx="2803">
                  <c:v>-6.1801625999999998E-2</c:v>
                </c:pt>
                <c:pt idx="2804">
                  <c:v>-6.1718794E-2</c:v>
                </c:pt>
                <c:pt idx="2805">
                  <c:v>-6.1636396000000003E-2</c:v>
                </c:pt>
                <c:pt idx="2806">
                  <c:v>-6.1552757999999999E-2</c:v>
                </c:pt>
                <c:pt idx="2807">
                  <c:v>-6.1469256E-2</c:v>
                </c:pt>
                <c:pt idx="2808">
                  <c:v>-6.1386189000000001E-2</c:v>
                </c:pt>
                <c:pt idx="2809">
                  <c:v>-6.1303990000000003E-2</c:v>
                </c:pt>
                <c:pt idx="2810">
                  <c:v>-6.1221695E-2</c:v>
                </c:pt>
                <c:pt idx="2811">
                  <c:v>-6.1138177000000002E-2</c:v>
                </c:pt>
                <c:pt idx="2812">
                  <c:v>-6.1054249999999997E-2</c:v>
                </c:pt>
                <c:pt idx="2813">
                  <c:v>-6.0972546000000002E-2</c:v>
                </c:pt>
                <c:pt idx="2814">
                  <c:v>-6.0889194000000001E-2</c:v>
                </c:pt>
                <c:pt idx="2815">
                  <c:v>-6.0806697E-2</c:v>
                </c:pt>
                <c:pt idx="2816">
                  <c:v>-6.0723797000000003E-2</c:v>
                </c:pt>
                <c:pt idx="2817">
                  <c:v>-6.0642383000000001E-2</c:v>
                </c:pt>
                <c:pt idx="2818">
                  <c:v>-6.0558172E-2</c:v>
                </c:pt>
                <c:pt idx="2819">
                  <c:v>-6.0476702E-2</c:v>
                </c:pt>
                <c:pt idx="2820">
                  <c:v>-6.0394618999999997E-2</c:v>
                </c:pt>
                <c:pt idx="2821">
                  <c:v>-6.0311831000000003E-2</c:v>
                </c:pt>
                <c:pt idx="2822">
                  <c:v>-6.0229683999999999E-2</c:v>
                </c:pt>
                <c:pt idx="2823">
                  <c:v>-6.0147457000000001E-2</c:v>
                </c:pt>
                <c:pt idx="2824">
                  <c:v>-6.0066085999999998E-2</c:v>
                </c:pt>
                <c:pt idx="2825">
                  <c:v>-5.9982749000000002E-2</c:v>
                </c:pt>
                <c:pt idx="2826">
                  <c:v>-5.9900376999999998E-2</c:v>
                </c:pt>
                <c:pt idx="2827">
                  <c:v>-5.9817803000000003E-2</c:v>
                </c:pt>
                <c:pt idx="2828">
                  <c:v>-5.9736414000000002E-2</c:v>
                </c:pt>
                <c:pt idx="2829">
                  <c:v>-5.9655664999999997E-2</c:v>
                </c:pt>
                <c:pt idx="2830">
                  <c:v>-5.9572739999999999E-2</c:v>
                </c:pt>
                <c:pt idx="2831">
                  <c:v>-5.9491723000000003E-2</c:v>
                </c:pt>
                <c:pt idx="2832">
                  <c:v>-5.9408720999999998E-2</c:v>
                </c:pt>
                <c:pt idx="2833">
                  <c:v>-5.9327750999999998E-2</c:v>
                </c:pt>
                <c:pt idx="2834">
                  <c:v>-5.9245524000000001E-2</c:v>
                </c:pt>
                <c:pt idx="2835">
                  <c:v>-5.9163963E-2</c:v>
                </c:pt>
                <c:pt idx="2836">
                  <c:v>-5.9083354999999997E-2</c:v>
                </c:pt>
                <c:pt idx="2837">
                  <c:v>-5.9003080999999999E-2</c:v>
                </c:pt>
                <c:pt idx="2838">
                  <c:v>-5.8920309999999997E-2</c:v>
                </c:pt>
                <c:pt idx="2839">
                  <c:v>-5.8839031999999999E-2</c:v>
                </c:pt>
                <c:pt idx="2840">
                  <c:v>-5.8758603999999999E-2</c:v>
                </c:pt>
                <c:pt idx="2841">
                  <c:v>-5.8676728999999997E-2</c:v>
                </c:pt>
                <c:pt idx="2842">
                  <c:v>-5.8594779999999999E-2</c:v>
                </c:pt>
                <c:pt idx="2843">
                  <c:v>-5.8514199000000003E-2</c:v>
                </c:pt>
                <c:pt idx="2844">
                  <c:v>-5.8433213999999997E-2</c:v>
                </c:pt>
                <c:pt idx="2845">
                  <c:v>-5.8352357000000001E-2</c:v>
                </c:pt>
                <c:pt idx="2846">
                  <c:v>-5.8271433999999997E-2</c:v>
                </c:pt>
                <c:pt idx="2847">
                  <c:v>-5.8189775999999999E-2</c:v>
                </c:pt>
                <c:pt idx="2848">
                  <c:v>-5.8109282999999998E-2</c:v>
                </c:pt>
                <c:pt idx="2849">
                  <c:v>-5.8028732999999999E-2</c:v>
                </c:pt>
                <c:pt idx="2850">
                  <c:v>-5.7947439000000003E-2</c:v>
                </c:pt>
                <c:pt idx="2851">
                  <c:v>-5.7867317000000001E-2</c:v>
                </c:pt>
                <c:pt idx="2852">
                  <c:v>-5.7786471999999998E-2</c:v>
                </c:pt>
                <c:pt idx="2853">
                  <c:v>-5.7705691000000003E-2</c:v>
                </c:pt>
                <c:pt idx="2854">
                  <c:v>-5.7624562999999997E-2</c:v>
                </c:pt>
                <c:pt idx="2855">
                  <c:v>-5.7544563999999999E-2</c:v>
                </c:pt>
                <c:pt idx="2856">
                  <c:v>-5.7464722000000003E-2</c:v>
                </c:pt>
                <c:pt idx="2857">
                  <c:v>-5.7384295000000002E-2</c:v>
                </c:pt>
                <c:pt idx="2858">
                  <c:v>-5.7303464999999998E-2</c:v>
                </c:pt>
                <c:pt idx="2859">
                  <c:v>-5.7223621000000002E-2</c:v>
                </c:pt>
                <c:pt idx="2860">
                  <c:v>-5.7142520000000002E-2</c:v>
                </c:pt>
                <c:pt idx="2861">
                  <c:v>-5.7064140999999999E-2</c:v>
                </c:pt>
                <c:pt idx="2862">
                  <c:v>-5.6983458000000001E-2</c:v>
                </c:pt>
                <c:pt idx="2863">
                  <c:v>-5.6903582000000001E-2</c:v>
                </c:pt>
                <c:pt idx="2864">
                  <c:v>-5.6824534000000003E-2</c:v>
                </c:pt>
                <c:pt idx="2865">
                  <c:v>-5.6742993999999998E-2</c:v>
                </c:pt>
                <c:pt idx="2866">
                  <c:v>-5.6664008000000002E-2</c:v>
                </c:pt>
                <c:pt idx="2867">
                  <c:v>-5.6584804000000002E-2</c:v>
                </c:pt>
                <c:pt idx="2868">
                  <c:v>-5.6503627000000001E-2</c:v>
                </c:pt>
                <c:pt idx="2869">
                  <c:v>-5.6425018E-2</c:v>
                </c:pt>
                <c:pt idx="2870">
                  <c:v>-5.6345128000000001E-2</c:v>
                </c:pt>
                <c:pt idx="2871">
                  <c:v>-5.6265362999999999E-2</c:v>
                </c:pt>
                <c:pt idx="2872">
                  <c:v>-5.6185545000000003E-2</c:v>
                </c:pt>
                <c:pt idx="2873">
                  <c:v>-5.6106553000000003E-2</c:v>
                </c:pt>
                <c:pt idx="2874">
                  <c:v>-5.6027676999999998E-2</c:v>
                </c:pt>
                <c:pt idx="2875">
                  <c:v>-5.5946660000000002E-2</c:v>
                </c:pt>
                <c:pt idx="2876">
                  <c:v>-5.5868198000000001E-2</c:v>
                </c:pt>
                <c:pt idx="2877">
                  <c:v>-5.5789683E-2</c:v>
                </c:pt>
                <c:pt idx="2878">
                  <c:v>-5.5710422000000002E-2</c:v>
                </c:pt>
                <c:pt idx="2879">
                  <c:v>-5.5630768999999997E-2</c:v>
                </c:pt>
                <c:pt idx="2880">
                  <c:v>-5.5551217999999999E-2</c:v>
                </c:pt>
                <c:pt idx="2881">
                  <c:v>-5.5473715E-2</c:v>
                </c:pt>
                <c:pt idx="2882">
                  <c:v>-5.5394240999999997E-2</c:v>
                </c:pt>
                <c:pt idx="2883">
                  <c:v>-5.5315243E-2</c:v>
                </c:pt>
                <c:pt idx="2884">
                  <c:v>-5.5236014999999999E-2</c:v>
                </c:pt>
                <c:pt idx="2885">
                  <c:v>-5.5157421999999998E-2</c:v>
                </c:pt>
                <c:pt idx="2886">
                  <c:v>-5.5079312999999998E-2</c:v>
                </c:pt>
                <c:pt idx="2887">
                  <c:v>-5.4999403000000002E-2</c:v>
                </c:pt>
                <c:pt idx="2888">
                  <c:v>-5.4921177000000002E-2</c:v>
                </c:pt>
                <c:pt idx="2889">
                  <c:v>-5.4842912000000001E-2</c:v>
                </c:pt>
                <c:pt idx="2890">
                  <c:v>-5.4764045999999997E-2</c:v>
                </c:pt>
                <c:pt idx="2891">
                  <c:v>-5.4685294000000002E-2</c:v>
                </c:pt>
                <c:pt idx="2892">
                  <c:v>-5.4606867000000003E-2</c:v>
                </c:pt>
                <c:pt idx="2893">
                  <c:v>-5.4529247000000003E-2</c:v>
                </c:pt>
                <c:pt idx="2894">
                  <c:v>-5.4450698999999998E-2</c:v>
                </c:pt>
                <c:pt idx="2895">
                  <c:v>-5.4372271E-2</c:v>
                </c:pt>
                <c:pt idx="2896">
                  <c:v>-5.4294328000000003E-2</c:v>
                </c:pt>
                <c:pt idx="2897">
                  <c:v>-5.4216670000000002E-2</c:v>
                </c:pt>
                <c:pt idx="2898">
                  <c:v>-5.4138603E-2</c:v>
                </c:pt>
                <c:pt idx="2899">
                  <c:v>-5.4060498999999998E-2</c:v>
                </c:pt>
                <c:pt idx="2900">
                  <c:v>-5.3983191999999999E-2</c:v>
                </c:pt>
                <c:pt idx="2901">
                  <c:v>-5.3904602000000003E-2</c:v>
                </c:pt>
                <c:pt idx="2902">
                  <c:v>-5.3826489999999998E-2</c:v>
                </c:pt>
                <c:pt idx="2903">
                  <c:v>-5.3748508E-2</c:v>
                </c:pt>
                <c:pt idx="2904">
                  <c:v>-5.3671679999999999E-2</c:v>
                </c:pt>
                <c:pt idx="2905">
                  <c:v>-5.3593928999999998E-2</c:v>
                </c:pt>
                <c:pt idx="2906">
                  <c:v>-5.3516826000000003E-2</c:v>
                </c:pt>
                <c:pt idx="2907">
                  <c:v>-5.3439162999999998E-2</c:v>
                </c:pt>
                <c:pt idx="2908">
                  <c:v>-5.3360207999999999E-2</c:v>
                </c:pt>
                <c:pt idx="2909">
                  <c:v>-5.3283456E-2</c:v>
                </c:pt>
                <c:pt idx="2910">
                  <c:v>-5.3205784999999998E-2</c:v>
                </c:pt>
                <c:pt idx="2911">
                  <c:v>-5.3128753000000001E-2</c:v>
                </c:pt>
                <c:pt idx="2912">
                  <c:v>-5.3051988000000001E-2</c:v>
                </c:pt>
                <c:pt idx="2913">
                  <c:v>-5.2974671000000001E-2</c:v>
                </c:pt>
                <c:pt idx="2914">
                  <c:v>-5.2897330999999999E-2</c:v>
                </c:pt>
                <c:pt idx="2915">
                  <c:v>-5.2820252999999998E-2</c:v>
                </c:pt>
                <c:pt idx="2916">
                  <c:v>-5.2743295000000003E-2</c:v>
                </c:pt>
                <c:pt idx="2917">
                  <c:v>-5.2665793000000002E-2</c:v>
                </c:pt>
                <c:pt idx="2918">
                  <c:v>-5.2590117999999998E-2</c:v>
                </c:pt>
                <c:pt idx="2919">
                  <c:v>-5.2512619000000003E-2</c:v>
                </c:pt>
                <c:pt idx="2920">
                  <c:v>-5.2435614999999998E-2</c:v>
                </c:pt>
                <c:pt idx="2921">
                  <c:v>-5.2358729999999999E-2</c:v>
                </c:pt>
                <c:pt idx="2922">
                  <c:v>-5.2281965E-2</c:v>
                </c:pt>
                <c:pt idx="2923">
                  <c:v>-5.220532E-2</c:v>
                </c:pt>
                <c:pt idx="2924">
                  <c:v>-5.2128654000000003E-2</c:v>
                </c:pt>
                <c:pt idx="2925">
                  <c:v>-5.2052247000000003E-2</c:v>
                </c:pt>
                <c:pt idx="2926">
                  <c:v>-5.1975432000000002E-2</c:v>
                </c:pt>
                <c:pt idx="2927">
                  <c:v>-5.1898872999999998E-2</c:v>
                </c:pt>
                <c:pt idx="2928">
                  <c:v>-5.1822686999999999E-2</c:v>
                </c:pt>
                <c:pt idx="2929">
                  <c:v>-5.1747405000000003E-2</c:v>
                </c:pt>
                <c:pt idx="2930">
                  <c:v>-5.1670026000000001E-2</c:v>
                </c:pt>
                <c:pt idx="2931">
                  <c:v>-5.1594190999999998E-2</c:v>
                </c:pt>
                <c:pt idx="2932">
                  <c:v>-5.1518610999999999E-2</c:v>
                </c:pt>
                <c:pt idx="2933">
                  <c:v>-5.1440541999999999E-2</c:v>
                </c:pt>
                <c:pt idx="2934">
                  <c:v>-5.1365328000000002E-2</c:v>
                </c:pt>
                <c:pt idx="2935">
                  <c:v>-5.1289584999999999E-2</c:v>
                </c:pt>
                <c:pt idx="2936">
                  <c:v>-5.1214475000000002E-2</c:v>
                </c:pt>
                <c:pt idx="2937">
                  <c:v>-5.1137920000000003E-2</c:v>
                </c:pt>
                <c:pt idx="2938">
                  <c:v>-5.1062527000000003E-2</c:v>
                </c:pt>
                <c:pt idx="2939">
                  <c:v>-5.0987123000000002E-2</c:v>
                </c:pt>
                <c:pt idx="2940">
                  <c:v>-5.0911568999999997E-2</c:v>
                </c:pt>
                <c:pt idx="2941">
                  <c:v>-5.0835485E-2</c:v>
                </c:pt>
                <c:pt idx="2942">
                  <c:v>-5.0759648999999997E-2</c:v>
                </c:pt>
                <c:pt idx="2943">
                  <c:v>-5.0684195000000001E-2</c:v>
                </c:pt>
                <c:pt idx="2944">
                  <c:v>-5.0608462999999999E-2</c:v>
                </c:pt>
                <c:pt idx="2945">
                  <c:v>-5.0532849999999997E-2</c:v>
                </c:pt>
                <c:pt idx="2946">
                  <c:v>-5.04584E-2</c:v>
                </c:pt>
                <c:pt idx="2947">
                  <c:v>-5.0381583000000001E-2</c:v>
                </c:pt>
                <c:pt idx="2948">
                  <c:v>-5.0306845000000003E-2</c:v>
                </c:pt>
                <c:pt idx="2949">
                  <c:v>-5.0232221000000001E-2</c:v>
                </c:pt>
                <c:pt idx="2950">
                  <c:v>-5.0156553E-2</c:v>
                </c:pt>
                <c:pt idx="2951">
                  <c:v>-5.0082163999999998E-2</c:v>
                </c:pt>
                <c:pt idx="2952">
                  <c:v>-5.0006974000000003E-2</c:v>
                </c:pt>
                <c:pt idx="2953">
                  <c:v>-4.9931899000000002E-2</c:v>
                </c:pt>
                <c:pt idx="2954">
                  <c:v>-4.985618E-2</c:v>
                </c:pt>
                <c:pt idx="2955">
                  <c:v>-4.9781739999999998E-2</c:v>
                </c:pt>
                <c:pt idx="2956">
                  <c:v>-4.9707938E-2</c:v>
                </c:pt>
                <c:pt idx="2957">
                  <c:v>-4.963269E-2</c:v>
                </c:pt>
                <c:pt idx="2958">
                  <c:v>-4.9557674000000003E-2</c:v>
                </c:pt>
                <c:pt idx="2959">
                  <c:v>-4.9483702999999997E-2</c:v>
                </c:pt>
                <c:pt idx="2960">
                  <c:v>-4.9408804000000001E-2</c:v>
                </c:pt>
                <c:pt idx="2961">
                  <c:v>-4.9333908000000003E-2</c:v>
                </c:pt>
                <c:pt idx="2962">
                  <c:v>-4.9259881999999998E-2</c:v>
                </c:pt>
                <c:pt idx="2963">
                  <c:v>-4.9184812000000001E-2</c:v>
                </c:pt>
                <c:pt idx="2964">
                  <c:v>-4.9111536999999997E-2</c:v>
                </c:pt>
                <c:pt idx="2965">
                  <c:v>-4.9036587999999999E-2</c:v>
                </c:pt>
                <c:pt idx="2966">
                  <c:v>-4.8962911999999997E-2</c:v>
                </c:pt>
                <c:pt idx="2967">
                  <c:v>-4.8887788000000001E-2</c:v>
                </c:pt>
                <c:pt idx="2968">
                  <c:v>-4.8814344000000003E-2</c:v>
                </c:pt>
                <c:pt idx="2969">
                  <c:v>-4.8739976999999997E-2</c:v>
                </c:pt>
                <c:pt idx="2970">
                  <c:v>-4.8665310000000003E-2</c:v>
                </c:pt>
                <c:pt idx="2971">
                  <c:v>-4.8591691999999999E-2</c:v>
                </c:pt>
                <c:pt idx="2972">
                  <c:v>-4.8518089E-2</c:v>
                </c:pt>
                <c:pt idx="2973">
                  <c:v>-4.8444397E-2</c:v>
                </c:pt>
                <c:pt idx="2974">
                  <c:v>-4.8369043E-2</c:v>
                </c:pt>
                <c:pt idx="2975">
                  <c:v>-4.8296413000000003E-2</c:v>
                </c:pt>
                <c:pt idx="2976">
                  <c:v>-4.8222754E-2</c:v>
                </c:pt>
                <c:pt idx="2977">
                  <c:v>-4.8148895999999997E-2</c:v>
                </c:pt>
                <c:pt idx="2978">
                  <c:v>-4.8075571999999997E-2</c:v>
                </c:pt>
                <c:pt idx="2979">
                  <c:v>-4.8002984999999998E-2</c:v>
                </c:pt>
                <c:pt idx="2980">
                  <c:v>-4.7928229000000003E-2</c:v>
                </c:pt>
                <c:pt idx="2981">
                  <c:v>-4.7854733000000003E-2</c:v>
                </c:pt>
                <c:pt idx="2982">
                  <c:v>-4.7782491000000003E-2</c:v>
                </c:pt>
                <c:pt idx="2983">
                  <c:v>-4.7708281999999998E-2</c:v>
                </c:pt>
                <c:pt idx="2984">
                  <c:v>-4.7635553999999997E-2</c:v>
                </c:pt>
                <c:pt idx="2985">
                  <c:v>-4.7562522000000003E-2</c:v>
                </c:pt>
                <c:pt idx="2986">
                  <c:v>-4.7489177E-2</c:v>
                </c:pt>
                <c:pt idx="2987">
                  <c:v>-4.7415948999999999E-2</c:v>
                </c:pt>
                <c:pt idx="2988">
                  <c:v>-4.7342642999999997E-2</c:v>
                </c:pt>
                <c:pt idx="2989">
                  <c:v>-4.7270592E-2</c:v>
                </c:pt>
                <c:pt idx="2990">
                  <c:v>-4.7197188000000001E-2</c:v>
                </c:pt>
                <c:pt idx="2991">
                  <c:v>-4.7125367000000001E-2</c:v>
                </c:pt>
                <c:pt idx="2992">
                  <c:v>-4.7050535999999997E-2</c:v>
                </c:pt>
                <c:pt idx="2993">
                  <c:v>-4.6977903000000001E-2</c:v>
                </c:pt>
                <c:pt idx="2994">
                  <c:v>-4.6906519000000001E-2</c:v>
                </c:pt>
                <c:pt idx="2995">
                  <c:v>-4.6832462999999998E-2</c:v>
                </c:pt>
                <c:pt idx="2996">
                  <c:v>-4.676131E-2</c:v>
                </c:pt>
                <c:pt idx="2997">
                  <c:v>-4.6688095999999998E-2</c:v>
                </c:pt>
                <c:pt idx="2998">
                  <c:v>-4.6615086999999999E-2</c:v>
                </c:pt>
                <c:pt idx="2999">
                  <c:v>-4.6543754E-2</c:v>
                </c:pt>
                <c:pt idx="3000">
                  <c:v>-4.6470798000000001E-2</c:v>
                </c:pt>
                <c:pt idx="3001">
                  <c:v>-4.6399085999999999E-2</c:v>
                </c:pt>
                <c:pt idx="3002">
                  <c:v>-4.6326533000000003E-2</c:v>
                </c:pt>
                <c:pt idx="3003">
                  <c:v>-4.6254096000000001E-2</c:v>
                </c:pt>
                <c:pt idx="3004">
                  <c:v>-4.6182643000000002E-2</c:v>
                </c:pt>
                <c:pt idx="3005">
                  <c:v>-4.6110868999999999E-2</c:v>
                </c:pt>
                <c:pt idx="3006">
                  <c:v>-4.6037732999999997E-2</c:v>
                </c:pt>
                <c:pt idx="3007">
                  <c:v>-4.5966791E-2</c:v>
                </c:pt>
                <c:pt idx="3008">
                  <c:v>-4.5895279999999997E-2</c:v>
                </c:pt>
                <c:pt idx="3009">
                  <c:v>-4.5822403999999997E-2</c:v>
                </c:pt>
                <c:pt idx="3010">
                  <c:v>-4.5749722999999999E-2</c:v>
                </c:pt>
                <c:pt idx="3011">
                  <c:v>-4.5678718E-2</c:v>
                </c:pt>
                <c:pt idx="3012">
                  <c:v>-4.5607145000000002E-2</c:v>
                </c:pt>
                <c:pt idx="3013">
                  <c:v>-4.5535845999999998E-2</c:v>
                </c:pt>
                <c:pt idx="3014">
                  <c:v>-4.5464139000000001E-2</c:v>
                </c:pt>
                <c:pt idx="3015">
                  <c:v>-4.5392469999999997E-2</c:v>
                </c:pt>
                <c:pt idx="3016">
                  <c:v>-4.5320915000000003E-2</c:v>
                </c:pt>
                <c:pt idx="3017">
                  <c:v>-4.5249994000000002E-2</c:v>
                </c:pt>
                <c:pt idx="3018">
                  <c:v>-4.5178221999999997E-2</c:v>
                </c:pt>
                <c:pt idx="3019">
                  <c:v>-4.510753E-2</c:v>
                </c:pt>
                <c:pt idx="3020">
                  <c:v>-4.5035391000000001E-2</c:v>
                </c:pt>
                <c:pt idx="3021">
                  <c:v>-4.4963439000000001E-2</c:v>
                </c:pt>
                <c:pt idx="3022">
                  <c:v>-4.4894128999999998E-2</c:v>
                </c:pt>
                <c:pt idx="3023">
                  <c:v>-4.4821811000000003E-2</c:v>
                </c:pt>
                <c:pt idx="3024">
                  <c:v>-4.4751760000000002E-2</c:v>
                </c:pt>
                <c:pt idx="3025">
                  <c:v>-4.4680710999999998E-2</c:v>
                </c:pt>
                <c:pt idx="3026">
                  <c:v>-4.4609774999999997E-2</c:v>
                </c:pt>
                <c:pt idx="3027">
                  <c:v>-4.4539092000000002E-2</c:v>
                </c:pt>
                <c:pt idx="3028">
                  <c:v>-4.4467795999999997E-2</c:v>
                </c:pt>
                <c:pt idx="3029">
                  <c:v>-4.4397201999999997E-2</c:v>
                </c:pt>
                <c:pt idx="3030">
                  <c:v>-4.4326789999999998E-2</c:v>
                </c:pt>
                <c:pt idx="3031">
                  <c:v>-4.4255968E-2</c:v>
                </c:pt>
                <c:pt idx="3032">
                  <c:v>-4.4185649E-2</c:v>
                </c:pt>
                <c:pt idx="3033">
                  <c:v>-4.4116096E-2</c:v>
                </c:pt>
                <c:pt idx="3034">
                  <c:v>-4.4044053E-2</c:v>
                </c:pt>
                <c:pt idx="3035">
                  <c:v>-4.3973619999999998E-2</c:v>
                </c:pt>
                <c:pt idx="3036">
                  <c:v>-4.3904278999999997E-2</c:v>
                </c:pt>
                <c:pt idx="3037">
                  <c:v>-4.3833156999999998E-2</c:v>
                </c:pt>
                <c:pt idx="3038">
                  <c:v>-4.3763586E-2</c:v>
                </c:pt>
                <c:pt idx="3039">
                  <c:v>-4.3693147000000002E-2</c:v>
                </c:pt>
                <c:pt idx="3040">
                  <c:v>-4.3622820999999999E-2</c:v>
                </c:pt>
                <c:pt idx="3041">
                  <c:v>-4.3552488E-2</c:v>
                </c:pt>
                <c:pt idx="3042">
                  <c:v>-4.3482387999999997E-2</c:v>
                </c:pt>
                <c:pt idx="3043">
                  <c:v>-4.3412399999999997E-2</c:v>
                </c:pt>
                <c:pt idx="3044">
                  <c:v>-4.3342986E-2</c:v>
                </c:pt>
                <c:pt idx="3045">
                  <c:v>-4.3273108999999997E-2</c:v>
                </c:pt>
                <c:pt idx="3046">
                  <c:v>-4.3204037000000001E-2</c:v>
                </c:pt>
                <c:pt idx="3047">
                  <c:v>-4.3133921999999998E-2</c:v>
                </c:pt>
                <c:pt idx="3048">
                  <c:v>-4.3064496000000001E-2</c:v>
                </c:pt>
                <c:pt idx="3049">
                  <c:v>-4.2994141E-2</c:v>
                </c:pt>
                <c:pt idx="3050">
                  <c:v>-4.2923792000000002E-2</c:v>
                </c:pt>
                <c:pt idx="3051">
                  <c:v>-4.2855222999999998E-2</c:v>
                </c:pt>
                <c:pt idx="3052">
                  <c:v>-4.2786246999999999E-2</c:v>
                </c:pt>
                <c:pt idx="3053">
                  <c:v>-4.2716288999999998E-2</c:v>
                </c:pt>
                <c:pt idx="3054">
                  <c:v>-4.2646965000000002E-2</c:v>
                </c:pt>
                <c:pt idx="3055">
                  <c:v>-4.2577805000000003E-2</c:v>
                </c:pt>
                <c:pt idx="3056">
                  <c:v>-4.2508707E-2</c:v>
                </c:pt>
                <c:pt idx="3057">
                  <c:v>-4.2439818999999997E-2</c:v>
                </c:pt>
                <c:pt idx="3058">
                  <c:v>-4.2370377000000001E-2</c:v>
                </c:pt>
                <c:pt idx="3059">
                  <c:v>-4.2302184999999999E-2</c:v>
                </c:pt>
                <c:pt idx="3060">
                  <c:v>-4.2231502999999997E-2</c:v>
                </c:pt>
                <c:pt idx="3061">
                  <c:v>-4.2164008000000003E-2</c:v>
                </c:pt>
                <c:pt idx="3062">
                  <c:v>-4.2094069999999997E-2</c:v>
                </c:pt>
                <c:pt idx="3063">
                  <c:v>-4.2025759000000003E-2</c:v>
                </c:pt>
                <c:pt idx="3064">
                  <c:v>-4.1957042E-2</c:v>
                </c:pt>
                <c:pt idx="3065">
                  <c:v>-4.1887960000000002E-2</c:v>
                </c:pt>
                <c:pt idx="3066">
                  <c:v>-4.1818989000000001E-2</c:v>
                </c:pt>
                <c:pt idx="3067">
                  <c:v>-4.1751086E-2</c:v>
                </c:pt>
                <c:pt idx="3068">
                  <c:v>-4.1681860000000001E-2</c:v>
                </c:pt>
                <c:pt idx="3069">
                  <c:v>-4.1614745000000002E-2</c:v>
                </c:pt>
                <c:pt idx="3070">
                  <c:v>-4.1545700999999997E-2</c:v>
                </c:pt>
                <c:pt idx="3071">
                  <c:v>-4.1476247000000001E-2</c:v>
                </c:pt>
                <c:pt idx="3072">
                  <c:v>-4.1409467999999998E-2</c:v>
                </c:pt>
                <c:pt idx="3073">
                  <c:v>-4.1340757999999998E-2</c:v>
                </c:pt>
                <c:pt idx="3074">
                  <c:v>-4.1272641999999998E-2</c:v>
                </c:pt>
                <c:pt idx="3075">
                  <c:v>-4.1203635000000002E-2</c:v>
                </c:pt>
                <c:pt idx="3076">
                  <c:v>-4.1136299000000001E-2</c:v>
                </c:pt>
                <c:pt idx="3077">
                  <c:v>-4.1068484000000002E-2</c:v>
                </c:pt>
                <c:pt idx="3078">
                  <c:v>-4.1000366000000003E-2</c:v>
                </c:pt>
                <c:pt idx="3079">
                  <c:v>-4.0931769999999999E-2</c:v>
                </c:pt>
                <c:pt idx="3080">
                  <c:v>-4.0863319000000002E-2</c:v>
                </c:pt>
                <c:pt idx="3081">
                  <c:v>-4.0795986999999999E-2</c:v>
                </c:pt>
                <c:pt idx="3082">
                  <c:v>-4.0728767999999999E-2</c:v>
                </c:pt>
                <c:pt idx="3083">
                  <c:v>-4.0660683000000003E-2</c:v>
                </c:pt>
                <c:pt idx="3084">
                  <c:v>-4.0593685999999997E-2</c:v>
                </c:pt>
                <c:pt idx="3085">
                  <c:v>-4.0524780000000003E-2</c:v>
                </c:pt>
                <c:pt idx="3086">
                  <c:v>-4.0457977999999999E-2</c:v>
                </c:pt>
                <c:pt idx="3087">
                  <c:v>-4.0390824999999998E-2</c:v>
                </c:pt>
                <c:pt idx="3088">
                  <c:v>-4.0323262999999998E-2</c:v>
                </c:pt>
                <c:pt idx="3089">
                  <c:v>-4.0255785000000002E-2</c:v>
                </c:pt>
                <c:pt idx="3090">
                  <c:v>-4.0187898E-2</c:v>
                </c:pt>
                <c:pt idx="3091">
                  <c:v>-4.0120669999999997E-2</c:v>
                </c:pt>
                <c:pt idx="3092">
                  <c:v>-4.0053551999999999E-2</c:v>
                </c:pt>
                <c:pt idx="3093">
                  <c:v>-3.9986544999999998E-2</c:v>
                </c:pt>
                <c:pt idx="3094">
                  <c:v>-3.9920143999999998E-2</c:v>
                </c:pt>
                <c:pt idx="3095">
                  <c:v>-3.9851798000000001E-2</c:v>
                </c:pt>
                <c:pt idx="3096">
                  <c:v>-3.9785643000000002E-2</c:v>
                </c:pt>
                <c:pt idx="3097">
                  <c:v>-3.9719078999999997E-2</c:v>
                </c:pt>
                <c:pt idx="3098">
                  <c:v>-3.9652083999999997E-2</c:v>
                </c:pt>
                <c:pt idx="3099">
                  <c:v>-3.95847E-2</c:v>
                </c:pt>
                <c:pt idx="3100">
                  <c:v>-3.9518447999999998E-2</c:v>
                </c:pt>
                <c:pt idx="3101">
                  <c:v>-3.9451286000000002E-2</c:v>
                </c:pt>
                <c:pt idx="3102">
                  <c:v>-3.9384755E-2</c:v>
                </c:pt>
                <c:pt idx="3103">
                  <c:v>-3.9318334000000003E-2</c:v>
                </c:pt>
                <c:pt idx="3104">
                  <c:v>-3.9251503E-2</c:v>
                </c:pt>
                <c:pt idx="3105">
                  <c:v>-3.9185270000000001E-2</c:v>
                </c:pt>
                <c:pt idx="3106">
                  <c:v>-3.9118676999999998E-2</c:v>
                </c:pt>
                <c:pt idx="3107">
                  <c:v>-3.9051642999999997E-2</c:v>
                </c:pt>
                <c:pt idx="3108">
                  <c:v>-3.8986308999999997E-2</c:v>
                </c:pt>
                <c:pt idx="3109">
                  <c:v>-3.8919509999999997E-2</c:v>
                </c:pt>
                <c:pt idx="3110">
                  <c:v>-3.8853835000000003E-2</c:v>
                </c:pt>
                <c:pt idx="3111">
                  <c:v>-3.8788297999999999E-2</c:v>
                </c:pt>
                <c:pt idx="3112">
                  <c:v>-3.8721829999999999E-2</c:v>
                </c:pt>
                <c:pt idx="3113">
                  <c:v>-3.8655473000000003E-2</c:v>
                </c:pt>
                <c:pt idx="3114">
                  <c:v>-3.8589225999999997E-2</c:v>
                </c:pt>
                <c:pt idx="3115">
                  <c:v>-3.8523079000000002E-2</c:v>
                </c:pt>
                <c:pt idx="3116">
                  <c:v>-3.8457052999999998E-2</c:v>
                </c:pt>
                <c:pt idx="3117">
                  <c:v>-3.8391135999999999E-2</c:v>
                </c:pt>
                <c:pt idx="3118">
                  <c:v>-3.8326369999999998E-2</c:v>
                </c:pt>
                <c:pt idx="3119">
                  <c:v>-3.8259633000000001E-2</c:v>
                </c:pt>
                <c:pt idx="3120">
                  <c:v>-3.8195600000000003E-2</c:v>
                </c:pt>
                <c:pt idx="3121">
                  <c:v>-3.8128563999999997E-2</c:v>
                </c:pt>
                <c:pt idx="3122">
                  <c:v>-3.8063716999999997E-2</c:v>
                </c:pt>
                <c:pt idx="3123">
                  <c:v>-3.7997421000000003E-2</c:v>
                </c:pt>
                <c:pt idx="3124">
                  <c:v>-3.7932793999999999E-2</c:v>
                </c:pt>
                <c:pt idx="3125">
                  <c:v>-3.7866715000000002E-2</c:v>
                </c:pt>
                <c:pt idx="3126">
                  <c:v>-3.7801788000000003E-2</c:v>
                </c:pt>
                <c:pt idx="3127">
                  <c:v>-3.7735931E-2</c:v>
                </c:pt>
                <c:pt idx="3128">
                  <c:v>-3.7670703999999999E-2</c:v>
                </c:pt>
                <c:pt idx="3129">
                  <c:v>-3.7606107E-2</c:v>
                </c:pt>
                <c:pt idx="3130">
                  <c:v>-3.7540579999999997E-2</c:v>
                </c:pt>
                <c:pt idx="3131">
                  <c:v>-3.7475682000000003E-2</c:v>
                </c:pt>
                <c:pt idx="3132">
                  <c:v>-3.7410894E-2</c:v>
                </c:pt>
                <c:pt idx="3133">
                  <c:v>-3.7346735999999998E-2</c:v>
                </c:pt>
                <c:pt idx="3134">
                  <c:v>-3.7280608E-2</c:v>
                </c:pt>
                <c:pt idx="3135">
                  <c:v>-3.7216668000000001E-2</c:v>
                </c:pt>
                <c:pt idx="3136">
                  <c:v>-3.7151803999999997E-2</c:v>
                </c:pt>
                <c:pt idx="3137">
                  <c:v>-3.7087044E-2</c:v>
                </c:pt>
                <c:pt idx="3138">
                  <c:v>-3.7022915000000003E-2</c:v>
                </c:pt>
                <c:pt idx="3139">
                  <c:v>-3.6957853999999998E-2</c:v>
                </c:pt>
                <c:pt idx="3140">
                  <c:v>-3.6892902999999998E-2</c:v>
                </c:pt>
                <c:pt idx="3141">
                  <c:v>-3.6828581999999999E-2</c:v>
                </c:pt>
                <c:pt idx="3142">
                  <c:v>-3.6763850000000001E-2</c:v>
                </c:pt>
                <c:pt idx="3143">
                  <c:v>-3.6699746999999998E-2</c:v>
                </c:pt>
                <c:pt idx="3144">
                  <c:v>-3.6635234000000003E-2</c:v>
                </c:pt>
                <c:pt idx="3145">
                  <c:v>-3.6571869999999999E-2</c:v>
                </c:pt>
                <c:pt idx="3146">
                  <c:v>-3.6506547E-2</c:v>
                </c:pt>
                <c:pt idx="3147">
                  <c:v>-3.6443921999999997E-2</c:v>
                </c:pt>
                <c:pt idx="3148">
                  <c:v>-3.6378287000000002E-2</c:v>
                </c:pt>
                <c:pt idx="3149">
                  <c:v>-3.6314841E-2</c:v>
                </c:pt>
                <c:pt idx="3150">
                  <c:v>-3.6250464000000003E-2</c:v>
                </c:pt>
                <c:pt idx="3151">
                  <c:v>-3.6187220999999999E-2</c:v>
                </c:pt>
                <c:pt idx="3152">
                  <c:v>-3.6123598E-2</c:v>
                </c:pt>
                <c:pt idx="3153">
                  <c:v>-3.6059549000000003E-2</c:v>
                </c:pt>
                <c:pt idx="3154">
                  <c:v>-3.5995089000000001E-2</c:v>
                </c:pt>
                <c:pt idx="3155">
                  <c:v>-3.5931258000000001E-2</c:v>
                </c:pt>
                <c:pt idx="3156">
                  <c:v>-3.5868056000000002E-2</c:v>
                </c:pt>
                <c:pt idx="3157">
                  <c:v>-3.5803942999999998E-2</c:v>
                </c:pt>
                <c:pt idx="3158">
                  <c:v>-3.574198E-2</c:v>
                </c:pt>
                <c:pt idx="3159">
                  <c:v>-3.5677045999999997E-2</c:v>
                </c:pt>
                <c:pt idx="3160">
                  <c:v>-3.5614260000000002E-2</c:v>
                </c:pt>
                <c:pt idx="3161">
                  <c:v>-3.5550065999999998E-2</c:v>
                </c:pt>
                <c:pt idx="3162">
                  <c:v>-3.5487496E-2</c:v>
                </c:pt>
                <c:pt idx="3163">
                  <c:v>-3.5424041000000003E-2</c:v>
                </c:pt>
                <c:pt idx="3164">
                  <c:v>-3.5361192999999999E-2</c:v>
                </c:pt>
                <c:pt idx="3165">
                  <c:v>-3.5297908000000003E-2</c:v>
                </c:pt>
                <c:pt idx="3166">
                  <c:v>-3.5234262000000002E-2</c:v>
                </c:pt>
                <c:pt idx="3167">
                  <c:v>-3.5172754000000001E-2</c:v>
                </c:pt>
                <c:pt idx="3168">
                  <c:v>-3.5107741999999997E-2</c:v>
                </c:pt>
                <c:pt idx="3169">
                  <c:v>-3.5045463999999998E-2</c:v>
                </c:pt>
                <c:pt idx="3170">
                  <c:v>-3.4983268999999997E-2</c:v>
                </c:pt>
                <c:pt idx="3171">
                  <c:v>-3.4920633999999999E-2</c:v>
                </c:pt>
                <c:pt idx="3172">
                  <c:v>-3.4856576E-2</c:v>
                </c:pt>
                <c:pt idx="3173">
                  <c:v>-3.4795226999999998E-2</c:v>
                </c:pt>
                <c:pt idx="3174">
                  <c:v>-3.4731906999999999E-2</c:v>
                </c:pt>
                <c:pt idx="3175">
                  <c:v>-3.4669215000000003E-2</c:v>
                </c:pt>
                <c:pt idx="3176">
                  <c:v>-3.4607183999999999E-2</c:v>
                </c:pt>
                <c:pt idx="3177">
                  <c:v>-3.4544158999999998E-2</c:v>
                </c:pt>
                <c:pt idx="3178">
                  <c:v>-3.4481273999999999E-2</c:v>
                </c:pt>
                <c:pt idx="3179">
                  <c:v>-3.4420056999999997E-2</c:v>
                </c:pt>
                <c:pt idx="3180">
                  <c:v>-3.4356835000000002E-2</c:v>
                </c:pt>
                <c:pt idx="3181">
                  <c:v>-3.4295350000000002E-2</c:v>
                </c:pt>
                <c:pt idx="3182">
                  <c:v>-3.4233420000000001E-2</c:v>
                </c:pt>
                <c:pt idx="3183">
                  <c:v>-3.4171078000000001E-2</c:v>
                </c:pt>
                <c:pt idx="3184">
                  <c:v>-3.4108807999999997E-2</c:v>
                </c:pt>
                <c:pt idx="3185">
                  <c:v>-3.4046683000000001E-2</c:v>
                </c:pt>
                <c:pt idx="3186">
                  <c:v>-3.3985705999999997E-2</c:v>
                </c:pt>
                <c:pt idx="3187">
                  <c:v>-3.3922758999999997E-2</c:v>
                </c:pt>
                <c:pt idx="3188">
                  <c:v>-3.3860479999999998E-2</c:v>
                </c:pt>
                <c:pt idx="3189">
                  <c:v>-3.3799788999999997E-2</c:v>
                </c:pt>
                <c:pt idx="3190">
                  <c:v>-3.3736647000000002E-2</c:v>
                </c:pt>
                <c:pt idx="3191">
                  <c:v>-3.3676171999999997E-2</c:v>
                </c:pt>
                <c:pt idx="3192">
                  <c:v>-3.3613245999999999E-2</c:v>
                </c:pt>
                <c:pt idx="3193">
                  <c:v>-3.3553072000000003E-2</c:v>
                </c:pt>
                <c:pt idx="3194">
                  <c:v>-3.3490321000000003E-2</c:v>
                </c:pt>
                <c:pt idx="3195">
                  <c:v>-3.3429801000000002E-2</c:v>
                </c:pt>
                <c:pt idx="3196">
                  <c:v>-3.3367830000000001E-2</c:v>
                </c:pt>
                <c:pt idx="3197">
                  <c:v>-3.3307007E-2</c:v>
                </c:pt>
                <c:pt idx="3198">
                  <c:v>-3.3244731999999999E-2</c:v>
                </c:pt>
                <c:pt idx="3199">
                  <c:v>-3.3183559000000001E-2</c:v>
                </c:pt>
                <c:pt idx="3200">
                  <c:v>-3.3123061000000002E-2</c:v>
                </c:pt>
                <c:pt idx="3201">
                  <c:v>-3.3061680000000003E-2</c:v>
                </c:pt>
                <c:pt idx="3202">
                  <c:v>-3.3001349999999999E-2</c:v>
                </c:pt>
                <c:pt idx="3203">
                  <c:v>-3.2939046999999999E-2</c:v>
                </c:pt>
                <c:pt idx="3204">
                  <c:v>-3.2879500999999998E-2</c:v>
                </c:pt>
                <c:pt idx="3205">
                  <c:v>-3.2817463999999998E-2</c:v>
                </c:pt>
                <c:pt idx="3206">
                  <c:v>-3.2757148E-2</c:v>
                </c:pt>
                <c:pt idx="3207">
                  <c:v>-3.2696316000000003E-2</c:v>
                </c:pt>
                <c:pt idx="3208">
                  <c:v>-3.2636164000000002E-2</c:v>
                </c:pt>
                <c:pt idx="3209">
                  <c:v>-3.2574506000000003E-2</c:v>
                </c:pt>
                <c:pt idx="3210">
                  <c:v>-3.2514624999999998E-2</c:v>
                </c:pt>
                <c:pt idx="3211">
                  <c:v>-3.2453703E-2</c:v>
                </c:pt>
                <c:pt idx="3212">
                  <c:v>-3.2392887000000002E-2</c:v>
                </c:pt>
                <c:pt idx="3213">
                  <c:v>-3.2332236E-2</c:v>
                </c:pt>
                <c:pt idx="3214">
                  <c:v>-3.2271751000000001E-2</c:v>
                </c:pt>
                <c:pt idx="3215">
                  <c:v>-3.2212298E-2</c:v>
                </c:pt>
                <c:pt idx="3216">
                  <c:v>-3.2151911999999998E-2</c:v>
                </c:pt>
                <c:pt idx="3217">
                  <c:v>-3.2092213000000001E-2</c:v>
                </c:pt>
                <c:pt idx="3218">
                  <c:v>-3.2031001000000003E-2</c:v>
                </c:pt>
                <c:pt idx="3219">
                  <c:v>-3.1971119999999999E-2</c:v>
                </c:pt>
                <c:pt idx="3220">
                  <c:v>-3.1911164999999998E-2</c:v>
                </c:pt>
                <c:pt idx="3221">
                  <c:v>-3.1851315999999998E-2</c:v>
                </c:pt>
                <c:pt idx="3222">
                  <c:v>-3.1792157000000001E-2</c:v>
                </c:pt>
                <c:pt idx="3223">
                  <c:v>-3.1732067000000003E-2</c:v>
                </c:pt>
                <c:pt idx="3224">
                  <c:v>-3.1670980000000001E-2</c:v>
                </c:pt>
                <c:pt idx="3225">
                  <c:v>-3.1611624999999997E-2</c:v>
                </c:pt>
                <c:pt idx="3226">
                  <c:v>-3.1551794000000001E-2</c:v>
                </c:pt>
                <c:pt idx="3227">
                  <c:v>-3.1493239999999999E-2</c:v>
                </c:pt>
                <c:pt idx="3228">
                  <c:v>-3.1432649999999999E-2</c:v>
                </c:pt>
                <c:pt idx="3229">
                  <c:v>-3.1373659999999998E-2</c:v>
                </c:pt>
                <c:pt idx="3230">
                  <c:v>-3.1313216999999997E-2</c:v>
                </c:pt>
                <c:pt idx="3231">
                  <c:v>-3.1254440000000001E-2</c:v>
                </c:pt>
                <c:pt idx="3232">
                  <c:v>-3.1194349999999999E-2</c:v>
                </c:pt>
                <c:pt idx="3233">
                  <c:v>-3.1135269E-2</c:v>
                </c:pt>
                <c:pt idx="3234">
                  <c:v>-3.1075845000000001E-2</c:v>
                </c:pt>
                <c:pt idx="3235">
                  <c:v>-3.1016458E-2</c:v>
                </c:pt>
                <c:pt idx="3236">
                  <c:v>-3.0957321999999999E-2</c:v>
                </c:pt>
                <c:pt idx="3237">
                  <c:v>-3.0898149999999999E-2</c:v>
                </c:pt>
                <c:pt idx="3238">
                  <c:v>-3.0840123000000001E-2</c:v>
                </c:pt>
                <c:pt idx="3239">
                  <c:v>-3.0780126000000001E-2</c:v>
                </c:pt>
                <c:pt idx="3240">
                  <c:v>-3.0721422000000002E-2</c:v>
                </c:pt>
                <c:pt idx="3241">
                  <c:v>-3.0661714E-2</c:v>
                </c:pt>
                <c:pt idx="3242">
                  <c:v>-3.0604116000000001E-2</c:v>
                </c:pt>
                <c:pt idx="3243">
                  <c:v>-3.0544545999999999E-2</c:v>
                </c:pt>
                <c:pt idx="3244">
                  <c:v>-3.0486279000000002E-2</c:v>
                </c:pt>
                <c:pt idx="3245">
                  <c:v>-3.0427441999999999E-2</c:v>
                </c:pt>
                <c:pt idx="3246">
                  <c:v>-3.0369232999999999E-2</c:v>
                </c:pt>
                <c:pt idx="3247">
                  <c:v>-3.0310091000000001E-2</c:v>
                </c:pt>
                <c:pt idx="3248">
                  <c:v>-3.0252093000000001E-2</c:v>
                </c:pt>
                <c:pt idx="3249">
                  <c:v>-3.019289E-2</c:v>
                </c:pt>
                <c:pt idx="3250">
                  <c:v>-3.0134068999999999E-2</c:v>
                </c:pt>
                <c:pt idx="3251">
                  <c:v>-3.0076915999999999E-2</c:v>
                </c:pt>
                <c:pt idx="3252">
                  <c:v>-3.0018829E-2</c:v>
                </c:pt>
                <c:pt idx="3253">
                  <c:v>-2.9959975E-2</c:v>
                </c:pt>
                <c:pt idx="3254">
                  <c:v>-2.9902623E-2</c:v>
                </c:pt>
                <c:pt idx="3255">
                  <c:v>-2.9843298000000001E-2</c:v>
                </c:pt>
                <c:pt idx="3256">
                  <c:v>-2.9786157000000001E-2</c:v>
                </c:pt>
                <c:pt idx="3257">
                  <c:v>-2.9728258E-2</c:v>
                </c:pt>
                <c:pt idx="3258">
                  <c:v>-2.9670293E-2</c:v>
                </c:pt>
                <c:pt idx="3259">
                  <c:v>-2.9611484E-2</c:v>
                </c:pt>
                <c:pt idx="3260">
                  <c:v>-2.9554771000000001E-2</c:v>
                </c:pt>
                <c:pt idx="3261">
                  <c:v>-2.9497127000000001E-2</c:v>
                </c:pt>
                <c:pt idx="3262">
                  <c:v>-2.9438638E-2</c:v>
                </c:pt>
                <c:pt idx="3263">
                  <c:v>-2.9380690000000001E-2</c:v>
                </c:pt>
                <c:pt idx="3264">
                  <c:v>-2.9323365000000001E-2</c:v>
                </c:pt>
                <c:pt idx="3265">
                  <c:v>-2.9266146999999999E-2</c:v>
                </c:pt>
                <c:pt idx="3266">
                  <c:v>-2.9208702E-2</c:v>
                </c:pt>
                <c:pt idx="3267">
                  <c:v>-2.9151697000000001E-2</c:v>
                </c:pt>
                <c:pt idx="3268">
                  <c:v>-2.9093857000000001E-2</c:v>
                </c:pt>
                <c:pt idx="3269">
                  <c:v>-2.9036027999999998E-2</c:v>
                </c:pt>
                <c:pt idx="3270">
                  <c:v>-2.8978921000000001E-2</c:v>
                </c:pt>
                <c:pt idx="3271">
                  <c:v>-2.8921303999999998E-2</c:v>
                </c:pt>
                <c:pt idx="3272">
                  <c:v>-2.8864834999999998E-2</c:v>
                </c:pt>
                <c:pt idx="3273">
                  <c:v>-2.8807432000000001E-2</c:v>
                </c:pt>
                <c:pt idx="3274">
                  <c:v>-2.8749618000000001E-2</c:v>
                </c:pt>
                <c:pt idx="3275">
                  <c:v>-2.8694184000000001E-2</c:v>
                </c:pt>
                <c:pt idx="3276">
                  <c:v>-2.8636062E-2</c:v>
                </c:pt>
                <c:pt idx="3277">
                  <c:v>-2.8580128E-2</c:v>
                </c:pt>
                <c:pt idx="3278">
                  <c:v>-2.8522839000000001E-2</c:v>
                </c:pt>
                <c:pt idx="3279">
                  <c:v>-2.8466598999999999E-2</c:v>
                </c:pt>
                <c:pt idx="3280">
                  <c:v>-2.8408905000000002E-2</c:v>
                </c:pt>
                <c:pt idx="3281">
                  <c:v>-2.8352355999999999E-2</c:v>
                </c:pt>
                <c:pt idx="3282">
                  <c:v>-2.8295915000000001E-2</c:v>
                </c:pt>
                <c:pt idx="3283">
                  <c:v>-2.8239373000000002E-2</c:v>
                </c:pt>
                <c:pt idx="3284">
                  <c:v>-2.8182625999999999E-2</c:v>
                </c:pt>
                <c:pt idx="3285">
                  <c:v>-2.8126506999999999E-2</c:v>
                </c:pt>
                <c:pt idx="3286">
                  <c:v>-2.8069452000000002E-2</c:v>
                </c:pt>
                <c:pt idx="3287">
                  <c:v>-2.8013024000000001E-2</c:v>
                </c:pt>
                <c:pt idx="3288">
                  <c:v>-2.7957333000000001E-2</c:v>
                </c:pt>
                <c:pt idx="3289">
                  <c:v>-2.7901638999999999E-2</c:v>
                </c:pt>
                <c:pt idx="3290">
                  <c:v>-2.7844490999999999E-2</c:v>
                </c:pt>
                <c:pt idx="3291">
                  <c:v>-2.7789530999999999E-2</c:v>
                </c:pt>
                <c:pt idx="3292">
                  <c:v>-2.7732297E-2</c:v>
                </c:pt>
                <c:pt idx="3293">
                  <c:v>-2.7677551000000002E-2</c:v>
                </c:pt>
                <c:pt idx="3294">
                  <c:v>-2.7620830999999998E-2</c:v>
                </c:pt>
                <c:pt idx="3295">
                  <c:v>-2.7564740000000001E-2</c:v>
                </c:pt>
                <c:pt idx="3296">
                  <c:v>-2.7509273000000001E-2</c:v>
                </c:pt>
                <c:pt idx="3297">
                  <c:v>-2.7453392E-2</c:v>
                </c:pt>
                <c:pt idx="3298">
                  <c:v>-2.7397620000000001E-2</c:v>
                </c:pt>
                <c:pt idx="3299">
                  <c:v>-2.7341434000000001E-2</c:v>
                </c:pt>
                <c:pt idx="3300">
                  <c:v>-2.7285872999999999E-2</c:v>
                </c:pt>
                <c:pt idx="3301">
                  <c:v>-2.7231053000000002E-2</c:v>
                </c:pt>
                <c:pt idx="3302">
                  <c:v>-2.7175708E-2</c:v>
                </c:pt>
                <c:pt idx="3303">
                  <c:v>-2.7120066000000002E-2</c:v>
                </c:pt>
                <c:pt idx="3304">
                  <c:v>-2.7064411999999999E-2</c:v>
                </c:pt>
                <c:pt idx="3305">
                  <c:v>-2.7008985999999999E-2</c:v>
                </c:pt>
                <c:pt idx="3306">
                  <c:v>-2.6954584E-2</c:v>
                </c:pt>
                <c:pt idx="3307">
                  <c:v>-2.6898732000000002E-2</c:v>
                </c:pt>
                <c:pt idx="3308">
                  <c:v>-2.6844026E-2</c:v>
                </c:pt>
                <c:pt idx="3309">
                  <c:v>-2.6787866E-2</c:v>
                </c:pt>
                <c:pt idx="3310">
                  <c:v>-2.6733894000000001E-2</c:v>
                </c:pt>
                <c:pt idx="3311">
                  <c:v>-2.6678984999999999E-2</c:v>
                </c:pt>
                <c:pt idx="3312">
                  <c:v>-2.6624187000000001E-2</c:v>
                </c:pt>
                <c:pt idx="3313">
                  <c:v>-2.6568452999999999E-2</c:v>
                </c:pt>
                <c:pt idx="3314">
                  <c:v>-2.6514636000000001E-2</c:v>
                </c:pt>
                <c:pt idx="3315">
                  <c:v>-2.6458077999999999E-2</c:v>
                </c:pt>
                <c:pt idx="3316">
                  <c:v>-2.6404744000000001E-2</c:v>
                </c:pt>
                <c:pt idx="3317">
                  <c:v>-2.6349831000000001E-2</c:v>
                </c:pt>
                <c:pt idx="3318">
                  <c:v>-2.6294758000000001E-2</c:v>
                </c:pt>
                <c:pt idx="3319">
                  <c:v>-2.6240705999999999E-2</c:v>
                </c:pt>
                <c:pt idx="3320">
                  <c:v>-2.6185719E-2</c:v>
                </c:pt>
                <c:pt idx="3321">
                  <c:v>-2.6131363000000001E-2</c:v>
                </c:pt>
                <c:pt idx="3322">
                  <c:v>-2.6077754000000002E-2</c:v>
                </c:pt>
                <c:pt idx="3323">
                  <c:v>-2.6023089999999999E-2</c:v>
                </c:pt>
                <c:pt idx="3324">
                  <c:v>-2.5969434999999999E-2</c:v>
                </c:pt>
                <c:pt idx="3325">
                  <c:v>-2.5914466000000001E-2</c:v>
                </c:pt>
                <c:pt idx="3326">
                  <c:v>-2.5860910000000001E-2</c:v>
                </c:pt>
                <c:pt idx="3327">
                  <c:v>-2.5806144E-2</c:v>
                </c:pt>
                <c:pt idx="3328">
                  <c:v>-2.5753570999999999E-2</c:v>
                </c:pt>
                <c:pt idx="3329">
                  <c:v>-2.5698889999999999E-2</c:v>
                </c:pt>
                <c:pt idx="3330">
                  <c:v>-2.5644970999999999E-2</c:v>
                </c:pt>
                <c:pt idx="3331">
                  <c:v>-2.5591297999999998E-2</c:v>
                </c:pt>
                <c:pt idx="3332">
                  <c:v>-2.5536547999999999E-2</c:v>
                </c:pt>
                <c:pt idx="3333">
                  <c:v>-2.5483332000000001E-2</c:v>
                </c:pt>
                <c:pt idx="3334">
                  <c:v>-2.5428803E-2</c:v>
                </c:pt>
                <c:pt idx="3335">
                  <c:v>-2.537555E-2</c:v>
                </c:pt>
                <c:pt idx="3336">
                  <c:v>-2.5322793999999999E-2</c:v>
                </c:pt>
                <c:pt idx="3337">
                  <c:v>-2.5267914999999998E-2</c:v>
                </c:pt>
                <c:pt idx="3338">
                  <c:v>-2.5215371E-2</c:v>
                </c:pt>
                <c:pt idx="3339">
                  <c:v>-2.5161136000000001E-2</c:v>
                </c:pt>
                <c:pt idx="3340">
                  <c:v>-2.5108806000000001E-2</c:v>
                </c:pt>
                <c:pt idx="3341">
                  <c:v>-2.5054874000000001E-2</c:v>
                </c:pt>
                <c:pt idx="3342">
                  <c:v>-2.5002238E-2</c:v>
                </c:pt>
                <c:pt idx="3343">
                  <c:v>-2.4948139000000001E-2</c:v>
                </c:pt>
                <c:pt idx="3344">
                  <c:v>-2.4895715999999998E-2</c:v>
                </c:pt>
                <c:pt idx="3345">
                  <c:v>-2.4841839000000001E-2</c:v>
                </c:pt>
                <c:pt idx="3346">
                  <c:v>-2.4789106000000002E-2</c:v>
                </c:pt>
                <c:pt idx="3347">
                  <c:v>-2.4736329000000001E-2</c:v>
                </c:pt>
                <c:pt idx="3348">
                  <c:v>-2.4683440000000001E-2</c:v>
                </c:pt>
                <c:pt idx="3349">
                  <c:v>-2.4630506E-2</c:v>
                </c:pt>
                <c:pt idx="3350">
                  <c:v>-2.457753E-2</c:v>
                </c:pt>
                <c:pt idx="3351">
                  <c:v>-2.4525334999999999E-2</c:v>
                </c:pt>
                <c:pt idx="3352">
                  <c:v>-2.4472501000000001E-2</c:v>
                </c:pt>
                <c:pt idx="3353">
                  <c:v>-2.4419692999999999E-2</c:v>
                </c:pt>
                <c:pt idx="3354">
                  <c:v>-2.4367443999999999E-2</c:v>
                </c:pt>
                <c:pt idx="3355">
                  <c:v>-2.4314634000000002E-2</c:v>
                </c:pt>
                <c:pt idx="3356">
                  <c:v>-2.4261774E-2</c:v>
                </c:pt>
                <c:pt idx="3357">
                  <c:v>-2.4209847999999999E-2</c:v>
                </c:pt>
                <c:pt idx="3358">
                  <c:v>-2.4157358E-2</c:v>
                </c:pt>
                <c:pt idx="3359">
                  <c:v>-2.4105857000000001E-2</c:v>
                </c:pt>
                <c:pt idx="3360">
                  <c:v>-2.4052537999999998E-2</c:v>
                </c:pt>
                <c:pt idx="3361">
                  <c:v>-2.4000526000000001E-2</c:v>
                </c:pt>
                <c:pt idx="3362">
                  <c:v>-2.3948819999999999E-2</c:v>
                </c:pt>
                <c:pt idx="3363">
                  <c:v>-2.3897385E-2</c:v>
                </c:pt>
                <c:pt idx="3364">
                  <c:v>-2.3844331E-2</c:v>
                </c:pt>
                <c:pt idx="3365">
                  <c:v>-2.3792750000000001E-2</c:v>
                </c:pt>
                <c:pt idx="3366">
                  <c:v>-2.3740429E-2</c:v>
                </c:pt>
                <c:pt idx="3367">
                  <c:v>-2.3688898999999999E-2</c:v>
                </c:pt>
                <c:pt idx="3368">
                  <c:v>-2.3636432999999998E-2</c:v>
                </c:pt>
                <c:pt idx="3369">
                  <c:v>-2.3585473999999999E-2</c:v>
                </c:pt>
                <c:pt idx="3370">
                  <c:v>-2.3533551E-2</c:v>
                </c:pt>
                <c:pt idx="3371">
                  <c:v>-2.3481762999999999E-2</c:v>
                </c:pt>
                <c:pt idx="3372">
                  <c:v>-2.3429724999999998E-2</c:v>
                </c:pt>
                <c:pt idx="3373">
                  <c:v>-2.3379192E-2</c:v>
                </c:pt>
                <c:pt idx="3374">
                  <c:v>-2.3326495999999999E-2</c:v>
                </c:pt>
                <c:pt idx="3375">
                  <c:v>-2.3275649999999998E-2</c:v>
                </c:pt>
                <c:pt idx="3376">
                  <c:v>-2.3224043999999999E-2</c:v>
                </c:pt>
                <c:pt idx="3377">
                  <c:v>-2.3173053999999998E-2</c:v>
                </c:pt>
                <c:pt idx="3378">
                  <c:v>-2.3122182000000002E-2</c:v>
                </c:pt>
                <c:pt idx="3379">
                  <c:v>-2.3070895000000001E-2</c:v>
                </c:pt>
                <c:pt idx="3380">
                  <c:v>-2.3020585999999999E-2</c:v>
                </c:pt>
                <c:pt idx="3381">
                  <c:v>-2.2968299000000001E-2</c:v>
                </c:pt>
                <c:pt idx="3382">
                  <c:v>-2.2916808E-2</c:v>
                </c:pt>
                <c:pt idx="3383">
                  <c:v>-2.2866470999999999E-2</c:v>
                </c:pt>
                <c:pt idx="3384">
                  <c:v>-2.281623E-2</c:v>
                </c:pt>
                <c:pt idx="3385">
                  <c:v>-2.2765064000000002E-2</c:v>
                </c:pt>
                <c:pt idx="3386">
                  <c:v>-2.2713831E-2</c:v>
                </c:pt>
                <c:pt idx="3387">
                  <c:v>-2.2664436999999999E-2</c:v>
                </c:pt>
                <c:pt idx="3388">
                  <c:v>-2.2612031000000001E-2</c:v>
                </c:pt>
                <c:pt idx="3389">
                  <c:v>-2.2562154000000001E-2</c:v>
                </c:pt>
                <c:pt idx="3390">
                  <c:v>-2.2510480999999999E-2</c:v>
                </c:pt>
                <c:pt idx="3391">
                  <c:v>-2.2461512999999999E-2</c:v>
                </c:pt>
                <c:pt idx="3392">
                  <c:v>-2.2410757999999999E-2</c:v>
                </c:pt>
                <c:pt idx="3393">
                  <c:v>-2.2360608000000001E-2</c:v>
                </c:pt>
                <c:pt idx="3394">
                  <c:v>-2.2309704E-2</c:v>
                </c:pt>
                <c:pt idx="3395">
                  <c:v>-2.2259965E-2</c:v>
                </c:pt>
                <c:pt idx="3396">
                  <c:v>-2.2209276999999999E-2</c:v>
                </c:pt>
                <c:pt idx="3397">
                  <c:v>-2.2158354000000002E-2</c:v>
                </c:pt>
                <c:pt idx="3398">
                  <c:v>-2.2109435E-2</c:v>
                </c:pt>
                <c:pt idx="3399">
                  <c:v>-2.2059061000000001E-2</c:v>
                </c:pt>
                <c:pt idx="3400">
                  <c:v>-2.2009161999999999E-2</c:v>
                </c:pt>
                <c:pt idx="3401">
                  <c:v>-2.1959001999999998E-2</c:v>
                </c:pt>
                <c:pt idx="3402">
                  <c:v>-2.1909135E-2</c:v>
                </c:pt>
                <c:pt idx="3403">
                  <c:v>-2.1859189000000001E-2</c:v>
                </c:pt>
                <c:pt idx="3404">
                  <c:v>-2.1809018999999999E-2</c:v>
                </c:pt>
                <c:pt idx="3405">
                  <c:v>-2.1760508000000001E-2</c:v>
                </c:pt>
                <c:pt idx="3406">
                  <c:v>-2.1710360000000001E-2</c:v>
                </c:pt>
                <c:pt idx="3407">
                  <c:v>-2.1659801999999999E-2</c:v>
                </c:pt>
                <c:pt idx="3408">
                  <c:v>-2.161128E-2</c:v>
                </c:pt>
                <c:pt idx="3409">
                  <c:v>-2.1560942E-2</c:v>
                </c:pt>
                <c:pt idx="3410">
                  <c:v>-2.1512255000000001E-2</c:v>
                </c:pt>
                <c:pt idx="3411">
                  <c:v>-2.1461792E-2</c:v>
                </c:pt>
                <c:pt idx="3412">
                  <c:v>-2.1413325E-2</c:v>
                </c:pt>
                <c:pt idx="3413">
                  <c:v>-2.1363594E-2</c:v>
                </c:pt>
                <c:pt idx="3414">
                  <c:v>-2.1315009999999999E-2</c:v>
                </c:pt>
                <c:pt idx="3415">
                  <c:v>-2.1264783999999998E-2</c:v>
                </c:pt>
                <c:pt idx="3416">
                  <c:v>-2.1216214000000001E-2</c:v>
                </c:pt>
                <c:pt idx="3417">
                  <c:v>-2.1166596999999999E-2</c:v>
                </c:pt>
                <c:pt idx="3418">
                  <c:v>-2.1118764000000002E-2</c:v>
                </c:pt>
                <c:pt idx="3419">
                  <c:v>-2.1070525999999999E-2</c:v>
                </c:pt>
                <c:pt idx="3420">
                  <c:v>-2.102031E-2</c:v>
                </c:pt>
                <c:pt idx="3421">
                  <c:v>-2.0972675E-2</c:v>
                </c:pt>
                <c:pt idx="3422">
                  <c:v>-2.0922672999999999E-2</c:v>
                </c:pt>
                <c:pt idx="3423">
                  <c:v>-2.0874861000000001E-2</c:v>
                </c:pt>
                <c:pt idx="3424">
                  <c:v>-2.0825587E-2</c:v>
                </c:pt>
                <c:pt idx="3425">
                  <c:v>-2.0777667E-2</c:v>
                </c:pt>
                <c:pt idx="3426">
                  <c:v>-2.0728814000000002E-2</c:v>
                </c:pt>
                <c:pt idx="3427">
                  <c:v>-2.0679866000000002E-2</c:v>
                </c:pt>
                <c:pt idx="3428">
                  <c:v>-2.0631541E-2</c:v>
                </c:pt>
                <c:pt idx="3429">
                  <c:v>-2.0583526000000001E-2</c:v>
                </c:pt>
                <c:pt idx="3430">
                  <c:v>-2.0534579000000001E-2</c:v>
                </c:pt>
                <c:pt idx="3431">
                  <c:v>-2.0487102E-2</c:v>
                </c:pt>
                <c:pt idx="3432">
                  <c:v>-2.0437647E-2</c:v>
                </c:pt>
                <c:pt idx="3433">
                  <c:v>-2.0390383000000002E-2</c:v>
                </c:pt>
                <c:pt idx="3434">
                  <c:v>-2.0341754E-2</c:v>
                </c:pt>
                <c:pt idx="3435">
                  <c:v>-2.0293973E-2</c:v>
                </c:pt>
                <c:pt idx="3436">
                  <c:v>-2.0246505000000001E-2</c:v>
                </c:pt>
                <c:pt idx="3437">
                  <c:v>-2.0198627E-2</c:v>
                </c:pt>
                <c:pt idx="3438">
                  <c:v>-2.0151377000000002E-2</c:v>
                </c:pt>
                <c:pt idx="3439">
                  <c:v>-2.0102353E-2</c:v>
                </c:pt>
                <c:pt idx="3440">
                  <c:v>-2.0054799000000002E-2</c:v>
                </c:pt>
                <c:pt idx="3441">
                  <c:v>-2.0007027E-2</c:v>
                </c:pt>
                <c:pt idx="3442">
                  <c:v>-1.9959169999999998E-2</c:v>
                </c:pt>
                <c:pt idx="3443">
                  <c:v>-1.9911832000000001E-2</c:v>
                </c:pt>
                <c:pt idx="3444">
                  <c:v>-1.9863974E-2</c:v>
                </c:pt>
                <c:pt idx="3445">
                  <c:v>-1.9816950999999999E-2</c:v>
                </c:pt>
                <c:pt idx="3446">
                  <c:v>-1.9770026999999999E-2</c:v>
                </c:pt>
                <c:pt idx="3447">
                  <c:v>-1.9721862999999999E-2</c:v>
                </c:pt>
                <c:pt idx="3448">
                  <c:v>-1.9675074000000001E-2</c:v>
                </c:pt>
                <c:pt idx="3449">
                  <c:v>-1.9626920999999999E-2</c:v>
                </c:pt>
                <c:pt idx="3450">
                  <c:v>-1.9579695000000001E-2</c:v>
                </c:pt>
                <c:pt idx="3451">
                  <c:v>-1.9532784000000001E-2</c:v>
                </c:pt>
                <c:pt idx="3452">
                  <c:v>-1.9485908999999999E-2</c:v>
                </c:pt>
                <c:pt idx="3453">
                  <c:v>-1.9438997999999999E-2</c:v>
                </c:pt>
                <c:pt idx="3454">
                  <c:v>-1.9391908999999999E-2</c:v>
                </c:pt>
                <c:pt idx="3455">
                  <c:v>-1.9344912999999998E-2</c:v>
                </c:pt>
                <c:pt idx="3456">
                  <c:v>-1.9297721E-2</c:v>
                </c:pt>
                <c:pt idx="3457">
                  <c:v>-1.9251465999999998E-2</c:v>
                </c:pt>
                <c:pt idx="3458">
                  <c:v>-1.9204270999999998E-2</c:v>
                </c:pt>
                <c:pt idx="3459">
                  <c:v>-1.9158227E-2</c:v>
                </c:pt>
                <c:pt idx="3460">
                  <c:v>-1.9110434999999999E-2</c:v>
                </c:pt>
                <c:pt idx="3461">
                  <c:v>-1.9065110999999999E-2</c:v>
                </c:pt>
                <c:pt idx="3462">
                  <c:v>-1.9017836999999999E-2</c:v>
                </c:pt>
                <c:pt idx="3463">
                  <c:v>-1.8971699000000002E-2</c:v>
                </c:pt>
                <c:pt idx="3464">
                  <c:v>-1.8924627999999999E-2</c:v>
                </c:pt>
                <c:pt idx="3465">
                  <c:v>-1.8879459000000001E-2</c:v>
                </c:pt>
                <c:pt idx="3466">
                  <c:v>-1.8833123E-2</c:v>
                </c:pt>
                <c:pt idx="3467">
                  <c:v>-1.8785853000000002E-2</c:v>
                </c:pt>
                <c:pt idx="3468">
                  <c:v>-1.8739741000000001E-2</c:v>
                </c:pt>
                <c:pt idx="3469">
                  <c:v>-1.8693435000000001E-2</c:v>
                </c:pt>
                <c:pt idx="3470">
                  <c:v>-1.8648049999999999E-2</c:v>
                </c:pt>
                <c:pt idx="3471">
                  <c:v>-1.8601209E-2</c:v>
                </c:pt>
                <c:pt idx="3472">
                  <c:v>-1.8556041999999998E-2</c:v>
                </c:pt>
                <c:pt idx="3473">
                  <c:v>-1.8509135999999999E-2</c:v>
                </c:pt>
                <c:pt idx="3474">
                  <c:v>-1.8464695E-2</c:v>
                </c:pt>
                <c:pt idx="3475">
                  <c:v>-1.841829E-2</c:v>
                </c:pt>
                <c:pt idx="3476">
                  <c:v>-1.8373034999999999E-2</c:v>
                </c:pt>
                <c:pt idx="3477">
                  <c:v>-1.8325515000000001E-2</c:v>
                </c:pt>
                <c:pt idx="3478">
                  <c:v>-1.8281510000000001E-2</c:v>
                </c:pt>
                <c:pt idx="3479">
                  <c:v>-1.8235533000000002E-2</c:v>
                </c:pt>
                <c:pt idx="3480">
                  <c:v>-1.8190469000000001E-2</c:v>
                </c:pt>
                <c:pt idx="3481">
                  <c:v>-1.8144192999999999E-2</c:v>
                </c:pt>
                <c:pt idx="3482">
                  <c:v>-1.8099292999999999E-2</c:v>
                </c:pt>
                <c:pt idx="3483">
                  <c:v>-1.8054265999999999E-2</c:v>
                </c:pt>
                <c:pt idx="3484">
                  <c:v>-1.8008836E-2</c:v>
                </c:pt>
                <c:pt idx="3485">
                  <c:v>-1.7963495999999999E-2</c:v>
                </c:pt>
                <c:pt idx="3486">
                  <c:v>-1.7917994999999999E-2</c:v>
                </c:pt>
                <c:pt idx="3487">
                  <c:v>-1.7873410999999999E-2</c:v>
                </c:pt>
                <c:pt idx="3488">
                  <c:v>-1.7827355999999999E-2</c:v>
                </c:pt>
                <c:pt idx="3489">
                  <c:v>-1.7783259999999999E-2</c:v>
                </c:pt>
                <c:pt idx="3490">
                  <c:v>-1.7737665999999999E-2</c:v>
                </c:pt>
                <c:pt idx="3491">
                  <c:v>-1.7692986000000001E-2</c:v>
                </c:pt>
                <c:pt idx="3492">
                  <c:v>-1.7647372000000001E-2</c:v>
                </c:pt>
                <c:pt idx="3493">
                  <c:v>-1.7603423999999999E-2</c:v>
                </c:pt>
                <c:pt idx="3494">
                  <c:v>-1.7558295000000002E-2</c:v>
                </c:pt>
                <c:pt idx="3495">
                  <c:v>-1.7513773999999999E-2</c:v>
                </c:pt>
                <c:pt idx="3496">
                  <c:v>-1.7469632999999998E-2</c:v>
                </c:pt>
                <c:pt idx="3497">
                  <c:v>-1.7425087999999998E-2</c:v>
                </c:pt>
                <c:pt idx="3498">
                  <c:v>-1.7380382999999999E-2</c:v>
                </c:pt>
                <c:pt idx="3499">
                  <c:v>-1.7335515999999999E-2</c:v>
                </c:pt>
                <c:pt idx="3500">
                  <c:v>-1.7291816000000002E-2</c:v>
                </c:pt>
                <c:pt idx="3501">
                  <c:v>-1.7246642999999999E-2</c:v>
                </c:pt>
                <c:pt idx="3502">
                  <c:v>-1.7203159999999999E-2</c:v>
                </c:pt>
                <c:pt idx="3503">
                  <c:v>-1.7158972000000002E-2</c:v>
                </c:pt>
                <c:pt idx="3504">
                  <c:v>-1.7114405999999999E-2</c:v>
                </c:pt>
                <c:pt idx="3505">
                  <c:v>-1.7070206000000001E-2</c:v>
                </c:pt>
                <c:pt idx="3506">
                  <c:v>-1.7026617000000001E-2</c:v>
                </c:pt>
                <c:pt idx="3507">
                  <c:v>-1.6982361000000001E-2</c:v>
                </c:pt>
                <c:pt idx="3508">
                  <c:v>-1.6938215E-2</c:v>
                </c:pt>
                <c:pt idx="3509">
                  <c:v>-1.6894962999999999E-2</c:v>
                </c:pt>
                <c:pt idx="3510">
                  <c:v>-1.6850253999999999E-2</c:v>
                </c:pt>
                <c:pt idx="3511">
                  <c:v>-1.6806959E-2</c:v>
                </c:pt>
                <c:pt idx="3512">
                  <c:v>-1.6763756000000001E-2</c:v>
                </c:pt>
                <c:pt idx="3513">
                  <c:v>-1.6720430000000001E-2</c:v>
                </c:pt>
                <c:pt idx="3514">
                  <c:v>-1.6675885000000001E-2</c:v>
                </c:pt>
                <c:pt idx="3515">
                  <c:v>-1.6632227999999999E-2</c:v>
                </c:pt>
                <c:pt idx="3516">
                  <c:v>-1.6588961999999999E-2</c:v>
                </c:pt>
                <c:pt idx="3517">
                  <c:v>-1.6544751999999999E-2</c:v>
                </c:pt>
                <c:pt idx="3518">
                  <c:v>-1.6502475999999999E-2</c:v>
                </c:pt>
                <c:pt idx="3519">
                  <c:v>-1.6459251000000001E-2</c:v>
                </c:pt>
                <c:pt idx="3520">
                  <c:v>-1.6415094000000002E-2</c:v>
                </c:pt>
                <c:pt idx="3521">
                  <c:v>-1.6372889000000002E-2</c:v>
                </c:pt>
                <c:pt idx="3522">
                  <c:v>-1.6328971000000001E-2</c:v>
                </c:pt>
                <c:pt idx="3523">
                  <c:v>-1.6286440999999999E-2</c:v>
                </c:pt>
                <c:pt idx="3524">
                  <c:v>-1.624273E-2</c:v>
                </c:pt>
                <c:pt idx="3525">
                  <c:v>-1.6200445000000001E-2</c:v>
                </c:pt>
                <c:pt idx="3526">
                  <c:v>-1.6156690000000001E-2</c:v>
                </c:pt>
                <c:pt idx="3527">
                  <c:v>-1.6114344999999999E-2</c:v>
                </c:pt>
                <c:pt idx="3528">
                  <c:v>-1.6071308999999999E-2</c:v>
                </c:pt>
                <c:pt idx="3529">
                  <c:v>-1.6028944E-2</c:v>
                </c:pt>
                <c:pt idx="3530">
                  <c:v>-1.5985618E-2</c:v>
                </c:pt>
                <c:pt idx="3531">
                  <c:v>-1.5943703E-2</c:v>
                </c:pt>
                <c:pt idx="3532">
                  <c:v>-1.5900358E-2</c:v>
                </c:pt>
                <c:pt idx="3533">
                  <c:v>-1.5857621999999998E-2</c:v>
                </c:pt>
                <c:pt idx="3534">
                  <c:v>-1.5816042999999998E-2</c:v>
                </c:pt>
                <c:pt idx="3535">
                  <c:v>-1.5773787000000001E-2</c:v>
                </c:pt>
                <c:pt idx="3536">
                  <c:v>-1.5730580000000001E-2</c:v>
                </c:pt>
                <c:pt idx="3537">
                  <c:v>-1.5688545000000002E-2</c:v>
                </c:pt>
                <c:pt idx="3538">
                  <c:v>-1.5646096000000002E-2</c:v>
                </c:pt>
                <c:pt idx="3539">
                  <c:v>-1.5603736E-2</c:v>
                </c:pt>
                <c:pt idx="3540">
                  <c:v>-1.5561800000000001E-2</c:v>
                </c:pt>
                <c:pt idx="3541">
                  <c:v>-1.5519662E-2</c:v>
                </c:pt>
                <c:pt idx="3542">
                  <c:v>-1.5477662999999999E-2</c:v>
                </c:pt>
                <c:pt idx="3543">
                  <c:v>-1.5435234000000001E-2</c:v>
                </c:pt>
                <c:pt idx="3544">
                  <c:v>-1.5393693E-2</c:v>
                </c:pt>
                <c:pt idx="3545">
                  <c:v>-1.5351469E-2</c:v>
                </c:pt>
                <c:pt idx="3546">
                  <c:v>-1.5310964999999999E-2</c:v>
                </c:pt>
                <c:pt idx="3547">
                  <c:v>-1.5268449E-2</c:v>
                </c:pt>
                <c:pt idx="3548">
                  <c:v>-1.5226842000000001E-2</c:v>
                </c:pt>
                <c:pt idx="3549">
                  <c:v>-1.5185575E-2</c:v>
                </c:pt>
                <c:pt idx="3550">
                  <c:v>-1.5142859999999999E-2</c:v>
                </c:pt>
                <c:pt idx="3551">
                  <c:v>-1.5102597000000001E-2</c:v>
                </c:pt>
                <c:pt idx="3552">
                  <c:v>-1.5059876999999999E-2</c:v>
                </c:pt>
                <c:pt idx="3553">
                  <c:v>-1.5019035999999999E-2</c:v>
                </c:pt>
                <c:pt idx="3554">
                  <c:v>-1.4977279E-2</c:v>
                </c:pt>
                <c:pt idx="3555">
                  <c:v>-1.4936191999999999E-2</c:v>
                </c:pt>
                <c:pt idx="3556">
                  <c:v>-1.4895188E-2</c:v>
                </c:pt>
                <c:pt idx="3557">
                  <c:v>-1.4854018E-2</c:v>
                </c:pt>
                <c:pt idx="3558">
                  <c:v>-1.4812705000000001E-2</c:v>
                </c:pt>
                <c:pt idx="3559">
                  <c:v>-1.4771794E-2</c:v>
                </c:pt>
                <c:pt idx="3560">
                  <c:v>-1.473149E-2</c:v>
                </c:pt>
                <c:pt idx="3561">
                  <c:v>-1.4689463999999999E-2</c:v>
                </c:pt>
                <c:pt idx="3562">
                  <c:v>-1.4648852E-2</c:v>
                </c:pt>
                <c:pt idx="3563">
                  <c:v>-1.4608294000000001E-2</c:v>
                </c:pt>
                <c:pt idx="3564">
                  <c:v>-1.4567409E-2</c:v>
                </c:pt>
                <c:pt idx="3565">
                  <c:v>-1.4525570999999999E-2</c:v>
                </c:pt>
                <c:pt idx="3566">
                  <c:v>-1.4486172E-2</c:v>
                </c:pt>
                <c:pt idx="3567">
                  <c:v>-1.4444792999999999E-2</c:v>
                </c:pt>
                <c:pt idx="3568">
                  <c:v>-1.4405144999999999E-2</c:v>
                </c:pt>
                <c:pt idx="3569">
                  <c:v>-1.4363456E-2</c:v>
                </c:pt>
                <c:pt idx="3570">
                  <c:v>-1.4323436E-2</c:v>
                </c:pt>
                <c:pt idx="3571">
                  <c:v>-1.4282286E-2</c:v>
                </c:pt>
                <c:pt idx="3572">
                  <c:v>-1.4242787E-2</c:v>
                </c:pt>
                <c:pt idx="3573">
                  <c:v>-1.4202798000000001E-2</c:v>
                </c:pt>
                <c:pt idx="3574">
                  <c:v>-1.4161662E-2</c:v>
                </c:pt>
                <c:pt idx="3575">
                  <c:v>-1.4120938E-2</c:v>
                </c:pt>
                <c:pt idx="3576">
                  <c:v>-1.4082094E-2</c:v>
                </c:pt>
                <c:pt idx="3577">
                  <c:v>-1.4041573E-2</c:v>
                </c:pt>
                <c:pt idx="3578">
                  <c:v>-1.4002248E-2</c:v>
                </c:pt>
                <c:pt idx="3579">
                  <c:v>-1.3962178E-2</c:v>
                </c:pt>
                <c:pt idx="3580">
                  <c:v>-1.3921686000000001E-2</c:v>
                </c:pt>
                <c:pt idx="3581">
                  <c:v>-1.3882143E-2</c:v>
                </c:pt>
                <c:pt idx="3582">
                  <c:v>-1.3842937E-2</c:v>
                </c:pt>
                <c:pt idx="3583">
                  <c:v>-1.3802777E-2</c:v>
                </c:pt>
                <c:pt idx="3584">
                  <c:v>-1.3762233E-2</c:v>
                </c:pt>
                <c:pt idx="3585">
                  <c:v>-1.3723647E-2</c:v>
                </c:pt>
                <c:pt idx="3586">
                  <c:v>-1.3683305E-2</c:v>
                </c:pt>
                <c:pt idx="3587">
                  <c:v>-1.3644428E-2</c:v>
                </c:pt>
                <c:pt idx="3588">
                  <c:v>-1.3605351999999999E-2</c:v>
                </c:pt>
                <c:pt idx="3589">
                  <c:v>-1.3566386999999999E-2</c:v>
                </c:pt>
                <c:pt idx="3590">
                  <c:v>-1.3526266E-2</c:v>
                </c:pt>
                <c:pt idx="3591">
                  <c:v>-1.3487008999999999E-2</c:v>
                </c:pt>
                <c:pt idx="3592">
                  <c:v>-1.344806E-2</c:v>
                </c:pt>
                <c:pt idx="3593">
                  <c:v>-1.3408804E-2</c:v>
                </c:pt>
                <c:pt idx="3594">
                  <c:v>-1.3369857000000001E-2</c:v>
                </c:pt>
                <c:pt idx="3595">
                  <c:v>-1.3330488E-2</c:v>
                </c:pt>
                <c:pt idx="3596">
                  <c:v>-1.3291269E-2</c:v>
                </c:pt>
                <c:pt idx="3597">
                  <c:v>-1.3252652E-2</c:v>
                </c:pt>
                <c:pt idx="3598">
                  <c:v>-1.3213755000000001E-2</c:v>
                </c:pt>
                <c:pt idx="3599">
                  <c:v>-1.3174847E-2</c:v>
                </c:pt>
                <c:pt idx="3600">
                  <c:v>-1.3136561E-2</c:v>
                </c:pt>
                <c:pt idx="3601">
                  <c:v>-1.3096529000000001E-2</c:v>
                </c:pt>
                <c:pt idx="3602">
                  <c:v>-1.3059655E-2</c:v>
                </c:pt>
                <c:pt idx="3603">
                  <c:v>-1.3019609999999999E-2</c:v>
                </c:pt>
                <c:pt idx="3604">
                  <c:v>-1.2981784999999999E-2</c:v>
                </c:pt>
                <c:pt idx="3605">
                  <c:v>-1.2944048999999999E-2</c:v>
                </c:pt>
                <c:pt idx="3606">
                  <c:v>-1.2904354999999999E-2</c:v>
                </c:pt>
                <c:pt idx="3607">
                  <c:v>-1.2866347E-2</c:v>
                </c:pt>
                <c:pt idx="3608">
                  <c:v>-1.2827896E-2</c:v>
                </c:pt>
                <c:pt idx="3609">
                  <c:v>-1.2789803000000001E-2</c:v>
                </c:pt>
                <c:pt idx="3610">
                  <c:v>-1.2751039E-2</c:v>
                </c:pt>
                <c:pt idx="3611">
                  <c:v>-1.2713077999999999E-2</c:v>
                </c:pt>
                <c:pt idx="3612">
                  <c:v>-1.2675107999999999E-2</c:v>
                </c:pt>
                <c:pt idx="3613">
                  <c:v>-1.2637226999999999E-2</c:v>
                </c:pt>
                <c:pt idx="3614">
                  <c:v>-1.2599968E-2</c:v>
                </c:pt>
                <c:pt idx="3615">
                  <c:v>-1.2561793999999999E-2</c:v>
                </c:pt>
                <c:pt idx="3616">
                  <c:v>-1.2523421999999999E-2</c:v>
                </c:pt>
                <c:pt idx="3617">
                  <c:v>-1.2485978999999999E-2</c:v>
                </c:pt>
                <c:pt idx="3618">
                  <c:v>-1.2448155000000001E-2</c:v>
                </c:pt>
                <c:pt idx="3619">
                  <c:v>-1.2409887E-2</c:v>
                </c:pt>
                <c:pt idx="3620">
                  <c:v>-1.2373991000000001E-2</c:v>
                </c:pt>
                <c:pt idx="3621">
                  <c:v>-1.2334919999999999E-2</c:v>
                </c:pt>
                <c:pt idx="3622">
                  <c:v>-1.2298048000000001E-2</c:v>
                </c:pt>
                <c:pt idx="3623">
                  <c:v>-1.226022E-2</c:v>
                </c:pt>
                <c:pt idx="3624">
                  <c:v>-1.2222719999999999E-2</c:v>
                </c:pt>
                <c:pt idx="3625">
                  <c:v>-1.2185131E-2</c:v>
                </c:pt>
                <c:pt idx="3626">
                  <c:v>-1.2148717E-2</c:v>
                </c:pt>
                <c:pt idx="3627">
                  <c:v>-1.2109791E-2</c:v>
                </c:pt>
                <c:pt idx="3628">
                  <c:v>-1.2073064E-2</c:v>
                </c:pt>
                <c:pt idx="3629">
                  <c:v>-1.2036445E-2</c:v>
                </c:pt>
                <c:pt idx="3630">
                  <c:v>-1.1998893E-2</c:v>
                </c:pt>
                <c:pt idx="3631">
                  <c:v>-1.1961663000000001E-2</c:v>
                </c:pt>
                <c:pt idx="3632">
                  <c:v>-1.1925883999999999E-2</c:v>
                </c:pt>
                <c:pt idx="3633">
                  <c:v>-1.1888318E-2</c:v>
                </c:pt>
                <c:pt idx="3634">
                  <c:v>-1.1851756999999999E-2</c:v>
                </c:pt>
                <c:pt idx="3635">
                  <c:v>-1.1815285E-2</c:v>
                </c:pt>
                <c:pt idx="3636">
                  <c:v>-1.177841E-2</c:v>
                </c:pt>
                <c:pt idx="3637">
                  <c:v>-1.1741645E-2</c:v>
                </c:pt>
                <c:pt idx="3638">
                  <c:v>-1.1704666000000001E-2</c:v>
                </c:pt>
                <c:pt idx="3639">
                  <c:v>-1.1667607999999999E-2</c:v>
                </c:pt>
                <c:pt idx="3640">
                  <c:v>-1.1631702000000001E-2</c:v>
                </c:pt>
                <c:pt idx="3641">
                  <c:v>-1.1595906E-2</c:v>
                </c:pt>
                <c:pt idx="3642">
                  <c:v>-1.1558664E-2</c:v>
                </c:pt>
                <c:pt idx="3643">
                  <c:v>-1.1522064E-2</c:v>
                </c:pt>
                <c:pt idx="3644">
                  <c:v>-1.1487129E-2</c:v>
                </c:pt>
                <c:pt idx="3645">
                  <c:v>-1.1449865E-2</c:v>
                </c:pt>
                <c:pt idx="3646">
                  <c:v>-1.1414636000000001E-2</c:v>
                </c:pt>
                <c:pt idx="3647">
                  <c:v>-1.1377428E-2</c:v>
                </c:pt>
                <c:pt idx="3648">
                  <c:v>-1.1340863E-2</c:v>
                </c:pt>
                <c:pt idx="3649">
                  <c:v>-1.1305472E-2</c:v>
                </c:pt>
                <c:pt idx="3650">
                  <c:v>-1.1270146E-2</c:v>
                </c:pt>
                <c:pt idx="3651">
                  <c:v>-1.1233576E-2</c:v>
                </c:pt>
                <c:pt idx="3652">
                  <c:v>-1.1197979E-2</c:v>
                </c:pt>
                <c:pt idx="3653">
                  <c:v>-1.1161958E-2</c:v>
                </c:pt>
                <c:pt idx="3654">
                  <c:v>-1.112609E-2</c:v>
                </c:pt>
                <c:pt idx="3655">
                  <c:v>-1.1090819E-2</c:v>
                </c:pt>
                <c:pt idx="3656">
                  <c:v>-1.1055147E-2</c:v>
                </c:pt>
                <c:pt idx="3657">
                  <c:v>-1.1018584999999999E-2</c:v>
                </c:pt>
                <c:pt idx="3658">
                  <c:v>-1.0983816E-2</c:v>
                </c:pt>
                <c:pt idx="3659">
                  <c:v>-1.0948493E-2</c:v>
                </c:pt>
                <c:pt idx="3660">
                  <c:v>-1.0913278E-2</c:v>
                </c:pt>
                <c:pt idx="3661">
                  <c:v>-1.0878703999999999E-2</c:v>
                </c:pt>
                <c:pt idx="3662">
                  <c:v>-1.0842153E-2</c:v>
                </c:pt>
                <c:pt idx="3663">
                  <c:v>-1.0806754E-2</c:v>
                </c:pt>
                <c:pt idx="3664">
                  <c:v>-1.0772678000000001E-2</c:v>
                </c:pt>
                <c:pt idx="3665">
                  <c:v>-1.0737495999999999E-2</c:v>
                </c:pt>
                <c:pt idx="3666">
                  <c:v>-1.0702978E-2</c:v>
                </c:pt>
                <c:pt idx="3667">
                  <c:v>-1.066697E-2</c:v>
                </c:pt>
                <c:pt idx="3668">
                  <c:v>-1.0632159E-2</c:v>
                </c:pt>
                <c:pt idx="3669">
                  <c:v>-1.0596924000000001E-2</c:v>
                </c:pt>
                <c:pt idx="3670">
                  <c:v>-1.0562277E-2</c:v>
                </c:pt>
                <c:pt idx="3671">
                  <c:v>-1.052779E-2</c:v>
                </c:pt>
                <c:pt idx="3672">
                  <c:v>-1.0492878000000001E-2</c:v>
                </c:pt>
                <c:pt idx="3673">
                  <c:v>-1.0458098000000001E-2</c:v>
                </c:pt>
                <c:pt idx="3674">
                  <c:v>-1.0423959999999999E-2</c:v>
                </c:pt>
                <c:pt idx="3675">
                  <c:v>-1.0390095E-2</c:v>
                </c:pt>
                <c:pt idx="3676">
                  <c:v>-1.0355105999999999E-2</c:v>
                </c:pt>
                <c:pt idx="3677">
                  <c:v>-1.0320806E-2</c:v>
                </c:pt>
                <c:pt idx="3678">
                  <c:v>-1.0286058000000001E-2</c:v>
                </c:pt>
                <c:pt idx="3679">
                  <c:v>-1.0251741E-2</c:v>
                </c:pt>
                <c:pt idx="3680">
                  <c:v>-1.0217369E-2</c:v>
                </c:pt>
                <c:pt idx="3681">
                  <c:v>-1.0182989999999999E-2</c:v>
                </c:pt>
                <c:pt idx="3682">
                  <c:v>-1.014923E-2</c:v>
                </c:pt>
                <c:pt idx="3683">
                  <c:v>-1.0115578E-2</c:v>
                </c:pt>
                <c:pt idx="3684">
                  <c:v>-1.0081038E-2</c:v>
                </c:pt>
                <c:pt idx="3685">
                  <c:v>-1.0047626E-2</c:v>
                </c:pt>
                <c:pt idx="3686">
                  <c:v>-1.0013413000000001E-2</c:v>
                </c:pt>
                <c:pt idx="3687">
                  <c:v>-9.9794624999999994E-3</c:v>
                </c:pt>
                <c:pt idx="3688">
                  <c:v>-9.9464202000000002E-3</c:v>
                </c:pt>
                <c:pt idx="3689">
                  <c:v>-9.9118864000000001E-3</c:v>
                </c:pt>
                <c:pt idx="3690">
                  <c:v>-9.8774844000000007E-3</c:v>
                </c:pt>
                <c:pt idx="3691">
                  <c:v>-9.8448965000000003E-3</c:v>
                </c:pt>
                <c:pt idx="3692">
                  <c:v>-9.8115253999999999E-3</c:v>
                </c:pt>
                <c:pt idx="3693">
                  <c:v>-9.7769361999999992E-3</c:v>
                </c:pt>
                <c:pt idx="3694">
                  <c:v>-9.7440310999999998E-3</c:v>
                </c:pt>
                <c:pt idx="3695">
                  <c:v>-9.7101913000000005E-3</c:v>
                </c:pt>
                <c:pt idx="3696">
                  <c:v>-9.6771431000000005E-3</c:v>
                </c:pt>
                <c:pt idx="3697">
                  <c:v>-9.6440759000000001E-3</c:v>
                </c:pt>
                <c:pt idx="3698">
                  <c:v>-9.6105832999999995E-3</c:v>
                </c:pt>
                <c:pt idx="3699">
                  <c:v>-9.5785378999999997E-3</c:v>
                </c:pt>
                <c:pt idx="3700">
                  <c:v>-9.5447504999999992E-3</c:v>
                </c:pt>
                <c:pt idx="3701">
                  <c:v>-9.5112179000000005E-3</c:v>
                </c:pt>
                <c:pt idx="3702">
                  <c:v>-9.4787364999999995E-3</c:v>
                </c:pt>
                <c:pt idx="3703">
                  <c:v>-9.4458053000000004E-3</c:v>
                </c:pt>
                <c:pt idx="3704">
                  <c:v>-9.4122293999999995E-3</c:v>
                </c:pt>
                <c:pt idx="3705">
                  <c:v>-9.3795609000000002E-3</c:v>
                </c:pt>
                <c:pt idx="3706">
                  <c:v>-9.3471195000000007E-3</c:v>
                </c:pt>
                <c:pt idx="3707">
                  <c:v>-9.3136234999999998E-3</c:v>
                </c:pt>
                <c:pt idx="3708">
                  <c:v>-9.2815377000000001E-3</c:v>
                </c:pt>
                <c:pt idx="3709">
                  <c:v>-9.2493225000000005E-3</c:v>
                </c:pt>
                <c:pt idx="3710">
                  <c:v>-9.2161724999999996E-3</c:v>
                </c:pt>
                <c:pt idx="3711">
                  <c:v>-9.1843128000000003E-3</c:v>
                </c:pt>
                <c:pt idx="3712">
                  <c:v>-9.1514019999999995E-3</c:v>
                </c:pt>
                <c:pt idx="3713">
                  <c:v>-9.1193856E-3</c:v>
                </c:pt>
                <c:pt idx="3714">
                  <c:v>-9.0866885000000005E-3</c:v>
                </c:pt>
                <c:pt idx="3715">
                  <c:v>-9.0546323000000005E-3</c:v>
                </c:pt>
                <c:pt idx="3716">
                  <c:v>-9.0218033000000006E-3</c:v>
                </c:pt>
                <c:pt idx="3717">
                  <c:v>-8.9913010000000002E-3</c:v>
                </c:pt>
                <c:pt idx="3718">
                  <c:v>-8.9585477999999993E-3</c:v>
                </c:pt>
                <c:pt idx="3719">
                  <c:v>-8.9259267999999992E-3</c:v>
                </c:pt>
                <c:pt idx="3720">
                  <c:v>-8.8945647999999992E-3</c:v>
                </c:pt>
                <c:pt idx="3721">
                  <c:v>-8.8624003999999996E-3</c:v>
                </c:pt>
                <c:pt idx="3722">
                  <c:v>-8.8296159000000006E-3</c:v>
                </c:pt>
                <c:pt idx="3723">
                  <c:v>-8.7990227000000008E-3</c:v>
                </c:pt>
                <c:pt idx="3724">
                  <c:v>-8.766823E-3</c:v>
                </c:pt>
                <c:pt idx="3725">
                  <c:v>-8.7348918999999997E-3</c:v>
                </c:pt>
                <c:pt idx="3726">
                  <c:v>-8.7030679E-3</c:v>
                </c:pt>
                <c:pt idx="3727">
                  <c:v>-8.6719098000000005E-3</c:v>
                </c:pt>
                <c:pt idx="3728">
                  <c:v>-8.6405583999999997E-3</c:v>
                </c:pt>
                <c:pt idx="3729">
                  <c:v>-8.6086745999999995E-3</c:v>
                </c:pt>
                <c:pt idx="3730">
                  <c:v>-8.5775832000000007E-3</c:v>
                </c:pt>
                <c:pt idx="3731">
                  <c:v>-8.5463164999999997E-3</c:v>
                </c:pt>
                <c:pt idx="3732">
                  <c:v>-8.5146992999999994E-3</c:v>
                </c:pt>
                <c:pt idx="3733">
                  <c:v>-8.4837229000000007E-3</c:v>
                </c:pt>
                <c:pt idx="3734">
                  <c:v>-8.4521108000000008E-3</c:v>
                </c:pt>
                <c:pt idx="3735">
                  <c:v>-8.4208636999999996E-3</c:v>
                </c:pt>
                <c:pt idx="3736">
                  <c:v>-8.3896723999999992E-3</c:v>
                </c:pt>
                <c:pt idx="3737">
                  <c:v>-8.3594910999999997E-3</c:v>
                </c:pt>
                <c:pt idx="3738">
                  <c:v>-8.3280291000000003E-3</c:v>
                </c:pt>
                <c:pt idx="3739">
                  <c:v>-8.2968920000000002E-3</c:v>
                </c:pt>
                <c:pt idx="3740">
                  <c:v>-8.2667352E-3</c:v>
                </c:pt>
                <c:pt idx="3741">
                  <c:v>-8.2361515000000003E-3</c:v>
                </c:pt>
                <c:pt idx="3742">
                  <c:v>-8.2042452999999994E-3</c:v>
                </c:pt>
                <c:pt idx="3743">
                  <c:v>-8.1737918999999996E-3</c:v>
                </c:pt>
                <c:pt idx="3744">
                  <c:v>-8.1435507000000001E-3</c:v>
                </c:pt>
                <c:pt idx="3745">
                  <c:v>-8.1130264000000007E-3</c:v>
                </c:pt>
                <c:pt idx="3746">
                  <c:v>-8.0825160999999993E-3</c:v>
                </c:pt>
                <c:pt idx="3747">
                  <c:v>-8.0521123000000007E-3</c:v>
                </c:pt>
                <c:pt idx="3748">
                  <c:v>-8.0210057000000001E-3</c:v>
                </c:pt>
                <c:pt idx="3749">
                  <c:v>-7.9908397999999999E-3</c:v>
                </c:pt>
                <c:pt idx="3750">
                  <c:v>-7.9614023999999995E-3</c:v>
                </c:pt>
                <c:pt idx="3751">
                  <c:v>-7.9313708000000004E-3</c:v>
                </c:pt>
                <c:pt idx="3752">
                  <c:v>-7.9005058000000006E-3</c:v>
                </c:pt>
                <c:pt idx="3753">
                  <c:v>-7.8698598000000002E-3</c:v>
                </c:pt>
                <c:pt idx="3754">
                  <c:v>-7.8403268999999998E-3</c:v>
                </c:pt>
                <c:pt idx="3755">
                  <c:v>-7.8108474999999998E-3</c:v>
                </c:pt>
                <c:pt idx="3756">
                  <c:v>-7.7803159999999998E-3</c:v>
                </c:pt>
                <c:pt idx="3757">
                  <c:v>-7.7512357999999998E-3</c:v>
                </c:pt>
                <c:pt idx="3758">
                  <c:v>-7.7210836999999999E-3</c:v>
                </c:pt>
                <c:pt idx="3759">
                  <c:v>-7.6899969E-3</c:v>
                </c:pt>
                <c:pt idx="3760">
                  <c:v>-7.6613406999999998E-3</c:v>
                </c:pt>
                <c:pt idx="3761">
                  <c:v>-7.6325997000000001E-3</c:v>
                </c:pt>
                <c:pt idx="3762">
                  <c:v>-7.6019898999999998E-3</c:v>
                </c:pt>
                <c:pt idx="3763">
                  <c:v>-7.5720980000000002E-3</c:v>
                </c:pt>
                <c:pt idx="3764">
                  <c:v>-7.5426323000000002E-3</c:v>
                </c:pt>
                <c:pt idx="3765">
                  <c:v>-7.5143032E-3</c:v>
                </c:pt>
                <c:pt idx="3766">
                  <c:v>-7.4846195000000003E-3</c:v>
                </c:pt>
                <c:pt idx="3767">
                  <c:v>-7.4539474E-3</c:v>
                </c:pt>
                <c:pt idx="3768">
                  <c:v>-7.4254893999999997E-3</c:v>
                </c:pt>
                <c:pt idx="3769">
                  <c:v>-7.3969635999999997E-3</c:v>
                </c:pt>
                <c:pt idx="3770">
                  <c:v>-7.3677014999999997E-3</c:v>
                </c:pt>
                <c:pt idx="3771">
                  <c:v>-7.3380655000000001E-3</c:v>
                </c:pt>
                <c:pt idx="3772">
                  <c:v>-7.3094613000000003E-3</c:v>
                </c:pt>
                <c:pt idx="3773">
                  <c:v>-7.2800877E-3</c:v>
                </c:pt>
                <c:pt idx="3774">
                  <c:v>-7.2508197999999998E-3</c:v>
                </c:pt>
                <c:pt idx="3775">
                  <c:v>-7.2221643000000002E-3</c:v>
                </c:pt>
                <c:pt idx="3776">
                  <c:v>-7.1935135000000001E-3</c:v>
                </c:pt>
                <c:pt idx="3777">
                  <c:v>-7.1656267000000003E-3</c:v>
                </c:pt>
                <c:pt idx="3778">
                  <c:v>-7.1357922999999998E-3</c:v>
                </c:pt>
                <c:pt idx="3779">
                  <c:v>-7.1081440000000003E-3</c:v>
                </c:pt>
                <c:pt idx="3780">
                  <c:v>-7.0789401000000002E-3</c:v>
                </c:pt>
                <c:pt idx="3781">
                  <c:v>-7.0510204E-3</c:v>
                </c:pt>
                <c:pt idx="3782">
                  <c:v>-7.0221659000000002E-3</c:v>
                </c:pt>
                <c:pt idx="3783">
                  <c:v>-6.9934168E-3</c:v>
                </c:pt>
                <c:pt idx="3784">
                  <c:v>-6.9646726999999997E-3</c:v>
                </c:pt>
                <c:pt idx="3785">
                  <c:v>-6.9372538000000003E-3</c:v>
                </c:pt>
                <c:pt idx="3786">
                  <c:v>-6.9093786000000001E-3</c:v>
                </c:pt>
                <c:pt idx="3787">
                  <c:v>-6.8809921999999999E-3</c:v>
                </c:pt>
                <c:pt idx="3788">
                  <c:v>-6.8518056999999997E-3</c:v>
                </c:pt>
                <c:pt idx="3789">
                  <c:v>-6.8248598000000002E-3</c:v>
                </c:pt>
                <c:pt idx="3790">
                  <c:v>-6.7959114999999997E-3</c:v>
                </c:pt>
                <c:pt idx="3791">
                  <c:v>-6.7685182999999999E-3</c:v>
                </c:pt>
                <c:pt idx="3792">
                  <c:v>-6.7408444999999999E-3</c:v>
                </c:pt>
                <c:pt idx="3793">
                  <c:v>-6.7122637999999998E-3</c:v>
                </c:pt>
                <c:pt idx="3794">
                  <c:v>-6.6850848000000003E-3</c:v>
                </c:pt>
                <c:pt idx="3795">
                  <c:v>-6.6572740000000004E-3</c:v>
                </c:pt>
                <c:pt idx="3796">
                  <c:v>-6.6297368000000001E-3</c:v>
                </c:pt>
                <c:pt idx="3797">
                  <c:v>-6.6021344000000001E-3</c:v>
                </c:pt>
                <c:pt idx="3798">
                  <c:v>-6.5745179000000001E-3</c:v>
                </c:pt>
                <c:pt idx="3799">
                  <c:v>-6.5477401999999999E-3</c:v>
                </c:pt>
                <c:pt idx="3800">
                  <c:v>-6.5199995999999996E-3</c:v>
                </c:pt>
                <c:pt idx="3801">
                  <c:v>-6.4925783999999999E-3</c:v>
                </c:pt>
                <c:pt idx="3802">
                  <c:v>-6.4640341E-3</c:v>
                </c:pt>
                <c:pt idx="3803">
                  <c:v>-6.4379635999999999E-3</c:v>
                </c:pt>
                <c:pt idx="3804">
                  <c:v>-6.4102954999999996E-3</c:v>
                </c:pt>
                <c:pt idx="3805">
                  <c:v>-6.3836633999999996E-3</c:v>
                </c:pt>
                <c:pt idx="3806">
                  <c:v>-6.3562803000000003E-3</c:v>
                </c:pt>
                <c:pt idx="3807">
                  <c:v>-6.3288735000000002E-3</c:v>
                </c:pt>
                <c:pt idx="3808">
                  <c:v>-6.3024012999999997E-3</c:v>
                </c:pt>
                <c:pt idx="3809">
                  <c:v>-6.2752859000000001E-3</c:v>
                </c:pt>
                <c:pt idx="3810">
                  <c:v>-6.2482177000000002E-3</c:v>
                </c:pt>
                <c:pt idx="3811">
                  <c:v>-6.2220397000000002E-3</c:v>
                </c:pt>
                <c:pt idx="3812">
                  <c:v>-6.1942865E-3</c:v>
                </c:pt>
                <c:pt idx="3813">
                  <c:v>-6.1676140999999997E-3</c:v>
                </c:pt>
                <c:pt idx="3814">
                  <c:v>-6.1417683000000002E-3</c:v>
                </c:pt>
                <c:pt idx="3815">
                  <c:v>-6.1148262000000004E-3</c:v>
                </c:pt>
                <c:pt idx="3816">
                  <c:v>-6.0882148000000001E-3</c:v>
                </c:pt>
                <c:pt idx="3817">
                  <c:v>-6.0620826999999997E-3</c:v>
                </c:pt>
                <c:pt idx="3818">
                  <c:v>-6.0349447000000002E-3</c:v>
                </c:pt>
                <c:pt idx="3819">
                  <c:v>-6.0092260000000003E-3</c:v>
                </c:pt>
                <c:pt idx="3820">
                  <c:v>-5.9828854000000004E-3</c:v>
                </c:pt>
                <c:pt idx="3821">
                  <c:v>-5.956823E-3</c:v>
                </c:pt>
                <c:pt idx="3822">
                  <c:v>-5.9307175E-3</c:v>
                </c:pt>
                <c:pt idx="3823">
                  <c:v>-5.9043441000000002E-3</c:v>
                </c:pt>
                <c:pt idx="3824">
                  <c:v>-5.8781084000000001E-3</c:v>
                </c:pt>
                <c:pt idx="3825">
                  <c:v>-5.8523695000000002E-3</c:v>
                </c:pt>
                <c:pt idx="3826">
                  <c:v>-5.8263587999999996E-3</c:v>
                </c:pt>
                <c:pt idx="3827">
                  <c:v>-5.7998169999999996E-3</c:v>
                </c:pt>
                <c:pt idx="3828">
                  <c:v>-5.7741993000000004E-3</c:v>
                </c:pt>
                <c:pt idx="3829">
                  <c:v>-5.7484247999999996E-3</c:v>
                </c:pt>
                <c:pt idx="3830">
                  <c:v>-5.7224703E-3</c:v>
                </c:pt>
                <c:pt idx="3831">
                  <c:v>-5.6974926000000004E-3</c:v>
                </c:pt>
                <c:pt idx="3832">
                  <c:v>-5.6710757999999997E-3</c:v>
                </c:pt>
                <c:pt idx="3833">
                  <c:v>-5.6465454000000003E-3</c:v>
                </c:pt>
                <c:pt idx="3834">
                  <c:v>-5.6203323000000001E-3</c:v>
                </c:pt>
                <c:pt idx="3835">
                  <c:v>-5.5958542E-3</c:v>
                </c:pt>
                <c:pt idx="3836">
                  <c:v>-5.5701374000000003E-3</c:v>
                </c:pt>
                <c:pt idx="3837">
                  <c:v>-5.5443204000000003E-3</c:v>
                </c:pt>
                <c:pt idx="3838">
                  <c:v>-5.5181561000000002E-3</c:v>
                </c:pt>
                <c:pt idx="3839">
                  <c:v>-5.4941761000000004E-3</c:v>
                </c:pt>
                <c:pt idx="3840">
                  <c:v>-5.4694477999999999E-3</c:v>
                </c:pt>
                <c:pt idx="3841">
                  <c:v>-5.4435648999999996E-3</c:v>
                </c:pt>
                <c:pt idx="3842">
                  <c:v>-5.4190148999999996E-3</c:v>
                </c:pt>
                <c:pt idx="3843">
                  <c:v>-5.3940066999999996E-3</c:v>
                </c:pt>
                <c:pt idx="3844">
                  <c:v>-5.3690839000000001E-3</c:v>
                </c:pt>
                <c:pt idx="3845">
                  <c:v>-5.3438996000000002E-3</c:v>
                </c:pt>
                <c:pt idx="3846">
                  <c:v>-5.3186756999999999E-3</c:v>
                </c:pt>
                <c:pt idx="3847">
                  <c:v>-5.2946937000000003E-3</c:v>
                </c:pt>
                <c:pt idx="3848">
                  <c:v>-5.270762E-3</c:v>
                </c:pt>
                <c:pt idx="3849">
                  <c:v>-5.2450042999999998E-3</c:v>
                </c:pt>
                <c:pt idx="3850">
                  <c:v>-5.2207816999999997E-3</c:v>
                </c:pt>
                <c:pt idx="3851">
                  <c:v>-5.1958339000000003E-3</c:v>
                </c:pt>
                <c:pt idx="3852">
                  <c:v>-5.1713402E-3</c:v>
                </c:pt>
                <c:pt idx="3853">
                  <c:v>-5.1469797000000001E-3</c:v>
                </c:pt>
                <c:pt idx="3854">
                  <c:v>-5.1223874000000001E-3</c:v>
                </c:pt>
                <c:pt idx="3855">
                  <c:v>-5.0988238E-3</c:v>
                </c:pt>
                <c:pt idx="3856">
                  <c:v>-5.0748570000000003E-3</c:v>
                </c:pt>
                <c:pt idx="3857">
                  <c:v>-5.0500578000000004E-3</c:v>
                </c:pt>
                <c:pt idx="3858">
                  <c:v>-5.0252578000000003E-3</c:v>
                </c:pt>
                <c:pt idx="3859">
                  <c:v>-5.0017802E-3</c:v>
                </c:pt>
                <c:pt idx="3860">
                  <c:v>-4.9778076999999997E-3</c:v>
                </c:pt>
                <c:pt idx="3861">
                  <c:v>-4.9534249000000004E-3</c:v>
                </c:pt>
                <c:pt idx="3862">
                  <c:v>-4.9292440000000002E-3</c:v>
                </c:pt>
                <c:pt idx="3863">
                  <c:v>-4.9061892999999997E-3</c:v>
                </c:pt>
                <c:pt idx="3864">
                  <c:v>-4.8827000999999998E-3</c:v>
                </c:pt>
                <c:pt idx="3865">
                  <c:v>-4.8588225999999998E-3</c:v>
                </c:pt>
                <c:pt idx="3866">
                  <c:v>-4.8362125999999997E-3</c:v>
                </c:pt>
                <c:pt idx="3867">
                  <c:v>-4.8114992000000004E-3</c:v>
                </c:pt>
                <c:pt idx="3868">
                  <c:v>-4.7880774000000001E-3</c:v>
                </c:pt>
                <c:pt idx="3869">
                  <c:v>-4.7646948000000001E-3</c:v>
                </c:pt>
                <c:pt idx="3870">
                  <c:v>-4.7403860000000001E-3</c:v>
                </c:pt>
                <c:pt idx="3871">
                  <c:v>-4.7167763999999999E-3</c:v>
                </c:pt>
                <c:pt idx="3872">
                  <c:v>-4.6937955999999999E-3</c:v>
                </c:pt>
                <c:pt idx="3873">
                  <c:v>-4.6704134000000001E-3</c:v>
                </c:pt>
                <c:pt idx="3874">
                  <c:v>-4.6476271999999997E-3</c:v>
                </c:pt>
                <c:pt idx="3875">
                  <c:v>-4.6245686000000001E-3</c:v>
                </c:pt>
                <c:pt idx="3876">
                  <c:v>-4.6020458999999998E-3</c:v>
                </c:pt>
                <c:pt idx="3877">
                  <c:v>-4.5781453999999997E-3</c:v>
                </c:pt>
                <c:pt idx="3878">
                  <c:v>-4.5553829999999997E-3</c:v>
                </c:pt>
                <c:pt idx="3879">
                  <c:v>-4.5327750000000002E-3</c:v>
                </c:pt>
                <c:pt idx="3880">
                  <c:v>-4.5091760000000002E-3</c:v>
                </c:pt>
                <c:pt idx="3881">
                  <c:v>-4.4868238999999999E-3</c:v>
                </c:pt>
                <c:pt idx="3882">
                  <c:v>-4.4645555E-3</c:v>
                </c:pt>
                <c:pt idx="3883">
                  <c:v>-4.4408403999999999E-3</c:v>
                </c:pt>
                <c:pt idx="3884">
                  <c:v>-4.418852E-3</c:v>
                </c:pt>
                <c:pt idx="3885">
                  <c:v>-4.3959309E-3</c:v>
                </c:pt>
                <c:pt idx="3886">
                  <c:v>-4.3731083999999998E-3</c:v>
                </c:pt>
                <c:pt idx="3887">
                  <c:v>-4.3509578000000002E-3</c:v>
                </c:pt>
                <c:pt idx="3888">
                  <c:v>-4.3284437000000002E-3</c:v>
                </c:pt>
                <c:pt idx="3889">
                  <c:v>-4.3065363999999998E-3</c:v>
                </c:pt>
                <c:pt idx="3890">
                  <c:v>-4.2842658999999996E-3</c:v>
                </c:pt>
                <c:pt idx="3891">
                  <c:v>-4.2610468000000004E-3</c:v>
                </c:pt>
                <c:pt idx="3892">
                  <c:v>-4.2400407000000003E-3</c:v>
                </c:pt>
                <c:pt idx="3893">
                  <c:v>-4.2170202000000002E-3</c:v>
                </c:pt>
                <c:pt idx="3894">
                  <c:v>-4.1947644000000003E-3</c:v>
                </c:pt>
                <c:pt idx="3895">
                  <c:v>-4.1741421999999997E-3</c:v>
                </c:pt>
                <c:pt idx="3896">
                  <c:v>-4.1520919999999996E-3</c:v>
                </c:pt>
                <c:pt idx="3897">
                  <c:v>-4.1301489E-3</c:v>
                </c:pt>
                <c:pt idx="3898">
                  <c:v>-4.1077898E-3</c:v>
                </c:pt>
                <c:pt idx="3899">
                  <c:v>-4.0866254999999997E-3</c:v>
                </c:pt>
                <c:pt idx="3900">
                  <c:v>-4.0640707000000002E-3</c:v>
                </c:pt>
                <c:pt idx="3901">
                  <c:v>-4.0426027E-3</c:v>
                </c:pt>
                <c:pt idx="3902">
                  <c:v>-4.0213067000000003E-3</c:v>
                </c:pt>
                <c:pt idx="3903">
                  <c:v>-3.9996271E-3</c:v>
                </c:pt>
                <c:pt idx="3904">
                  <c:v>-3.9780518000000001E-3</c:v>
                </c:pt>
                <c:pt idx="3905">
                  <c:v>-3.9565733999999998E-3</c:v>
                </c:pt>
                <c:pt idx="3906">
                  <c:v>-3.9347174E-3</c:v>
                </c:pt>
                <c:pt idx="3907">
                  <c:v>-3.9140377999999998E-3</c:v>
                </c:pt>
                <c:pt idx="3908">
                  <c:v>-3.8930082E-3</c:v>
                </c:pt>
                <c:pt idx="3909">
                  <c:v>-3.8721088999999998E-3</c:v>
                </c:pt>
                <c:pt idx="3910">
                  <c:v>-3.8501828E-3</c:v>
                </c:pt>
                <c:pt idx="3911">
                  <c:v>-3.8294942999999998E-3</c:v>
                </c:pt>
                <c:pt idx="3912">
                  <c:v>-3.8084422000000001E-3</c:v>
                </c:pt>
                <c:pt idx="3913">
                  <c:v>-3.7875097999999999E-3</c:v>
                </c:pt>
                <c:pt idx="3914">
                  <c:v>-3.7666794999999999E-3</c:v>
                </c:pt>
                <c:pt idx="3915">
                  <c:v>-3.7454767E-3</c:v>
                </c:pt>
                <c:pt idx="3916">
                  <c:v>-3.7249189000000001E-3</c:v>
                </c:pt>
                <c:pt idx="3917">
                  <c:v>-3.7044537000000002E-3</c:v>
                </c:pt>
                <c:pt idx="3918">
                  <c:v>-3.6825959000000002E-3</c:v>
                </c:pt>
                <c:pt idx="3919">
                  <c:v>-3.6623977999999998E-3</c:v>
                </c:pt>
                <c:pt idx="3920">
                  <c:v>-3.6428646999999998E-3</c:v>
                </c:pt>
                <c:pt idx="3921">
                  <c:v>-3.6213167000000001E-3</c:v>
                </c:pt>
                <c:pt idx="3922">
                  <c:v>-3.6005051E-3</c:v>
                </c:pt>
                <c:pt idx="3923">
                  <c:v>-3.5807904000000001E-3</c:v>
                </c:pt>
                <c:pt idx="3924">
                  <c:v>-3.5607366999999999E-3</c:v>
                </c:pt>
                <c:pt idx="3925">
                  <c:v>-3.5397775000000002E-3</c:v>
                </c:pt>
                <c:pt idx="3926">
                  <c:v>-3.5199528000000001E-3</c:v>
                </c:pt>
                <c:pt idx="3927">
                  <c:v>-3.5002831999999999E-3</c:v>
                </c:pt>
                <c:pt idx="3928">
                  <c:v>-3.4802143999999998E-3</c:v>
                </c:pt>
                <c:pt idx="3929">
                  <c:v>-3.4591639999999998E-3</c:v>
                </c:pt>
                <c:pt idx="3930">
                  <c:v>-3.4394291E-3</c:v>
                </c:pt>
                <c:pt idx="3931">
                  <c:v>-3.4196343000000001E-3</c:v>
                </c:pt>
                <c:pt idx="3932">
                  <c:v>-3.3995941000000002E-3</c:v>
                </c:pt>
                <c:pt idx="3933">
                  <c:v>-3.3796219000000001E-3</c:v>
                </c:pt>
                <c:pt idx="3934">
                  <c:v>-3.3598437999999998E-3</c:v>
                </c:pt>
                <c:pt idx="3935">
                  <c:v>-3.3400331000000001E-3</c:v>
                </c:pt>
                <c:pt idx="3936">
                  <c:v>-3.3205105999999998E-3</c:v>
                </c:pt>
                <c:pt idx="3937">
                  <c:v>-3.3005568999999999E-3</c:v>
                </c:pt>
                <c:pt idx="3938">
                  <c:v>-3.2807222999999999E-3</c:v>
                </c:pt>
                <c:pt idx="3939">
                  <c:v>-3.2620979000000001E-3</c:v>
                </c:pt>
                <c:pt idx="3940">
                  <c:v>-3.2424505999999998E-3</c:v>
                </c:pt>
                <c:pt idx="3941">
                  <c:v>-3.2229747000000002E-3</c:v>
                </c:pt>
                <c:pt idx="3942">
                  <c:v>-3.2036745999999999E-3</c:v>
                </c:pt>
                <c:pt idx="3943">
                  <c:v>-3.1849767000000002E-3</c:v>
                </c:pt>
                <c:pt idx="3944">
                  <c:v>-3.1654118999999998E-3</c:v>
                </c:pt>
                <c:pt idx="3945">
                  <c:v>-3.1463998000000001E-3</c:v>
                </c:pt>
                <c:pt idx="3946">
                  <c:v>-3.1267600000000001E-3</c:v>
                </c:pt>
                <c:pt idx="3947">
                  <c:v>-3.1084339000000002E-3</c:v>
                </c:pt>
                <c:pt idx="3948">
                  <c:v>-3.0889874999999998E-3</c:v>
                </c:pt>
                <c:pt idx="3949">
                  <c:v>-3.0710535E-3</c:v>
                </c:pt>
                <c:pt idx="3950">
                  <c:v>-3.0521609999999998E-3</c:v>
                </c:pt>
                <c:pt idx="3951">
                  <c:v>-3.0331065E-3</c:v>
                </c:pt>
                <c:pt idx="3952">
                  <c:v>-3.0139183000000001E-3</c:v>
                </c:pt>
                <c:pt idx="3953">
                  <c:v>-2.9955860000000002E-3</c:v>
                </c:pt>
                <c:pt idx="3954">
                  <c:v>-2.9766513E-3</c:v>
                </c:pt>
                <c:pt idx="3955">
                  <c:v>-2.9586181000000001E-3</c:v>
                </c:pt>
                <c:pt idx="3956">
                  <c:v>-2.9400768000000001E-3</c:v>
                </c:pt>
                <c:pt idx="3957">
                  <c:v>-2.9211244999999999E-3</c:v>
                </c:pt>
                <c:pt idx="3958">
                  <c:v>-2.9033358000000002E-3</c:v>
                </c:pt>
                <c:pt idx="3959">
                  <c:v>-2.8840723999999998E-3</c:v>
                </c:pt>
                <c:pt idx="3960">
                  <c:v>-2.8667618000000001E-3</c:v>
                </c:pt>
                <c:pt idx="3961">
                  <c:v>-2.8477199000000002E-3</c:v>
                </c:pt>
                <c:pt idx="3962">
                  <c:v>-2.8298708999999998E-3</c:v>
                </c:pt>
                <c:pt idx="3963">
                  <c:v>-2.8117618000000001E-3</c:v>
                </c:pt>
                <c:pt idx="3964">
                  <c:v>-2.7937124E-3</c:v>
                </c:pt>
                <c:pt idx="3965">
                  <c:v>-2.7758156999999999E-3</c:v>
                </c:pt>
                <c:pt idx="3966">
                  <c:v>-2.7581496999999999E-3</c:v>
                </c:pt>
                <c:pt idx="3967">
                  <c:v>-2.7400092999999999E-3</c:v>
                </c:pt>
                <c:pt idx="3968">
                  <c:v>-2.7214083999999999E-3</c:v>
                </c:pt>
                <c:pt idx="3969">
                  <c:v>-2.7039494999999999E-3</c:v>
                </c:pt>
                <c:pt idx="3970">
                  <c:v>-2.6868135999999999E-3</c:v>
                </c:pt>
                <c:pt idx="3971">
                  <c:v>-2.6695371000000001E-3</c:v>
                </c:pt>
                <c:pt idx="3972">
                  <c:v>-2.6515914000000002E-3</c:v>
                </c:pt>
                <c:pt idx="3973">
                  <c:v>-2.6332091000000001E-3</c:v>
                </c:pt>
                <c:pt idx="3974">
                  <c:v>-2.6159536000000001E-3</c:v>
                </c:pt>
                <c:pt idx="3975">
                  <c:v>-2.5984625999999999E-3</c:v>
                </c:pt>
                <c:pt idx="3976">
                  <c:v>-2.5819623999999998E-3</c:v>
                </c:pt>
                <c:pt idx="3977">
                  <c:v>-2.5644495000000001E-3</c:v>
                </c:pt>
                <c:pt idx="3978">
                  <c:v>-2.5479173999999999E-3</c:v>
                </c:pt>
                <c:pt idx="3979">
                  <c:v>-2.529735E-3</c:v>
                </c:pt>
                <c:pt idx="3980">
                  <c:v>-2.5126735000000002E-3</c:v>
                </c:pt>
                <c:pt idx="3981">
                  <c:v>-2.4950384999999999E-3</c:v>
                </c:pt>
                <c:pt idx="3982">
                  <c:v>-2.4787289999999998E-3</c:v>
                </c:pt>
                <c:pt idx="3983">
                  <c:v>-2.4616244000000001E-3</c:v>
                </c:pt>
                <c:pt idx="3984">
                  <c:v>-2.4451401000000002E-3</c:v>
                </c:pt>
                <c:pt idx="3985">
                  <c:v>-2.4284505000000001E-3</c:v>
                </c:pt>
                <c:pt idx="3986">
                  <c:v>-2.4111534999999998E-3</c:v>
                </c:pt>
                <c:pt idx="3987">
                  <c:v>-2.3939158000000002E-3</c:v>
                </c:pt>
                <c:pt idx="3988">
                  <c:v>-2.3780938999999998E-3</c:v>
                </c:pt>
                <c:pt idx="3989">
                  <c:v>-2.3612540000000001E-3</c:v>
                </c:pt>
                <c:pt idx="3990">
                  <c:v>-2.3447084000000002E-3</c:v>
                </c:pt>
                <c:pt idx="3991">
                  <c:v>-2.3281239E-3</c:v>
                </c:pt>
                <c:pt idx="3992">
                  <c:v>-2.3115846E-3</c:v>
                </c:pt>
                <c:pt idx="3993">
                  <c:v>-2.2958220999999999E-3</c:v>
                </c:pt>
                <c:pt idx="3994">
                  <c:v>-2.2792951999999998E-3</c:v>
                </c:pt>
                <c:pt idx="3995">
                  <c:v>-2.2626486000000001E-3</c:v>
                </c:pt>
                <c:pt idx="3996">
                  <c:v>-2.2461169000000001E-3</c:v>
                </c:pt>
                <c:pt idx="3997">
                  <c:v>-2.2315286000000002E-3</c:v>
                </c:pt>
                <c:pt idx="3998">
                  <c:v>-2.2143534999999998E-3</c:v>
                </c:pt>
                <c:pt idx="3999">
                  <c:v>-2.1983596999999998E-3</c:v>
                </c:pt>
                <c:pt idx="4000">
                  <c:v>-2.1817627000000001E-3</c:v>
                </c:pt>
                <c:pt idx="4001">
                  <c:v>-2.1662985999999999E-3</c:v>
                </c:pt>
                <c:pt idx="4002">
                  <c:v>-2.1515915000000002E-3</c:v>
                </c:pt>
                <c:pt idx="4003">
                  <c:v>-2.1350382000000002E-3</c:v>
                </c:pt>
                <c:pt idx="4004">
                  <c:v>-2.1196943999999998E-3</c:v>
                </c:pt>
                <c:pt idx="4005">
                  <c:v>-2.1024012999999999E-3</c:v>
                </c:pt>
                <c:pt idx="4006">
                  <c:v>-2.0873857E-3</c:v>
                </c:pt>
                <c:pt idx="4007">
                  <c:v>-2.0724795000000001E-3</c:v>
                </c:pt>
                <c:pt idx="4008">
                  <c:v>-2.0571485000000001E-3</c:v>
                </c:pt>
                <c:pt idx="4009">
                  <c:v>-2.0408589999999999E-3</c:v>
                </c:pt>
                <c:pt idx="4010">
                  <c:v>-2.0263526000000001E-3</c:v>
                </c:pt>
                <c:pt idx="4011">
                  <c:v>-2.0113828000000002E-3</c:v>
                </c:pt>
                <c:pt idx="4012">
                  <c:v>-1.9951458000000001E-3</c:v>
                </c:pt>
                <c:pt idx="4013">
                  <c:v>-1.9804292000000002E-3</c:v>
                </c:pt>
                <c:pt idx="4014">
                  <c:v>-1.9652457999999999E-3</c:v>
                </c:pt>
                <c:pt idx="4015">
                  <c:v>-1.9495338000000001E-3</c:v>
                </c:pt>
                <c:pt idx="4016">
                  <c:v>-1.9351736000000001E-3</c:v>
                </c:pt>
                <c:pt idx="4017">
                  <c:v>-1.920045E-3</c:v>
                </c:pt>
                <c:pt idx="4018">
                  <c:v>-1.9054390999999999E-3</c:v>
                </c:pt>
                <c:pt idx="4019">
                  <c:v>-1.8901924000000001E-3</c:v>
                </c:pt>
                <c:pt idx="4020">
                  <c:v>-1.8747716999999999E-3</c:v>
                </c:pt>
                <c:pt idx="4021">
                  <c:v>-1.8600462E-3</c:v>
                </c:pt>
                <c:pt idx="4022">
                  <c:v>-1.8458076999999999E-3</c:v>
                </c:pt>
                <c:pt idx="4023">
                  <c:v>-1.8314379999999999E-3</c:v>
                </c:pt>
                <c:pt idx="4024">
                  <c:v>-1.8165948E-3</c:v>
                </c:pt>
                <c:pt idx="4025">
                  <c:v>-1.802447E-3</c:v>
                </c:pt>
                <c:pt idx="4026">
                  <c:v>-1.7873876999999999E-3</c:v>
                </c:pt>
                <c:pt idx="4027">
                  <c:v>-1.7727718999999999E-3</c:v>
                </c:pt>
                <c:pt idx="4028">
                  <c:v>-1.7586124E-3</c:v>
                </c:pt>
                <c:pt idx="4029">
                  <c:v>-1.7449671999999999E-3</c:v>
                </c:pt>
                <c:pt idx="4030">
                  <c:v>-1.7304881999999999E-3</c:v>
                </c:pt>
                <c:pt idx="4031">
                  <c:v>-1.7160264E-3</c:v>
                </c:pt>
                <c:pt idx="4032">
                  <c:v>-1.7021605E-3</c:v>
                </c:pt>
                <c:pt idx="4033">
                  <c:v>-1.6891682999999999E-3</c:v>
                </c:pt>
                <c:pt idx="4034">
                  <c:v>-1.6742037E-3</c:v>
                </c:pt>
                <c:pt idx="4035">
                  <c:v>-1.6597487E-3</c:v>
                </c:pt>
                <c:pt idx="4036">
                  <c:v>-1.6465598E-3</c:v>
                </c:pt>
                <c:pt idx="4037">
                  <c:v>-1.6321971E-3</c:v>
                </c:pt>
                <c:pt idx="4038">
                  <c:v>-1.619183E-3</c:v>
                </c:pt>
                <c:pt idx="4039">
                  <c:v>-1.6049987999999999E-3</c:v>
                </c:pt>
                <c:pt idx="4040">
                  <c:v>-1.5919689999999999E-3</c:v>
                </c:pt>
                <c:pt idx="4041">
                  <c:v>-1.5779609000000001E-3</c:v>
                </c:pt>
                <c:pt idx="4042">
                  <c:v>-1.5640383999999999E-3</c:v>
                </c:pt>
                <c:pt idx="4043">
                  <c:v>-1.5504386999999999E-3</c:v>
                </c:pt>
                <c:pt idx="4044">
                  <c:v>-1.5367669E-3</c:v>
                </c:pt>
                <c:pt idx="4045">
                  <c:v>-1.5242852000000001E-3</c:v>
                </c:pt>
                <c:pt idx="4046">
                  <c:v>-1.5109811E-3</c:v>
                </c:pt>
                <c:pt idx="4047">
                  <c:v>-1.4977108E-3</c:v>
                </c:pt>
                <c:pt idx="4048">
                  <c:v>-1.4850344E-3</c:v>
                </c:pt>
                <c:pt idx="4049">
                  <c:v>-1.4709987999999999E-3</c:v>
                </c:pt>
                <c:pt idx="4050">
                  <c:v>-1.4577806999999999E-3</c:v>
                </c:pt>
                <c:pt idx="4051">
                  <c:v>-1.4455542E-3</c:v>
                </c:pt>
                <c:pt idx="4052">
                  <c:v>-1.4313974E-3</c:v>
                </c:pt>
                <c:pt idx="4053">
                  <c:v>-1.4192197E-3</c:v>
                </c:pt>
                <c:pt idx="4054">
                  <c:v>-1.4070275999999999E-3</c:v>
                </c:pt>
                <c:pt idx="4055">
                  <c:v>-1.3939422000000001E-3</c:v>
                </c:pt>
                <c:pt idx="4056">
                  <c:v>-1.3812725E-3</c:v>
                </c:pt>
                <c:pt idx="4057">
                  <c:v>-1.3677029E-3</c:v>
                </c:pt>
                <c:pt idx="4058">
                  <c:v>-1.3553606000000001E-3</c:v>
                </c:pt>
                <c:pt idx="4059">
                  <c:v>-1.3429321000000001E-3</c:v>
                </c:pt>
                <c:pt idx="4060">
                  <c:v>-1.3313318999999999E-3</c:v>
                </c:pt>
                <c:pt idx="4061">
                  <c:v>-1.3184519000000001E-3</c:v>
                </c:pt>
                <c:pt idx="4062">
                  <c:v>-1.3052045000000001E-3</c:v>
                </c:pt>
                <c:pt idx="4063">
                  <c:v>-1.2936942E-3</c:v>
                </c:pt>
                <c:pt idx="4064">
                  <c:v>-1.2811898999999999E-3</c:v>
                </c:pt>
                <c:pt idx="4065">
                  <c:v>-1.2689659E-3</c:v>
                </c:pt>
                <c:pt idx="4066">
                  <c:v>-1.2568423999999999E-3</c:v>
                </c:pt>
                <c:pt idx="4067">
                  <c:v>-1.24471E-3</c:v>
                </c:pt>
                <c:pt idx="4068">
                  <c:v>-1.2328581999999999E-3</c:v>
                </c:pt>
                <c:pt idx="4069">
                  <c:v>-1.2211870000000001E-3</c:v>
                </c:pt>
                <c:pt idx="4070">
                  <c:v>-1.2086328999999999E-3</c:v>
                </c:pt>
                <c:pt idx="4071">
                  <c:v>-1.1967977999999999E-3</c:v>
                </c:pt>
                <c:pt idx="4072">
                  <c:v>-1.1843782999999999E-3</c:v>
                </c:pt>
                <c:pt idx="4073">
                  <c:v>-1.1738579E-3</c:v>
                </c:pt>
                <c:pt idx="4074">
                  <c:v>-1.1611932999999999E-3</c:v>
                </c:pt>
                <c:pt idx="4075">
                  <c:v>-1.1502104E-3</c:v>
                </c:pt>
                <c:pt idx="4076">
                  <c:v>-1.1385052E-3</c:v>
                </c:pt>
                <c:pt idx="4077">
                  <c:v>-1.1275587999999999E-3</c:v>
                </c:pt>
                <c:pt idx="4078">
                  <c:v>-1.1161039999999999E-3</c:v>
                </c:pt>
                <c:pt idx="4079">
                  <c:v>-1.103646E-3</c:v>
                </c:pt>
                <c:pt idx="4080">
                  <c:v>-1.0922970999999999E-3</c:v>
                </c:pt>
                <c:pt idx="4081">
                  <c:v>-1.0818671000000001E-3</c:v>
                </c:pt>
                <c:pt idx="4082">
                  <c:v>-1.0703524E-3</c:v>
                </c:pt>
                <c:pt idx="4083">
                  <c:v>-1.0593168000000001E-3</c:v>
                </c:pt>
                <c:pt idx="4084">
                  <c:v>-1.0476381000000001E-3</c:v>
                </c:pt>
                <c:pt idx="4085">
                  <c:v>-1.0364157E-3</c:v>
                </c:pt>
                <c:pt idx="4086">
                  <c:v>-1.0256235E-3</c:v>
                </c:pt>
                <c:pt idx="4087">
                  <c:v>-1.0153804999999999E-3</c:v>
                </c:pt>
                <c:pt idx="4088">
                  <c:v>-1.0047566999999999E-3</c:v>
                </c:pt>
                <c:pt idx="4089">
                  <c:v>-9.9377611999999999E-4</c:v>
                </c:pt>
                <c:pt idx="4090">
                  <c:v>-9.8291885999999998E-4</c:v>
                </c:pt>
                <c:pt idx="4091">
                  <c:v>-9.7168267999999996E-4</c:v>
                </c:pt>
                <c:pt idx="4092">
                  <c:v>-9.6049988000000003E-4</c:v>
                </c:pt>
                <c:pt idx="4093">
                  <c:v>-9.5107747000000001E-4</c:v>
                </c:pt>
                <c:pt idx="4094">
                  <c:v>-9.4002663000000003E-4</c:v>
                </c:pt>
                <c:pt idx="4095">
                  <c:v>-9.2994894999999999E-4</c:v>
                </c:pt>
                <c:pt idx="4096">
                  <c:v>-9.1834987000000005E-4</c:v>
                </c:pt>
                <c:pt idx="4097">
                  <c:v>-9.0901098999999997E-4</c:v>
                </c:pt>
                <c:pt idx="4098">
                  <c:v>-8.9880522000000001E-4</c:v>
                </c:pt>
                <c:pt idx="4099">
                  <c:v>-8.8864830999999997E-4</c:v>
                </c:pt>
                <c:pt idx="4100">
                  <c:v>-8.7869537000000001E-4</c:v>
                </c:pt>
                <c:pt idx="4101">
                  <c:v>-8.6795866000000002E-4</c:v>
                </c:pt>
                <c:pt idx="4102">
                  <c:v>-8.5767945000000002E-4</c:v>
                </c:pt>
                <c:pt idx="4103">
                  <c:v>-8.4760434000000001E-4</c:v>
                </c:pt>
                <c:pt idx="4104">
                  <c:v>-8.3822200999999997E-4</c:v>
                </c:pt>
                <c:pt idx="4105">
                  <c:v>-8.2896602999999998E-4</c:v>
                </c:pt>
                <c:pt idx="4106">
                  <c:v>-8.1835673000000002E-4</c:v>
                </c:pt>
                <c:pt idx="4107">
                  <c:v>-8.0836421000000003E-4</c:v>
                </c:pt>
                <c:pt idx="4108">
                  <c:v>-7.9947706999999998E-4</c:v>
                </c:pt>
                <c:pt idx="4109">
                  <c:v>-7.8932028999999996E-4</c:v>
                </c:pt>
                <c:pt idx="4110">
                  <c:v>-7.8035151999999997E-4</c:v>
                </c:pt>
                <c:pt idx="4111">
                  <c:v>-7.6978625000000004E-4</c:v>
                </c:pt>
                <c:pt idx="4112">
                  <c:v>-7.6049110999999996E-4</c:v>
                </c:pt>
                <c:pt idx="4113">
                  <c:v>-7.5139992000000004E-4</c:v>
                </c:pt>
                <c:pt idx="4114">
                  <c:v>-7.4194284E-4</c:v>
                </c:pt>
                <c:pt idx="4115">
                  <c:v>-7.330975E-4</c:v>
                </c:pt>
                <c:pt idx="4116">
                  <c:v>-7.2380141999999999E-4</c:v>
                </c:pt>
                <c:pt idx="4117">
                  <c:v>-7.1381511000000002E-4</c:v>
                </c:pt>
                <c:pt idx="4118">
                  <c:v>-7.0582852999999997E-4</c:v>
                </c:pt>
                <c:pt idx="4119">
                  <c:v>-6.9649207999999995E-4</c:v>
                </c:pt>
                <c:pt idx="4120">
                  <c:v>-6.8744908000000003E-4</c:v>
                </c:pt>
                <c:pt idx="4121">
                  <c:v>-6.7835805000000002E-4</c:v>
                </c:pt>
                <c:pt idx="4122">
                  <c:v>-6.7062562000000001E-4</c:v>
                </c:pt>
                <c:pt idx="4123">
                  <c:v>-6.6079872999999999E-4</c:v>
                </c:pt>
                <c:pt idx="4124">
                  <c:v>-6.5215797999999998E-4</c:v>
                </c:pt>
                <c:pt idx="4125">
                  <c:v>-6.4225979000000005E-4</c:v>
                </c:pt>
                <c:pt idx="4126">
                  <c:v>-6.3501102000000002E-4</c:v>
                </c:pt>
                <c:pt idx="4127">
                  <c:v>-6.2567356000000002E-4</c:v>
                </c:pt>
                <c:pt idx="4128">
                  <c:v>-6.1794851000000002E-4</c:v>
                </c:pt>
                <c:pt idx="4129">
                  <c:v>-6.0809438E-4</c:v>
                </c:pt>
                <c:pt idx="4130">
                  <c:v>-6.0092648000000003E-4</c:v>
                </c:pt>
                <c:pt idx="4131">
                  <c:v>-5.9184850000000002E-4</c:v>
                </c:pt>
                <c:pt idx="4132">
                  <c:v>-5.8443525999999995E-4</c:v>
                </c:pt>
                <c:pt idx="4133">
                  <c:v>-5.7559050999999998E-4</c:v>
                </c:pt>
                <c:pt idx="4134">
                  <c:v>-5.6745467000000004E-4</c:v>
                </c:pt>
                <c:pt idx="4135">
                  <c:v>-5.5991799E-4</c:v>
                </c:pt>
                <c:pt idx="4136">
                  <c:v>-5.5055841999999999E-4</c:v>
                </c:pt>
                <c:pt idx="4137">
                  <c:v>-5.4335009999999999E-4</c:v>
                </c:pt>
                <c:pt idx="4138">
                  <c:v>-5.3491699000000003E-4</c:v>
                </c:pt>
                <c:pt idx="4139">
                  <c:v>-5.2737707000000003E-4</c:v>
                </c:pt>
                <c:pt idx="4140">
                  <c:v>-5.1916474999999995E-4</c:v>
                </c:pt>
                <c:pt idx="4141">
                  <c:v>-5.1146361999999999E-4</c:v>
                </c:pt>
                <c:pt idx="4142">
                  <c:v>-5.0464450000000001E-4</c:v>
                </c:pt>
                <c:pt idx="4143">
                  <c:v>-4.9620863000000002E-4</c:v>
                </c:pt>
                <c:pt idx="4144">
                  <c:v>-4.8858197E-4</c:v>
                </c:pt>
                <c:pt idx="4145">
                  <c:v>-4.8153591E-4</c:v>
                </c:pt>
                <c:pt idx="4146">
                  <c:v>-4.7356796E-4</c:v>
                </c:pt>
                <c:pt idx="4147">
                  <c:v>-4.6578736999999999E-4</c:v>
                </c:pt>
                <c:pt idx="4148">
                  <c:v>-4.5921227999999999E-4</c:v>
                </c:pt>
                <c:pt idx="4149">
                  <c:v>-4.5156907999999998E-4</c:v>
                </c:pt>
                <c:pt idx="4150">
                  <c:v>-4.4415102000000003E-4</c:v>
                </c:pt>
                <c:pt idx="4151">
                  <c:v>-4.3693954999999998E-4</c:v>
                </c:pt>
                <c:pt idx="4152">
                  <c:v>-4.3044654999999999E-4</c:v>
                </c:pt>
                <c:pt idx="4153">
                  <c:v>-4.2298968000000002E-4</c:v>
                </c:pt>
                <c:pt idx="4154">
                  <c:v>-4.1556873000000001E-4</c:v>
                </c:pt>
                <c:pt idx="4155">
                  <c:v>-4.0912419999999998E-4</c:v>
                </c:pt>
                <c:pt idx="4156">
                  <c:v>-4.0211743999999999E-4</c:v>
                </c:pt>
                <c:pt idx="4157">
                  <c:v>-3.9483801000000002E-4</c:v>
                </c:pt>
                <c:pt idx="4158">
                  <c:v>-3.8826992000000002E-4</c:v>
                </c:pt>
                <c:pt idx="4159">
                  <c:v>-3.8220023000000002E-4</c:v>
                </c:pt>
                <c:pt idx="4160">
                  <c:v>-3.7470047999999998E-4</c:v>
                </c:pt>
                <c:pt idx="4161">
                  <c:v>-3.6818472999999998E-4</c:v>
                </c:pt>
                <c:pt idx="4162">
                  <c:v>-3.6158680000000001E-4</c:v>
                </c:pt>
                <c:pt idx="4163">
                  <c:v>-3.5510998999999999E-4</c:v>
                </c:pt>
                <c:pt idx="4164">
                  <c:v>-3.4883864000000001E-4</c:v>
                </c:pt>
                <c:pt idx="4165">
                  <c:v>-3.4289120000000002E-4</c:v>
                </c:pt>
                <c:pt idx="4166">
                  <c:v>-3.3620201999999999E-4</c:v>
                </c:pt>
                <c:pt idx="4167">
                  <c:v>-3.3058494999999998E-4</c:v>
                </c:pt>
                <c:pt idx="4168">
                  <c:v>-3.2435019E-4</c:v>
                </c:pt>
                <c:pt idx="4169">
                  <c:v>-3.1733652999999998E-4</c:v>
                </c:pt>
                <c:pt idx="4170">
                  <c:v>-3.1138808000000001E-4</c:v>
                </c:pt>
                <c:pt idx="4171">
                  <c:v>-3.0568033E-4</c:v>
                </c:pt>
                <c:pt idx="4172">
                  <c:v>-2.9957311999999998E-4</c:v>
                </c:pt>
                <c:pt idx="4173">
                  <c:v>-2.9398742E-4</c:v>
                </c:pt>
                <c:pt idx="4174">
                  <c:v>-2.8819151E-4</c:v>
                </c:pt>
                <c:pt idx="4175">
                  <c:v>-2.8216694000000002E-4</c:v>
                </c:pt>
                <c:pt idx="4176">
                  <c:v>-2.7596696000000001E-4</c:v>
                </c:pt>
                <c:pt idx="4177">
                  <c:v>-2.7036753999999999E-4</c:v>
                </c:pt>
                <c:pt idx="4178">
                  <c:v>-2.6527937999999999E-4</c:v>
                </c:pt>
                <c:pt idx="4179">
                  <c:v>-2.5961336999999999E-4</c:v>
                </c:pt>
                <c:pt idx="4180">
                  <c:v>-2.5406775E-4</c:v>
                </c:pt>
                <c:pt idx="4181">
                  <c:v>-2.4943098000000002E-4</c:v>
                </c:pt>
                <c:pt idx="4182">
                  <c:v>-2.4272342999999999E-4</c:v>
                </c:pt>
                <c:pt idx="4183">
                  <c:v>-2.376256E-4</c:v>
                </c:pt>
                <c:pt idx="4184">
                  <c:v>-2.3295162999999999E-4</c:v>
                </c:pt>
                <c:pt idx="4185">
                  <c:v>-2.2727582000000001E-4</c:v>
                </c:pt>
                <c:pt idx="4186">
                  <c:v>-2.2235401000000001E-4</c:v>
                </c:pt>
                <c:pt idx="4187">
                  <c:v>-2.1742385E-4</c:v>
                </c:pt>
                <c:pt idx="4188">
                  <c:v>-2.1216938000000001E-4</c:v>
                </c:pt>
                <c:pt idx="4189">
                  <c:v>-2.0708156999999999E-4</c:v>
                </c:pt>
                <c:pt idx="4190">
                  <c:v>-2.0264719999999999E-4</c:v>
                </c:pt>
                <c:pt idx="4191">
                  <c:v>-1.9837323000000001E-4</c:v>
                </c:pt>
                <c:pt idx="4192">
                  <c:v>-1.9275849000000001E-4</c:v>
                </c:pt>
                <c:pt idx="4193">
                  <c:v>-1.8845735000000001E-4</c:v>
                </c:pt>
                <c:pt idx="4194">
                  <c:v>-1.8396607E-4</c:v>
                </c:pt>
                <c:pt idx="4195">
                  <c:v>-1.7813538E-4</c:v>
                </c:pt>
                <c:pt idx="4196">
                  <c:v>-1.7432322999999999E-4</c:v>
                </c:pt>
                <c:pt idx="4197">
                  <c:v>-1.6988179E-4</c:v>
                </c:pt>
                <c:pt idx="4198">
                  <c:v>-1.6604633E-4</c:v>
                </c:pt>
                <c:pt idx="4199">
                  <c:v>-1.6054188999999999E-4</c:v>
                </c:pt>
                <c:pt idx="4200">
                  <c:v>-1.568621E-4</c:v>
                </c:pt>
                <c:pt idx="4201">
                  <c:v>-1.524113E-4</c:v>
                </c:pt>
                <c:pt idx="4202">
                  <c:v>-1.4759403000000001E-4</c:v>
                </c:pt>
                <c:pt idx="4203">
                  <c:v>-1.43907E-4</c:v>
                </c:pt>
                <c:pt idx="4204">
                  <c:v>-1.3999273000000001E-4</c:v>
                </c:pt>
                <c:pt idx="4205">
                  <c:v>-1.3631215E-4</c:v>
                </c:pt>
                <c:pt idx="4206">
                  <c:v>-1.3117816000000001E-4</c:v>
                </c:pt>
                <c:pt idx="4207">
                  <c:v>-1.2784368000000001E-4</c:v>
                </c:pt>
                <c:pt idx="4208">
                  <c:v>-1.242394E-4</c:v>
                </c:pt>
                <c:pt idx="4209">
                  <c:v>-1.2109786E-4</c:v>
                </c:pt>
                <c:pt idx="4210">
                  <c:v>-1.1652916000000001E-4</c:v>
                </c:pt>
                <c:pt idx="4211">
                  <c:v>-1.1344257E-4</c:v>
                </c:pt>
                <c:pt idx="4212">
                  <c:v>-1.0934504999999999E-4</c:v>
                </c:pt>
                <c:pt idx="4213">
                  <c:v>-1.0588768E-4</c:v>
                </c:pt>
                <c:pt idx="4214">
                  <c:v>-1.0247094E-4</c:v>
                </c:pt>
                <c:pt idx="4215" formatCode="0.00E+00">
                  <c:v>-9.9488046999999995E-5</c:v>
                </c:pt>
                <c:pt idx="4216" formatCode="0.00E+00">
                  <c:v>-9.5425838999999997E-5</c:v>
                </c:pt>
                <c:pt idx="4217" formatCode="0.00E+00">
                  <c:v>-9.2442805000000002E-5</c:v>
                </c:pt>
                <c:pt idx="4218" formatCode="0.00E+00">
                  <c:v>-8.8801283999999996E-5</c:v>
                </c:pt>
                <c:pt idx="4219" formatCode="0.00E+00">
                  <c:v>-8.5658891000000003E-5</c:v>
                </c:pt>
                <c:pt idx="4220" formatCode="0.00E+00">
                  <c:v>-8.2876396000000001E-5</c:v>
                </c:pt>
                <c:pt idx="4221" formatCode="0.00E+00">
                  <c:v>-7.9670546000000001E-5</c:v>
                </c:pt>
                <c:pt idx="4222" formatCode="0.00E+00">
                  <c:v>-7.6399144000000006E-5</c:v>
                </c:pt>
                <c:pt idx="4223" formatCode="0.00E+00">
                  <c:v>-7.2455885999999994E-5</c:v>
                </c:pt>
                <c:pt idx="4224" formatCode="0.00E+00">
                  <c:v>-7.0420639000000001E-5</c:v>
                </c:pt>
                <c:pt idx="4225" formatCode="0.00E+00">
                  <c:v>-6.7594194999999997E-5</c:v>
                </c:pt>
                <c:pt idx="4226" formatCode="0.00E+00">
                  <c:v>-6.5239255000000001E-5</c:v>
                </c:pt>
                <c:pt idx="4227" formatCode="0.00E+00">
                  <c:v>-6.1860667999999995E-5</c:v>
                </c:pt>
                <c:pt idx="4228" formatCode="0.00E+00">
                  <c:v>-6.0300639000000003E-5</c:v>
                </c:pt>
                <c:pt idx="4229" formatCode="0.00E+00">
                  <c:v>-5.6665371000000002E-5</c:v>
                </c:pt>
                <c:pt idx="4230" formatCode="0.00E+00">
                  <c:v>-5.4217647999999999E-5</c:v>
                </c:pt>
                <c:pt idx="4231" formatCode="0.00E+00">
                  <c:v>-5.2045217000000001E-5</c:v>
                </c:pt>
                <c:pt idx="4232" formatCode="0.00E+00">
                  <c:v>-4.9923195000000003E-5</c:v>
                </c:pt>
                <c:pt idx="4233" formatCode="0.00E+00">
                  <c:v>-4.7109666000000001E-5</c:v>
                </c:pt>
                <c:pt idx="4234" formatCode="0.00E+00">
                  <c:v>-4.440549E-5</c:v>
                </c:pt>
                <c:pt idx="4235" formatCode="0.00E+00">
                  <c:v>-4.2636273000000003E-5</c:v>
                </c:pt>
                <c:pt idx="4236" formatCode="0.00E+00">
                  <c:v>-4.1169069E-5</c:v>
                </c:pt>
                <c:pt idx="4237" formatCode="0.00E+00">
                  <c:v>-3.7840772000000002E-5</c:v>
                </c:pt>
                <c:pt idx="4238" formatCode="0.00E+00">
                  <c:v>-3.5893146999999999E-5</c:v>
                </c:pt>
                <c:pt idx="4239" formatCode="0.00E+00">
                  <c:v>-3.4294532999999999E-5</c:v>
                </c:pt>
                <c:pt idx="4240" formatCode="0.00E+00">
                  <c:v>-3.1978559E-5</c:v>
                </c:pt>
                <c:pt idx="4241" formatCode="0.00E+00">
                  <c:v>-2.9738243E-5</c:v>
                </c:pt>
                <c:pt idx="4242" formatCode="0.00E+00">
                  <c:v>-2.787239E-5</c:v>
                </c:pt>
                <c:pt idx="4243" formatCode="0.00E+00">
                  <c:v>-2.7052128000000001E-5</c:v>
                </c:pt>
                <c:pt idx="4244" formatCode="0.00E+00">
                  <c:v>-2.4680152999999999E-5</c:v>
                </c:pt>
                <c:pt idx="4245" formatCode="0.00E+00">
                  <c:v>-2.2670595999999998E-5</c:v>
                </c:pt>
                <c:pt idx="4246" formatCode="0.00E+00">
                  <c:v>-2.1851514000000001E-5</c:v>
                </c:pt>
                <c:pt idx="4247" formatCode="0.00E+00">
                  <c:v>-1.9387484999999999E-5</c:v>
                </c:pt>
                <c:pt idx="4248" formatCode="0.00E+00">
                  <c:v>-1.8988087E-5</c:v>
                </c:pt>
                <c:pt idx="4249" formatCode="0.00E+00">
                  <c:v>-1.7870191999999999E-5</c:v>
                </c:pt>
                <c:pt idx="4250" formatCode="0.00E+00">
                  <c:v>-1.5711254000000001E-5</c:v>
                </c:pt>
                <c:pt idx="4251" formatCode="0.00E+00">
                  <c:v>-1.4605255000000001E-5</c:v>
                </c:pt>
                <c:pt idx="4252" formatCode="0.00E+00">
                  <c:v>-1.3563287000000001E-5</c:v>
                </c:pt>
                <c:pt idx="4253" formatCode="0.00E+00">
                  <c:v>-1.1724867E-5</c:v>
                </c:pt>
                <c:pt idx="4254" formatCode="0.00E+00">
                  <c:v>-1.0503462E-5</c:v>
                </c:pt>
                <c:pt idx="4255" formatCode="0.00E+00">
                  <c:v>-9.4902164999999995E-6</c:v>
                </c:pt>
                <c:pt idx="4256" formatCode="0.00E+00">
                  <c:v>-9.1707349999999992E-6</c:v>
                </c:pt>
                <c:pt idx="4257" formatCode="0.00E+00">
                  <c:v>-8.2191610000000008E-6</c:v>
                </c:pt>
                <c:pt idx="4258" formatCode="0.00E+00">
                  <c:v>-6.0159099000000002E-6</c:v>
                </c:pt>
                <c:pt idx="4259" formatCode="0.00E+00">
                  <c:v>-6.2211755000000003E-6</c:v>
                </c:pt>
                <c:pt idx="4260" formatCode="0.00E+00">
                  <c:v>-4.8259953000000004E-6</c:v>
                </c:pt>
                <c:pt idx="4261" formatCode="0.00E+00">
                  <c:v>-3.7729771000000001E-6</c:v>
                </c:pt>
                <c:pt idx="4262" formatCode="0.00E+00">
                  <c:v>-4.0694366000000002E-6</c:v>
                </c:pt>
                <c:pt idx="4263" formatCode="0.00E+00">
                  <c:v>-3.1173742999999999E-6</c:v>
                </c:pt>
                <c:pt idx="4264" formatCode="0.00E+00">
                  <c:v>-3.1129558999999998E-6</c:v>
                </c:pt>
                <c:pt idx="4265" formatCode="0.00E+00">
                  <c:v>-3.1569368999999998E-6</c:v>
                </c:pt>
                <c:pt idx="4266" formatCode="0.00E+00">
                  <c:v>-1.1667491999999999E-6</c:v>
                </c:pt>
                <c:pt idx="4267" formatCode="0.00E+00">
                  <c:v>-1.0541596999999999E-6</c:v>
                </c:pt>
                <c:pt idx="4268" formatCode="0.00E+00">
                  <c:v>-1.2659074999999999E-6</c:v>
                </c:pt>
                <c:pt idx="4269" formatCode="0.00E+00">
                  <c:v>1.2793861000000001E-7</c:v>
                </c:pt>
                <c:pt idx="4270" formatCode="0.00E+00">
                  <c:v>-2.0254183000000001E-7</c:v>
                </c:pt>
                <c:pt idx="4271" formatCode="0.00E+00">
                  <c:v>-2.1454664000000001E-7</c:v>
                </c:pt>
                <c:pt idx="4272" formatCode="0.00E+00">
                  <c:v>1.8782371999999999E-7</c:v>
                </c:pt>
                <c:pt idx="4273" formatCode="0.00E+00">
                  <c:v>-1.4413056E-7</c:v>
                </c:pt>
                <c:pt idx="4274" formatCode="0.00E+00">
                  <c:v>2.3064751000000001E-7</c:v>
                </c:pt>
                <c:pt idx="4275" formatCode="0.00E+00">
                  <c:v>5.9638334000000002E-8</c:v>
                </c:pt>
                <c:pt idx="4276" formatCode="0.00E+00">
                  <c:v>-9.4414772999999999E-8</c:v>
                </c:pt>
                <c:pt idx="4277" formatCode="0.00E+00">
                  <c:v>6.3446267E-9</c:v>
                </c:pt>
                <c:pt idx="4278" formatCode="0.00E+00">
                  <c:v>-1.0508852000000001E-6</c:v>
                </c:pt>
                <c:pt idx="4279" formatCode="0.00E+00">
                  <c:v>-2.4396992000000002E-6</c:v>
                </c:pt>
                <c:pt idx="4280" formatCode="0.00E+00">
                  <c:v>-1.9891841999999998E-6</c:v>
                </c:pt>
                <c:pt idx="4281" formatCode="0.00E+00">
                  <c:v>-2.0640411000000001E-6</c:v>
                </c:pt>
                <c:pt idx="4282" formatCode="0.00E+00">
                  <c:v>-3.1955380999999999E-6</c:v>
                </c:pt>
                <c:pt idx="4283" formatCode="0.00E+00">
                  <c:v>-3.6859470999999999E-6</c:v>
                </c:pt>
                <c:pt idx="4284" formatCode="0.00E+00">
                  <c:v>-4.1805916000000003E-6</c:v>
                </c:pt>
                <c:pt idx="4285" formatCode="0.00E+00">
                  <c:v>-4.8951709000000001E-6</c:v>
                </c:pt>
                <c:pt idx="4286" formatCode="0.00E+00">
                  <c:v>-6.0021370000000001E-6</c:v>
                </c:pt>
                <c:pt idx="4287" formatCode="0.00E+00">
                  <c:v>-7.0371646999999996E-6</c:v>
                </c:pt>
                <c:pt idx="4288" formatCode="0.00E+00">
                  <c:v>-7.0292162999999998E-6</c:v>
                </c:pt>
                <c:pt idx="4289" formatCode="0.00E+00">
                  <c:v>-8.3853853999999998E-6</c:v>
                </c:pt>
                <c:pt idx="4290" formatCode="0.00E+00">
                  <c:v>-9.3711381999999996E-6</c:v>
                </c:pt>
                <c:pt idx="4291" formatCode="0.00E+00">
                  <c:v>-1.0572089999999999E-5</c:v>
                </c:pt>
                <c:pt idx="4292" formatCode="0.00E+00">
                  <c:v>-1.1300632000000001E-5</c:v>
                </c:pt>
                <c:pt idx="4293" formatCode="0.00E+00">
                  <c:v>-1.2541857E-5</c:v>
                </c:pt>
                <c:pt idx="4294" formatCode="0.00E+00">
                  <c:v>-1.4752876999999999E-5</c:v>
                </c:pt>
                <c:pt idx="4295" formatCode="0.00E+00">
                  <c:v>-1.5432779000000002E-5</c:v>
                </c:pt>
                <c:pt idx="4296" formatCode="0.00E+00">
                  <c:v>-1.6918708E-5</c:v>
                </c:pt>
                <c:pt idx="4297" formatCode="0.00E+00">
                  <c:v>-1.7918082000000001E-5</c:v>
                </c:pt>
                <c:pt idx="4298" formatCode="0.00E+00">
                  <c:v>-1.8672022E-5</c:v>
                </c:pt>
                <c:pt idx="4299" formatCode="0.00E+00">
                  <c:v>-2.0664827999999999E-5</c:v>
                </c:pt>
                <c:pt idx="4300" formatCode="0.00E+00">
                  <c:v>-2.2040791999999999E-5</c:v>
                </c:pt>
                <c:pt idx="4301" formatCode="0.00E+00">
                  <c:v>-2.4056332999999999E-5</c:v>
                </c:pt>
                <c:pt idx="4302" formatCode="0.00E+00">
                  <c:v>-2.5758752E-5</c:v>
                </c:pt>
                <c:pt idx="4303" formatCode="0.00E+00">
                  <c:v>-2.6660122999999999E-5</c:v>
                </c:pt>
                <c:pt idx="4304" formatCode="0.00E+00">
                  <c:v>-2.896697E-5</c:v>
                </c:pt>
                <c:pt idx="4305" formatCode="0.00E+00">
                  <c:v>-3.1341755999999998E-5</c:v>
                </c:pt>
                <c:pt idx="4306" formatCode="0.00E+00">
                  <c:v>-3.2916814999999997E-5</c:v>
                </c:pt>
                <c:pt idx="4307" formatCode="0.00E+00">
                  <c:v>-3.4651905E-5</c:v>
                </c:pt>
                <c:pt idx="4308" formatCode="0.00E+00">
                  <c:v>-3.6756669000000002E-5</c:v>
                </c:pt>
                <c:pt idx="4309" formatCode="0.00E+00">
                  <c:v>-3.9291230999999999E-5</c:v>
                </c:pt>
                <c:pt idx="4310" formatCode="0.00E+00">
                  <c:v>-4.1584149000000001E-5</c:v>
                </c:pt>
                <c:pt idx="4311" formatCode="0.00E+00">
                  <c:v>-4.3891270000000002E-5</c:v>
                </c:pt>
                <c:pt idx="4312" formatCode="0.00E+00">
                  <c:v>-4.5929147999999998E-5</c:v>
                </c:pt>
                <c:pt idx="4313" formatCode="0.00E+00">
                  <c:v>-4.8656231000000002E-5</c:v>
                </c:pt>
                <c:pt idx="4314" formatCode="0.00E+00">
                  <c:v>-5.0402953000000003E-5</c:v>
                </c:pt>
                <c:pt idx="4315" formatCode="0.00E+00">
                  <c:v>-5.3008996999999999E-5</c:v>
                </c:pt>
                <c:pt idx="4316" formatCode="0.00E+00">
                  <c:v>-5.6131049999999999E-5</c:v>
                </c:pt>
                <c:pt idx="4317" formatCode="0.00E+00">
                  <c:v>-5.8793216000000002E-5</c:v>
                </c:pt>
                <c:pt idx="4318" formatCode="0.00E+00">
                  <c:v>-6.0700045999999997E-5</c:v>
                </c:pt>
                <c:pt idx="4319" formatCode="0.00E+00">
                  <c:v>-6.3956131999999997E-5</c:v>
                </c:pt>
                <c:pt idx="4320" formatCode="0.00E+00">
                  <c:v>-6.6759374999999995E-5</c:v>
                </c:pt>
                <c:pt idx="4321" formatCode="0.00E+00">
                  <c:v>-6.9238468000000004E-5</c:v>
                </c:pt>
                <c:pt idx="4322" formatCode="0.00E+00">
                  <c:v>-7.2458220000000005E-5</c:v>
                </c:pt>
                <c:pt idx="4323" formatCode="0.00E+00">
                  <c:v>-7.5306203000000002E-5</c:v>
                </c:pt>
                <c:pt idx="4324" formatCode="0.00E+00">
                  <c:v>-7.8267733E-5</c:v>
                </c:pt>
                <c:pt idx="4325" formatCode="0.00E+00">
                  <c:v>-8.1389021999999996E-5</c:v>
                </c:pt>
                <c:pt idx="4326" formatCode="0.00E+00">
                  <c:v>-8.3880842999999996E-5</c:v>
                </c:pt>
                <c:pt idx="4327" formatCode="0.00E+00">
                  <c:v>-8.8109587000000005E-5</c:v>
                </c:pt>
                <c:pt idx="4328" formatCode="0.00E+00">
                  <c:v>-9.1077531000000002E-5</c:v>
                </c:pt>
                <c:pt idx="4329" formatCode="0.00E+00">
                  <c:v>-9.4984622000000006E-5</c:v>
                </c:pt>
                <c:pt idx="4330" formatCode="0.00E+00">
                  <c:v>-9.7383928000000004E-5</c:v>
                </c:pt>
                <c:pt idx="4331">
                  <c:v>-1.0103256E-4</c:v>
                </c:pt>
                <c:pt idx="4332">
                  <c:v>-1.0427277999999999E-4</c:v>
                </c:pt>
                <c:pt idx="4333">
                  <c:v>-1.0823883999999999E-4</c:v>
                </c:pt>
                <c:pt idx="4334">
                  <c:v>-1.109072E-4</c:v>
                </c:pt>
                <c:pt idx="4335">
                  <c:v>-1.1566969E-4</c:v>
                </c:pt>
                <c:pt idx="4336">
                  <c:v>-1.1965114000000001E-4</c:v>
                </c:pt>
                <c:pt idx="4337">
                  <c:v>-1.2329803999999999E-4</c:v>
                </c:pt>
                <c:pt idx="4338">
                  <c:v>-1.2635937E-4</c:v>
                </c:pt>
                <c:pt idx="4339">
                  <c:v>-1.2974823000000001E-4</c:v>
                </c:pt>
                <c:pt idx="4340">
                  <c:v>-1.3440009000000001E-4</c:v>
                </c:pt>
                <c:pt idx="4341">
                  <c:v>-1.3882888E-4</c:v>
                </c:pt>
                <c:pt idx="4342">
                  <c:v>-1.4206648E-4</c:v>
                </c:pt>
                <c:pt idx="4343">
                  <c:v>-1.4729637999999999E-4</c:v>
                </c:pt>
                <c:pt idx="4344">
                  <c:v>-1.5115387999999999E-4</c:v>
                </c:pt>
                <c:pt idx="4345">
                  <c:v>-1.5501851999999999E-4</c:v>
                </c:pt>
                <c:pt idx="4346">
                  <c:v>-1.5915088999999999E-4</c:v>
                </c:pt>
                <c:pt idx="4347">
                  <c:v>-1.6401236E-4</c:v>
                </c:pt>
                <c:pt idx="4348">
                  <c:v>-1.6830274999999999E-4</c:v>
                </c:pt>
                <c:pt idx="4349">
                  <c:v>-1.7340171000000001E-4</c:v>
                </c:pt>
                <c:pt idx="4350">
                  <c:v>-1.7705754999999999E-4</c:v>
                </c:pt>
                <c:pt idx="4351">
                  <c:v>-1.8164369E-4</c:v>
                </c:pt>
                <c:pt idx="4352">
                  <c:v>-1.8670195E-4</c:v>
                </c:pt>
                <c:pt idx="4353">
                  <c:v>-1.9193863000000001E-4</c:v>
                </c:pt>
                <c:pt idx="4354">
                  <c:v>-1.9690720999999999E-4</c:v>
                </c:pt>
                <c:pt idx="4355">
                  <c:v>-2.0043464E-4</c:v>
                </c:pt>
                <c:pt idx="4356">
                  <c:v>-2.0582293999999999E-4</c:v>
                </c:pt>
                <c:pt idx="4357">
                  <c:v>-2.1121669E-4</c:v>
                </c:pt>
                <c:pt idx="4358">
                  <c:v>-2.1595825000000001E-4</c:v>
                </c:pt>
                <c:pt idx="4359">
                  <c:v>-2.2166992E-4</c:v>
                </c:pt>
                <c:pt idx="4360">
                  <c:v>-2.2663796999999999E-4</c:v>
                </c:pt>
                <c:pt idx="4361">
                  <c:v>-2.3123579000000001E-4</c:v>
                </c:pt>
                <c:pt idx="4362">
                  <c:v>-2.376763E-4</c:v>
                </c:pt>
                <c:pt idx="4363">
                  <c:v>-2.4211919E-4</c:v>
                </c:pt>
                <c:pt idx="4364">
                  <c:v>-2.4714410000000001E-4</c:v>
                </c:pt>
                <c:pt idx="4365">
                  <c:v>-2.5237764000000002E-4</c:v>
                </c:pt>
                <c:pt idx="4366">
                  <c:v>-2.5885368999999998E-4</c:v>
                </c:pt>
                <c:pt idx="4367">
                  <c:v>-2.6382778999999999E-4</c:v>
                </c:pt>
                <c:pt idx="4368">
                  <c:v>-2.6934672E-4</c:v>
                </c:pt>
                <c:pt idx="4369">
                  <c:v>-2.7519429999999998E-4</c:v>
                </c:pt>
                <c:pt idx="4370">
                  <c:v>-2.8150366999999998E-4</c:v>
                </c:pt>
                <c:pt idx="4371">
                  <c:v>-2.8719637999999998E-4</c:v>
                </c:pt>
                <c:pt idx="4372">
                  <c:v>-2.9253637999999998E-4</c:v>
                </c:pt>
                <c:pt idx="4373">
                  <c:v>-2.9879502E-4</c:v>
                </c:pt>
                <c:pt idx="4374">
                  <c:v>-3.0465826000000001E-4</c:v>
                </c:pt>
                <c:pt idx="4375">
                  <c:v>-3.1110254999999997E-4</c:v>
                </c:pt>
                <c:pt idx="4376">
                  <c:v>-3.1670274E-4</c:v>
                </c:pt>
                <c:pt idx="4377">
                  <c:v>-3.2381055999999999E-4</c:v>
                </c:pt>
                <c:pt idx="4378">
                  <c:v>-3.2915024999999998E-4</c:v>
                </c:pt>
                <c:pt idx="4379">
                  <c:v>-3.3585496000000003E-4</c:v>
                </c:pt>
                <c:pt idx="4380">
                  <c:v>-3.4266532E-4</c:v>
                </c:pt>
                <c:pt idx="4381">
                  <c:v>-3.4820726E-4</c:v>
                </c:pt>
                <c:pt idx="4382">
                  <c:v>-3.5543830000000002E-4</c:v>
                </c:pt>
                <c:pt idx="4383">
                  <c:v>-3.6172225000000001E-4</c:v>
                </c:pt>
                <c:pt idx="4384">
                  <c:v>-3.6774090000000001E-4</c:v>
                </c:pt>
                <c:pt idx="4385">
                  <c:v>-3.7457705999999999E-4</c:v>
                </c:pt>
                <c:pt idx="4386">
                  <c:v>-3.8128214000000002E-4</c:v>
                </c:pt>
                <c:pt idx="4387">
                  <c:v>-3.8833284000000003E-4</c:v>
                </c:pt>
                <c:pt idx="4388">
                  <c:v>-3.9498312999999998E-4</c:v>
                </c:pt>
                <c:pt idx="4389">
                  <c:v>-4.0150800999999998E-4</c:v>
                </c:pt>
                <c:pt idx="4390">
                  <c:v>-4.0905215000000002E-4</c:v>
                </c:pt>
                <c:pt idx="4391">
                  <c:v>-4.1579132999999997E-4</c:v>
                </c:pt>
                <c:pt idx="4392">
                  <c:v>-4.2317702999999999E-4</c:v>
                </c:pt>
                <c:pt idx="4393">
                  <c:v>-4.3077198999999999E-4</c:v>
                </c:pt>
                <c:pt idx="4394">
                  <c:v>-4.3760804999999999E-4</c:v>
                </c:pt>
                <c:pt idx="4395">
                  <c:v>-4.4494157000000002E-4</c:v>
                </c:pt>
                <c:pt idx="4396">
                  <c:v>-4.5153720999999998E-4</c:v>
                </c:pt>
                <c:pt idx="4397">
                  <c:v>-4.5928937999999999E-4</c:v>
                </c:pt>
                <c:pt idx="4398">
                  <c:v>-4.6614148999999999E-4</c:v>
                </c:pt>
                <c:pt idx="4399">
                  <c:v>-4.7384032999999999E-4</c:v>
                </c:pt>
                <c:pt idx="4400">
                  <c:v>-4.8269531000000001E-4</c:v>
                </c:pt>
                <c:pt idx="4401">
                  <c:v>-4.8902437000000005E-4</c:v>
                </c:pt>
                <c:pt idx="4402">
                  <c:v>-4.9677490000000005E-4</c:v>
                </c:pt>
                <c:pt idx="4403">
                  <c:v>-5.0489261999999997E-4</c:v>
                </c:pt>
                <c:pt idx="4404">
                  <c:v>-5.1301191000000001E-4</c:v>
                </c:pt>
                <c:pt idx="4405">
                  <c:v>-5.2070901000000002E-4</c:v>
                </c:pt>
                <c:pt idx="4406">
                  <c:v>-5.2840492999999997E-4</c:v>
                </c:pt>
                <c:pt idx="4407">
                  <c:v>-5.3606050000000005E-4</c:v>
                </c:pt>
                <c:pt idx="4408">
                  <c:v>-5.4417807000000002E-4</c:v>
                </c:pt>
                <c:pt idx="4409">
                  <c:v>-5.5308349E-4</c:v>
                </c:pt>
                <c:pt idx="4410">
                  <c:v>-5.6114757999999997E-4</c:v>
                </c:pt>
                <c:pt idx="4411">
                  <c:v>-5.6863143000000001E-4</c:v>
                </c:pt>
                <c:pt idx="4412">
                  <c:v>-5.7707425999999995E-4</c:v>
                </c:pt>
                <c:pt idx="4413">
                  <c:v>-5.8566282999999997E-4</c:v>
                </c:pt>
                <c:pt idx="4414">
                  <c:v>-5.9435507000000002E-4</c:v>
                </c:pt>
                <c:pt idx="4415">
                  <c:v>-6.0162796000000004E-4</c:v>
                </c:pt>
                <c:pt idx="4416">
                  <c:v>-6.1023163999999997E-4</c:v>
                </c:pt>
                <c:pt idx="4417">
                  <c:v>-6.1955425E-4</c:v>
                </c:pt>
                <c:pt idx="4418">
                  <c:v>-6.2792982000000003E-4</c:v>
                </c:pt>
                <c:pt idx="4419">
                  <c:v>-6.3698712000000005E-4</c:v>
                </c:pt>
                <c:pt idx="4420">
                  <c:v>-6.4527946999999998E-4</c:v>
                </c:pt>
                <c:pt idx="4421">
                  <c:v>-6.5428570999999998E-4</c:v>
                </c:pt>
                <c:pt idx="4422">
                  <c:v>-6.6339516999999997E-4</c:v>
                </c:pt>
                <c:pt idx="4423">
                  <c:v>-6.7186035000000005E-4</c:v>
                </c:pt>
                <c:pt idx="4424">
                  <c:v>-6.8106065000000005E-4</c:v>
                </c:pt>
                <c:pt idx="4425">
                  <c:v>-6.8936702999999996E-4</c:v>
                </c:pt>
                <c:pt idx="4426">
                  <c:v>-6.9873801000000003E-4</c:v>
                </c:pt>
                <c:pt idx="4427">
                  <c:v>-7.0879033000000003E-4</c:v>
                </c:pt>
                <c:pt idx="4428">
                  <c:v>-7.1808875999999997E-4</c:v>
                </c:pt>
                <c:pt idx="4429">
                  <c:v>-7.2682669999999999E-4</c:v>
                </c:pt>
                <c:pt idx="4430">
                  <c:v>-7.3635300000000003E-4</c:v>
                </c:pt>
                <c:pt idx="4431">
                  <c:v>-7.4551073000000002E-4</c:v>
                </c:pt>
                <c:pt idx="4432">
                  <c:v>-7.5534946E-4</c:v>
                </c:pt>
                <c:pt idx="4433">
                  <c:v>-7.6501965999999999E-4</c:v>
                </c:pt>
                <c:pt idx="4434">
                  <c:v>-7.7480859000000001E-4</c:v>
                </c:pt>
                <c:pt idx="4435">
                  <c:v>-7.8469989000000005E-4</c:v>
                </c:pt>
                <c:pt idx="4436">
                  <c:v>-7.9375183000000003E-4</c:v>
                </c:pt>
                <c:pt idx="4437">
                  <c:v>-8.0369022999999997E-4</c:v>
                </c:pt>
                <c:pt idx="4438">
                  <c:v>-8.1363436000000001E-4</c:v>
                </c:pt>
                <c:pt idx="4439">
                  <c:v>-8.2320997999999997E-4</c:v>
                </c:pt>
                <c:pt idx="4440">
                  <c:v>-8.3288758E-4</c:v>
                </c:pt>
                <c:pt idx="4441">
                  <c:v>-8.4346186000000003E-4</c:v>
                </c:pt>
                <c:pt idx="4442">
                  <c:v>-8.5308911999999997E-4</c:v>
                </c:pt>
                <c:pt idx="4443">
                  <c:v>-8.6357914000000004E-4</c:v>
                </c:pt>
                <c:pt idx="4444">
                  <c:v>-8.7420458999999998E-4</c:v>
                </c:pt>
                <c:pt idx="4445">
                  <c:v>-8.8366612999999999E-4</c:v>
                </c:pt>
                <c:pt idx="4446">
                  <c:v>-8.9424282000000004E-4</c:v>
                </c:pt>
                <c:pt idx="4447">
                  <c:v>-9.0423434999999997E-4</c:v>
                </c:pt>
                <c:pt idx="4448">
                  <c:v>-9.1570197999999998E-4</c:v>
                </c:pt>
                <c:pt idx="4449">
                  <c:v>-9.2542652999999997E-4</c:v>
                </c:pt>
                <c:pt idx="4450">
                  <c:v>-9.3557885999999999E-4</c:v>
                </c:pt>
                <c:pt idx="4451">
                  <c:v>-9.4619340000000004E-4</c:v>
                </c:pt>
                <c:pt idx="4452">
                  <c:v>-9.5723594E-4</c:v>
                </c:pt>
                <c:pt idx="4453">
                  <c:v>-9.6837970999999999E-4</c:v>
                </c:pt>
                <c:pt idx="4454">
                  <c:v>-9.7857634000000004E-4</c:v>
                </c:pt>
                <c:pt idx="4455">
                  <c:v>-9.8978032999999998E-4</c:v>
                </c:pt>
                <c:pt idx="4456">
                  <c:v>-1.0008669000000001E-3</c:v>
                </c:pt>
                <c:pt idx="4457">
                  <c:v>-1.0112883E-3</c:v>
                </c:pt>
                <c:pt idx="4458">
                  <c:v>-1.0234357000000001E-3</c:v>
                </c:pt>
                <c:pt idx="4459">
                  <c:v>-1.0332299E-3</c:v>
                </c:pt>
                <c:pt idx="4460">
                  <c:v>-1.0451579E-3</c:v>
                </c:pt>
                <c:pt idx="4461">
                  <c:v>-1.0562485E-3</c:v>
                </c:pt>
                <c:pt idx="4462">
                  <c:v>-1.0669708E-3</c:v>
                </c:pt>
                <c:pt idx="4463">
                  <c:v>-1.0789510000000001E-3</c:v>
                </c:pt>
                <c:pt idx="4464">
                  <c:v>-1.089984E-3</c:v>
                </c:pt>
                <c:pt idx="4465">
                  <c:v>-1.1013373999999999E-3</c:v>
                </c:pt>
                <c:pt idx="4466">
                  <c:v>-1.1139486E-3</c:v>
                </c:pt>
                <c:pt idx="4467">
                  <c:v>-1.1251442000000001E-3</c:v>
                </c:pt>
                <c:pt idx="4468">
                  <c:v>-1.1364400000000001E-3</c:v>
                </c:pt>
                <c:pt idx="4469">
                  <c:v>-1.1480564999999999E-3</c:v>
                </c:pt>
                <c:pt idx="4470">
                  <c:v>-1.1598265E-3</c:v>
                </c:pt>
                <c:pt idx="4471">
                  <c:v>-1.1717529E-3</c:v>
                </c:pt>
                <c:pt idx="4472">
                  <c:v>-1.1837791000000001E-3</c:v>
                </c:pt>
                <c:pt idx="4473">
                  <c:v>-1.1955475000000001E-3</c:v>
                </c:pt>
                <c:pt idx="4474">
                  <c:v>-1.2081052E-3</c:v>
                </c:pt>
                <c:pt idx="4475">
                  <c:v>-1.2197158E-3</c:v>
                </c:pt>
                <c:pt idx="4476">
                  <c:v>-1.2320049E-3</c:v>
                </c:pt>
                <c:pt idx="4477">
                  <c:v>-1.2437756999999999E-3</c:v>
                </c:pt>
                <c:pt idx="4478">
                  <c:v>-1.2567536E-3</c:v>
                </c:pt>
                <c:pt idx="4479">
                  <c:v>-1.2679357E-3</c:v>
                </c:pt>
                <c:pt idx="4480">
                  <c:v>-1.2804857000000001E-3</c:v>
                </c:pt>
                <c:pt idx="4481">
                  <c:v>-1.2939363E-3</c:v>
                </c:pt>
                <c:pt idx="4482">
                  <c:v>-1.3057498E-3</c:v>
                </c:pt>
                <c:pt idx="4483">
                  <c:v>-1.3182412E-3</c:v>
                </c:pt>
                <c:pt idx="4484">
                  <c:v>-1.3317447E-3</c:v>
                </c:pt>
                <c:pt idx="4485">
                  <c:v>-1.3431436E-3</c:v>
                </c:pt>
                <c:pt idx="4486">
                  <c:v>-1.3562664E-3</c:v>
                </c:pt>
                <c:pt idx="4487">
                  <c:v>-1.3692443E-3</c:v>
                </c:pt>
                <c:pt idx="4488">
                  <c:v>-1.3816176999999999E-3</c:v>
                </c:pt>
                <c:pt idx="4489">
                  <c:v>-1.3943241E-3</c:v>
                </c:pt>
                <c:pt idx="4490">
                  <c:v>-1.4078199999999999E-3</c:v>
                </c:pt>
                <c:pt idx="4491">
                  <c:v>-1.4209476999999999E-3</c:v>
                </c:pt>
                <c:pt idx="4492">
                  <c:v>-1.4347527999999999E-3</c:v>
                </c:pt>
                <c:pt idx="4493">
                  <c:v>-1.4469732999999999E-3</c:v>
                </c:pt>
                <c:pt idx="4494">
                  <c:v>-1.4601527E-3</c:v>
                </c:pt>
                <c:pt idx="4495">
                  <c:v>-1.4741559000000001E-3</c:v>
                </c:pt>
                <c:pt idx="4496">
                  <c:v>-1.4877559E-3</c:v>
                </c:pt>
                <c:pt idx="4497">
                  <c:v>-1.5004088E-3</c:v>
                </c:pt>
                <c:pt idx="4498">
                  <c:v>-1.5141403999999999E-3</c:v>
                </c:pt>
                <c:pt idx="4499">
                  <c:v>-1.5277922999999999E-3</c:v>
                </c:pt>
                <c:pt idx="4500">
                  <c:v>-1.5420083E-3</c:v>
                </c:pt>
                <c:pt idx="4501">
                  <c:v>-1.5550365E-3</c:v>
                </c:pt>
                <c:pt idx="4502">
                  <c:v>-1.5684752E-3</c:v>
                </c:pt>
                <c:pt idx="4503">
                  <c:v>-1.5823889E-3</c:v>
                </c:pt>
                <c:pt idx="4504">
                  <c:v>-1.5969793E-3</c:v>
                </c:pt>
                <c:pt idx="4505">
                  <c:v>-1.6101567E-3</c:v>
                </c:pt>
                <c:pt idx="4506">
                  <c:v>-1.6233572E-3</c:v>
                </c:pt>
                <c:pt idx="4507">
                  <c:v>-1.6375338000000001E-3</c:v>
                </c:pt>
                <c:pt idx="4508">
                  <c:v>-1.6518321E-3</c:v>
                </c:pt>
                <c:pt idx="4509">
                  <c:v>-1.6668949E-3</c:v>
                </c:pt>
                <c:pt idx="4510">
                  <c:v>-1.6802388E-3</c:v>
                </c:pt>
                <c:pt idx="4511">
                  <c:v>-1.6940985E-3</c:v>
                </c:pt>
                <c:pt idx="4512">
                  <c:v>-1.7090177E-3</c:v>
                </c:pt>
                <c:pt idx="4513">
                  <c:v>-1.7237628E-3</c:v>
                </c:pt>
                <c:pt idx="4514">
                  <c:v>-1.7372291999999999E-3</c:v>
                </c:pt>
                <c:pt idx="4515">
                  <c:v>-1.752509E-3</c:v>
                </c:pt>
                <c:pt idx="4516">
                  <c:v>-1.7669921E-3</c:v>
                </c:pt>
                <c:pt idx="4517">
                  <c:v>-1.7809554E-3</c:v>
                </c:pt>
                <c:pt idx="4518">
                  <c:v>-1.7955942E-3</c:v>
                </c:pt>
                <c:pt idx="4519">
                  <c:v>-1.8103535E-3</c:v>
                </c:pt>
                <c:pt idx="4520">
                  <c:v>-1.8250772999999999E-3</c:v>
                </c:pt>
                <c:pt idx="4521">
                  <c:v>-1.8402321000000001E-3</c:v>
                </c:pt>
                <c:pt idx="4522">
                  <c:v>-1.8556179E-3</c:v>
                </c:pt>
                <c:pt idx="4523">
                  <c:v>-1.8702638000000001E-3</c:v>
                </c:pt>
                <c:pt idx="4524">
                  <c:v>-1.8852592999999999E-3</c:v>
                </c:pt>
                <c:pt idx="4525">
                  <c:v>-1.9002108000000001E-3</c:v>
                </c:pt>
                <c:pt idx="4526">
                  <c:v>-1.9150341E-3</c:v>
                </c:pt>
                <c:pt idx="4527">
                  <c:v>-1.9301914999999999E-3</c:v>
                </c:pt>
                <c:pt idx="4528">
                  <c:v>-1.9464670999999999E-3</c:v>
                </c:pt>
                <c:pt idx="4529">
                  <c:v>-1.9620421999999998E-3</c:v>
                </c:pt>
                <c:pt idx="4530">
                  <c:v>-1.9771162999999998E-3</c:v>
                </c:pt>
                <c:pt idx="4531">
                  <c:v>-1.9921778999999998E-3</c:v>
                </c:pt>
                <c:pt idx="4532">
                  <c:v>-2.0079155E-3</c:v>
                </c:pt>
                <c:pt idx="4533">
                  <c:v>-2.0235052000000002E-3</c:v>
                </c:pt>
                <c:pt idx="4534">
                  <c:v>-2.0391902999999999E-3</c:v>
                </c:pt>
                <c:pt idx="4535">
                  <c:v>-2.0553335000000001E-3</c:v>
                </c:pt>
                <c:pt idx="4536">
                  <c:v>-2.0709732999999999E-3</c:v>
                </c:pt>
                <c:pt idx="4537">
                  <c:v>-2.086245E-3</c:v>
                </c:pt>
                <c:pt idx="4538">
                  <c:v>-2.1017275E-3</c:v>
                </c:pt>
                <c:pt idx="4539">
                  <c:v>-2.1182326E-3</c:v>
                </c:pt>
                <c:pt idx="4540">
                  <c:v>-2.1347143999999999E-3</c:v>
                </c:pt>
                <c:pt idx="4541">
                  <c:v>-2.1504766999999999E-3</c:v>
                </c:pt>
                <c:pt idx="4542">
                  <c:v>-2.1672610000000002E-3</c:v>
                </c:pt>
                <c:pt idx="4543">
                  <c:v>-2.1832140000000002E-3</c:v>
                </c:pt>
                <c:pt idx="4544">
                  <c:v>-2.1989150000000001E-3</c:v>
                </c:pt>
                <c:pt idx="4545">
                  <c:v>-2.2153879E-3</c:v>
                </c:pt>
                <c:pt idx="4546">
                  <c:v>-2.2320864E-3</c:v>
                </c:pt>
                <c:pt idx="4547">
                  <c:v>-2.2483005000000001E-3</c:v>
                </c:pt>
                <c:pt idx="4548">
                  <c:v>-2.2642627999999998E-3</c:v>
                </c:pt>
                <c:pt idx="4549">
                  <c:v>-2.2809833E-3</c:v>
                </c:pt>
                <c:pt idx="4550">
                  <c:v>-2.2978264999999999E-3</c:v>
                </c:pt>
                <c:pt idx="4551">
                  <c:v>-2.3145346999999998E-3</c:v>
                </c:pt>
                <c:pt idx="4552">
                  <c:v>-2.3314353999999999E-3</c:v>
                </c:pt>
                <c:pt idx="4553">
                  <c:v>-2.3479853E-3</c:v>
                </c:pt>
                <c:pt idx="4554">
                  <c:v>-2.3651593E-3</c:v>
                </c:pt>
                <c:pt idx="4555">
                  <c:v>-2.3820108000000002E-3</c:v>
                </c:pt>
                <c:pt idx="4556">
                  <c:v>-2.3989561999999999E-3</c:v>
                </c:pt>
                <c:pt idx="4557">
                  <c:v>-2.4158583E-3</c:v>
                </c:pt>
                <c:pt idx="4558">
                  <c:v>-2.4334580999999999E-3</c:v>
                </c:pt>
                <c:pt idx="4559">
                  <c:v>-2.4506238000000001E-3</c:v>
                </c:pt>
                <c:pt idx="4560">
                  <c:v>-2.4673668999999998E-3</c:v>
                </c:pt>
                <c:pt idx="4561">
                  <c:v>-2.4848997999999999E-3</c:v>
                </c:pt>
                <c:pt idx="4562">
                  <c:v>-2.5025005000000001E-3</c:v>
                </c:pt>
                <c:pt idx="4563">
                  <c:v>-2.5197128000000002E-3</c:v>
                </c:pt>
                <c:pt idx="4564">
                  <c:v>-2.5378749000000002E-3</c:v>
                </c:pt>
                <c:pt idx="4565">
                  <c:v>-2.5549431000000001E-3</c:v>
                </c:pt>
                <c:pt idx="4566">
                  <c:v>-2.5723675000000001E-3</c:v>
                </c:pt>
                <c:pt idx="4567">
                  <c:v>-2.5906058E-3</c:v>
                </c:pt>
                <c:pt idx="4568">
                  <c:v>-2.6081053E-3</c:v>
                </c:pt>
                <c:pt idx="4569">
                  <c:v>-2.6261587000000002E-3</c:v>
                </c:pt>
                <c:pt idx="4570">
                  <c:v>-2.6432302E-3</c:v>
                </c:pt>
                <c:pt idx="4571">
                  <c:v>-2.6615259E-3</c:v>
                </c:pt>
                <c:pt idx="4572">
                  <c:v>-2.6793557999999999E-3</c:v>
                </c:pt>
                <c:pt idx="4573">
                  <c:v>-2.6973262E-3</c:v>
                </c:pt>
                <c:pt idx="4574">
                  <c:v>-2.715692E-3</c:v>
                </c:pt>
                <c:pt idx="4575">
                  <c:v>-2.7336600000000002E-3</c:v>
                </c:pt>
                <c:pt idx="4576">
                  <c:v>-2.7522597000000002E-3</c:v>
                </c:pt>
                <c:pt idx="4577">
                  <c:v>-2.7699311999999999E-3</c:v>
                </c:pt>
                <c:pt idx="4578">
                  <c:v>-2.7892915999999999E-3</c:v>
                </c:pt>
                <c:pt idx="4579">
                  <c:v>-2.8069917999999998E-3</c:v>
                </c:pt>
                <c:pt idx="4580">
                  <c:v>-2.8256259999999999E-3</c:v>
                </c:pt>
                <c:pt idx="4581">
                  <c:v>-2.8437748000000001E-3</c:v>
                </c:pt>
                <c:pt idx="4582">
                  <c:v>-2.8621568000000001E-3</c:v>
                </c:pt>
                <c:pt idx="4583">
                  <c:v>-2.8810664E-3</c:v>
                </c:pt>
                <c:pt idx="4584">
                  <c:v>-2.9000682000000001E-3</c:v>
                </c:pt>
                <c:pt idx="4585">
                  <c:v>-2.9183579000000002E-3</c:v>
                </c:pt>
                <c:pt idx="4586">
                  <c:v>-2.9378571999999999E-3</c:v>
                </c:pt>
                <c:pt idx="4587">
                  <c:v>-2.9561055999999999E-3</c:v>
                </c:pt>
                <c:pt idx="4588">
                  <c:v>-2.9760629000000001E-3</c:v>
                </c:pt>
                <c:pt idx="4589">
                  <c:v>-2.9951424999999999E-3</c:v>
                </c:pt>
                <c:pt idx="4590">
                  <c:v>-3.0134413000000001E-3</c:v>
                </c:pt>
                <c:pt idx="4591">
                  <c:v>-3.0325712E-3</c:v>
                </c:pt>
                <c:pt idx="4592">
                  <c:v>-3.0515696999999999E-3</c:v>
                </c:pt>
                <c:pt idx="4593">
                  <c:v>-3.0702767000000001E-3</c:v>
                </c:pt>
                <c:pt idx="4594">
                  <c:v>-3.0909111E-3</c:v>
                </c:pt>
                <c:pt idx="4595">
                  <c:v>-3.1101114000000002E-3</c:v>
                </c:pt>
                <c:pt idx="4596">
                  <c:v>-3.1286298999999998E-3</c:v>
                </c:pt>
                <c:pt idx="4597">
                  <c:v>-3.1486260999999999E-3</c:v>
                </c:pt>
                <c:pt idx="4598">
                  <c:v>-3.1682634999999999E-3</c:v>
                </c:pt>
                <c:pt idx="4599">
                  <c:v>-3.1881712000000001E-3</c:v>
                </c:pt>
                <c:pt idx="4600">
                  <c:v>-3.2079868999999998E-3</c:v>
                </c:pt>
                <c:pt idx="4601">
                  <c:v>-3.2273439E-3</c:v>
                </c:pt>
                <c:pt idx="4602">
                  <c:v>-3.2471192000000002E-3</c:v>
                </c:pt>
                <c:pt idx="4603">
                  <c:v>-3.2671286E-3</c:v>
                </c:pt>
                <c:pt idx="4604">
                  <c:v>-3.2868639E-3</c:v>
                </c:pt>
                <c:pt idx="4605">
                  <c:v>-3.3074098000000001E-3</c:v>
                </c:pt>
                <c:pt idx="4606">
                  <c:v>-3.3266374E-3</c:v>
                </c:pt>
                <c:pt idx="4607">
                  <c:v>-3.3471210999999998E-3</c:v>
                </c:pt>
                <c:pt idx="4608">
                  <c:v>-3.3672533999999999E-3</c:v>
                </c:pt>
                <c:pt idx="4609">
                  <c:v>-3.3870147000000001E-3</c:v>
                </c:pt>
                <c:pt idx="4610">
                  <c:v>-3.4077514999999998E-3</c:v>
                </c:pt>
                <c:pt idx="4611">
                  <c:v>-3.4288312999999999E-3</c:v>
                </c:pt>
                <c:pt idx="4612">
                  <c:v>-3.4485553E-3</c:v>
                </c:pt>
                <c:pt idx="4613">
                  <c:v>-3.4690824999999998E-3</c:v>
                </c:pt>
                <c:pt idx="4614">
                  <c:v>-3.4901342999999999E-3</c:v>
                </c:pt>
                <c:pt idx="4615">
                  <c:v>-3.5105566E-3</c:v>
                </c:pt>
                <c:pt idx="4616">
                  <c:v>-3.5304697999999999E-3</c:v>
                </c:pt>
                <c:pt idx="4617">
                  <c:v>-3.5520106000000002E-3</c:v>
                </c:pt>
                <c:pt idx="4618">
                  <c:v>-3.5727303000000002E-3</c:v>
                </c:pt>
                <c:pt idx="4619">
                  <c:v>-3.5931367000000001E-3</c:v>
                </c:pt>
                <c:pt idx="4620">
                  <c:v>-3.6142690999999998E-3</c:v>
                </c:pt>
                <c:pt idx="4621">
                  <c:v>-3.6357295E-3</c:v>
                </c:pt>
                <c:pt idx="4622">
                  <c:v>-3.6561228999999998E-3</c:v>
                </c:pt>
                <c:pt idx="4623">
                  <c:v>-3.6774758999999998E-3</c:v>
                </c:pt>
                <c:pt idx="4624">
                  <c:v>-3.6987438999999999E-3</c:v>
                </c:pt>
                <c:pt idx="4625">
                  <c:v>-3.7201733999999999E-3</c:v>
                </c:pt>
                <c:pt idx="4626">
                  <c:v>-3.7415154000000001E-3</c:v>
                </c:pt>
                <c:pt idx="4627">
                  <c:v>-3.7630652E-3</c:v>
                </c:pt>
                <c:pt idx="4628">
                  <c:v>-3.7842565999999999E-3</c:v>
                </c:pt>
                <c:pt idx="4629">
                  <c:v>-3.8053511999999999E-3</c:v>
                </c:pt>
                <c:pt idx="4630">
                  <c:v>-3.8264889000000002E-3</c:v>
                </c:pt>
                <c:pt idx="4631">
                  <c:v>-3.8485719000000002E-3</c:v>
                </c:pt>
                <c:pt idx="4632">
                  <c:v>-3.86944E-3</c:v>
                </c:pt>
                <c:pt idx="4633">
                  <c:v>-3.8914778999999998E-3</c:v>
                </c:pt>
                <c:pt idx="4634">
                  <c:v>-3.9139212E-3</c:v>
                </c:pt>
                <c:pt idx="4635">
                  <c:v>-3.9347065000000002E-3</c:v>
                </c:pt>
                <c:pt idx="4636">
                  <c:v>-3.9572608E-3</c:v>
                </c:pt>
                <c:pt idx="4637">
                  <c:v>-3.9798752E-3</c:v>
                </c:pt>
                <c:pt idx="4638">
                  <c:v>-4.0011559999999996E-3</c:v>
                </c:pt>
                <c:pt idx="4639">
                  <c:v>-4.0232491999999996E-3</c:v>
                </c:pt>
                <c:pt idx="4640">
                  <c:v>-4.0455667999999998E-3</c:v>
                </c:pt>
                <c:pt idx="4641">
                  <c:v>-4.0682284000000003E-3</c:v>
                </c:pt>
                <c:pt idx="4642">
                  <c:v>-4.0910801999999996E-3</c:v>
                </c:pt>
                <c:pt idx="4643">
                  <c:v>-4.1123890000000001E-3</c:v>
                </c:pt>
                <c:pt idx="4644">
                  <c:v>-4.1356418999999997E-3</c:v>
                </c:pt>
                <c:pt idx="4645">
                  <c:v>-4.1576197999999998E-3</c:v>
                </c:pt>
                <c:pt idx="4646">
                  <c:v>-4.1803745999999999E-3</c:v>
                </c:pt>
                <c:pt idx="4647">
                  <c:v>-4.2033419000000001E-3</c:v>
                </c:pt>
                <c:pt idx="4648">
                  <c:v>-4.2253559E-3</c:v>
                </c:pt>
                <c:pt idx="4649">
                  <c:v>-4.2484871E-3</c:v>
                </c:pt>
                <c:pt idx="4650">
                  <c:v>-4.2710359999999998E-3</c:v>
                </c:pt>
                <c:pt idx="4651">
                  <c:v>-4.2934688999999998E-3</c:v>
                </c:pt>
                <c:pt idx="4652">
                  <c:v>-4.3168445E-3</c:v>
                </c:pt>
                <c:pt idx="4653">
                  <c:v>-4.3403870999999998E-3</c:v>
                </c:pt>
                <c:pt idx="4654">
                  <c:v>-4.3626858000000001E-3</c:v>
                </c:pt>
                <c:pt idx="4655">
                  <c:v>-4.3844655000000003E-3</c:v>
                </c:pt>
                <c:pt idx="4656">
                  <c:v>-4.4089486000000004E-3</c:v>
                </c:pt>
                <c:pt idx="4657">
                  <c:v>-4.4316696999999999E-3</c:v>
                </c:pt>
                <c:pt idx="4658">
                  <c:v>-4.4547008999999997E-3</c:v>
                </c:pt>
                <c:pt idx="4659">
                  <c:v>-4.4787209999999997E-3</c:v>
                </c:pt>
                <c:pt idx="4660">
                  <c:v>-4.5020375000000001E-3</c:v>
                </c:pt>
                <c:pt idx="4661">
                  <c:v>-4.5255069999999998E-3</c:v>
                </c:pt>
                <c:pt idx="4662">
                  <c:v>-4.5482934000000003E-3</c:v>
                </c:pt>
                <c:pt idx="4663">
                  <c:v>-4.5725996999999999E-3</c:v>
                </c:pt>
                <c:pt idx="4664">
                  <c:v>-4.5959228E-3</c:v>
                </c:pt>
                <c:pt idx="4665">
                  <c:v>-4.6195170999999997E-3</c:v>
                </c:pt>
                <c:pt idx="4666">
                  <c:v>-4.6434051000000002E-3</c:v>
                </c:pt>
                <c:pt idx="4667">
                  <c:v>-4.6672307999999999E-3</c:v>
                </c:pt>
                <c:pt idx="4668">
                  <c:v>-4.6909502000000002E-3</c:v>
                </c:pt>
                <c:pt idx="4669">
                  <c:v>-4.7156760000000002E-3</c:v>
                </c:pt>
                <c:pt idx="4670">
                  <c:v>-4.7387193000000003E-3</c:v>
                </c:pt>
                <c:pt idx="4671">
                  <c:v>-4.7637297000000002E-3</c:v>
                </c:pt>
                <c:pt idx="4672">
                  <c:v>-4.7872364000000004E-3</c:v>
                </c:pt>
                <c:pt idx="4673">
                  <c:v>-4.8126827000000002E-3</c:v>
                </c:pt>
                <c:pt idx="4674">
                  <c:v>-4.8361206000000004E-3</c:v>
                </c:pt>
                <c:pt idx="4675">
                  <c:v>-4.8602515999999997E-3</c:v>
                </c:pt>
                <c:pt idx="4676">
                  <c:v>-4.8848279999999999E-3</c:v>
                </c:pt>
                <c:pt idx="4677">
                  <c:v>-4.9085767999999998E-3</c:v>
                </c:pt>
                <c:pt idx="4678">
                  <c:v>-4.9339507000000001E-3</c:v>
                </c:pt>
                <c:pt idx="4679">
                  <c:v>-4.9585406000000002E-3</c:v>
                </c:pt>
                <c:pt idx="4680">
                  <c:v>-4.9828066000000004E-3</c:v>
                </c:pt>
                <c:pt idx="4681">
                  <c:v>-5.0078266000000001E-3</c:v>
                </c:pt>
                <c:pt idx="4682">
                  <c:v>-5.0327241999999998E-3</c:v>
                </c:pt>
                <c:pt idx="4683">
                  <c:v>-5.057069E-3</c:v>
                </c:pt>
                <c:pt idx="4684">
                  <c:v>-5.0823587999999998E-3</c:v>
                </c:pt>
                <c:pt idx="4685">
                  <c:v>-5.1073858999999997E-3</c:v>
                </c:pt>
                <c:pt idx="4686">
                  <c:v>-5.1325069999999997E-3</c:v>
                </c:pt>
                <c:pt idx="4687">
                  <c:v>-5.1566612E-3</c:v>
                </c:pt>
                <c:pt idx="4688">
                  <c:v>-5.1828973000000002E-3</c:v>
                </c:pt>
                <c:pt idx="4689">
                  <c:v>-5.2075510000000004E-3</c:v>
                </c:pt>
                <c:pt idx="4690">
                  <c:v>-5.2326025E-3</c:v>
                </c:pt>
                <c:pt idx="4691">
                  <c:v>-5.2582968999999999E-3</c:v>
                </c:pt>
                <c:pt idx="4692">
                  <c:v>-5.2833041000000004E-3</c:v>
                </c:pt>
                <c:pt idx="4693">
                  <c:v>-5.3089150999999996E-3</c:v>
                </c:pt>
                <c:pt idx="4694">
                  <c:v>-5.3349102999999997E-3</c:v>
                </c:pt>
                <c:pt idx="4695">
                  <c:v>-5.3602663000000004E-3</c:v>
                </c:pt>
                <c:pt idx="4696">
                  <c:v>-5.3857664000000003E-3</c:v>
                </c:pt>
                <c:pt idx="4697">
                  <c:v>-5.4105993999999996E-3</c:v>
                </c:pt>
                <c:pt idx="4698">
                  <c:v>-5.4369531999999996E-3</c:v>
                </c:pt>
                <c:pt idx="4699">
                  <c:v>-5.4630666000000001E-3</c:v>
                </c:pt>
                <c:pt idx="4700">
                  <c:v>-5.4885487999999996E-3</c:v>
                </c:pt>
                <c:pt idx="4701">
                  <c:v>-5.5151914999999998E-3</c:v>
                </c:pt>
                <c:pt idx="4702">
                  <c:v>-5.5406103000000002E-3</c:v>
                </c:pt>
                <c:pt idx="4703">
                  <c:v>-5.5669609999999996E-3</c:v>
                </c:pt>
                <c:pt idx="4704">
                  <c:v>-5.5930618999999997E-3</c:v>
                </c:pt>
                <c:pt idx="4705">
                  <c:v>-5.6187904000000004E-3</c:v>
                </c:pt>
                <c:pt idx="4706">
                  <c:v>-5.6458784000000001E-3</c:v>
                </c:pt>
                <c:pt idx="4707">
                  <c:v>-5.6727173000000004E-3</c:v>
                </c:pt>
                <c:pt idx="4708">
                  <c:v>-5.6987365E-3</c:v>
                </c:pt>
                <c:pt idx="4709">
                  <c:v>-5.7242520999999996E-3</c:v>
                </c:pt>
                <c:pt idx="4710">
                  <c:v>-5.7511287000000001E-3</c:v>
                </c:pt>
                <c:pt idx="4711">
                  <c:v>-5.7777621000000001E-3</c:v>
                </c:pt>
                <c:pt idx="4712">
                  <c:v>-5.8040195999999999E-3</c:v>
                </c:pt>
                <c:pt idx="4713">
                  <c:v>-5.8317628000000002E-3</c:v>
                </c:pt>
                <c:pt idx="4714">
                  <c:v>-5.8579783999999999E-3</c:v>
                </c:pt>
                <c:pt idx="4715">
                  <c:v>-5.8848677E-3</c:v>
                </c:pt>
                <c:pt idx="4716">
                  <c:v>-5.9110389999999999E-3</c:v>
                </c:pt>
                <c:pt idx="4717">
                  <c:v>-5.9381204E-3</c:v>
                </c:pt>
                <c:pt idx="4718">
                  <c:v>-5.9652823999999998E-3</c:v>
                </c:pt>
                <c:pt idx="4719">
                  <c:v>-5.9926403999999997E-3</c:v>
                </c:pt>
                <c:pt idx="4720">
                  <c:v>-6.0202266999999999E-3</c:v>
                </c:pt>
                <c:pt idx="4721">
                  <c:v>-6.0470942000000003E-3</c:v>
                </c:pt>
                <c:pt idx="4722">
                  <c:v>-6.0735961000000002E-3</c:v>
                </c:pt>
                <c:pt idx="4723">
                  <c:v>-6.1013179999999997E-3</c:v>
                </c:pt>
                <c:pt idx="4724">
                  <c:v>-6.1296655E-3</c:v>
                </c:pt>
                <c:pt idx="4725">
                  <c:v>-6.1566379000000003E-3</c:v>
                </c:pt>
                <c:pt idx="4726">
                  <c:v>-6.1835068000000003E-3</c:v>
                </c:pt>
                <c:pt idx="4727">
                  <c:v>-6.2106961000000004E-3</c:v>
                </c:pt>
                <c:pt idx="4728">
                  <c:v>-6.2384481999999998E-3</c:v>
                </c:pt>
                <c:pt idx="4729">
                  <c:v>-6.2667525000000002E-3</c:v>
                </c:pt>
                <c:pt idx="4730">
                  <c:v>-6.2948841999999998E-3</c:v>
                </c:pt>
                <c:pt idx="4731">
                  <c:v>-6.3226981999999999E-3</c:v>
                </c:pt>
                <c:pt idx="4732">
                  <c:v>-6.3494789999999999E-3</c:v>
                </c:pt>
                <c:pt idx="4733">
                  <c:v>-6.3785954000000001E-3</c:v>
                </c:pt>
                <c:pt idx="4734">
                  <c:v>-6.4061980999999997E-3</c:v>
                </c:pt>
                <c:pt idx="4735">
                  <c:v>-6.4341158999999997E-3</c:v>
                </c:pt>
                <c:pt idx="4736">
                  <c:v>-6.4619387999999998E-3</c:v>
                </c:pt>
                <c:pt idx="4737">
                  <c:v>-6.4903024999999996E-3</c:v>
                </c:pt>
                <c:pt idx="4738">
                  <c:v>-6.5189805999999999E-3</c:v>
                </c:pt>
                <c:pt idx="4739">
                  <c:v>-6.5472624999999996E-3</c:v>
                </c:pt>
                <c:pt idx="4740">
                  <c:v>-6.5750056999999999E-3</c:v>
                </c:pt>
                <c:pt idx="4741">
                  <c:v>-6.6036925000000002E-3</c:v>
                </c:pt>
                <c:pt idx="4742">
                  <c:v>-6.6320270000000004E-3</c:v>
                </c:pt>
                <c:pt idx="4743">
                  <c:v>-6.6609336999999998E-3</c:v>
                </c:pt>
                <c:pt idx="4744">
                  <c:v>-6.6899365000000002E-3</c:v>
                </c:pt>
                <c:pt idx="4745">
                  <c:v>-6.7184065000000003E-3</c:v>
                </c:pt>
                <c:pt idx="4746">
                  <c:v>-6.7469236000000004E-3</c:v>
                </c:pt>
                <c:pt idx="4747">
                  <c:v>-6.7759320000000001E-3</c:v>
                </c:pt>
                <c:pt idx="4748">
                  <c:v>-6.8054051000000001E-3</c:v>
                </c:pt>
                <c:pt idx="4749">
                  <c:v>-6.8336383000000001E-3</c:v>
                </c:pt>
                <c:pt idx="4750">
                  <c:v>-6.8632525999999996E-3</c:v>
                </c:pt>
                <c:pt idx="4751">
                  <c:v>-6.8918918000000001E-3</c:v>
                </c:pt>
                <c:pt idx="4752">
                  <c:v>-6.9212815999999998E-3</c:v>
                </c:pt>
                <c:pt idx="4753">
                  <c:v>-6.9496799000000001E-3</c:v>
                </c:pt>
                <c:pt idx="4754">
                  <c:v>-6.9794753000000003E-3</c:v>
                </c:pt>
                <c:pt idx="4755">
                  <c:v>-7.0091915000000003E-3</c:v>
                </c:pt>
                <c:pt idx="4756">
                  <c:v>-7.0382355000000001E-3</c:v>
                </c:pt>
                <c:pt idx="4757">
                  <c:v>-7.0676475000000004E-3</c:v>
                </c:pt>
                <c:pt idx="4758">
                  <c:v>-7.0969144000000003E-3</c:v>
                </c:pt>
                <c:pt idx="4759">
                  <c:v>-7.1267318000000001E-3</c:v>
                </c:pt>
                <c:pt idx="4760">
                  <c:v>-7.1559574999999999E-3</c:v>
                </c:pt>
                <c:pt idx="4761">
                  <c:v>-7.1852156000000002E-3</c:v>
                </c:pt>
                <c:pt idx="4762">
                  <c:v>-7.2160749999999997E-3</c:v>
                </c:pt>
                <c:pt idx="4763">
                  <c:v>-7.2459066000000001E-3</c:v>
                </c:pt>
                <c:pt idx="4764">
                  <c:v>-7.2754011000000004E-3</c:v>
                </c:pt>
                <c:pt idx="4765">
                  <c:v>-7.3052845999999998E-3</c:v>
                </c:pt>
                <c:pt idx="4766">
                  <c:v>-7.3360674999999997E-3</c:v>
                </c:pt>
                <c:pt idx="4767">
                  <c:v>-7.3662618000000001E-3</c:v>
                </c:pt>
                <c:pt idx="4768">
                  <c:v>-7.3955933999999999E-3</c:v>
                </c:pt>
                <c:pt idx="4769">
                  <c:v>-7.4256547000000001E-3</c:v>
                </c:pt>
                <c:pt idx="4770">
                  <c:v>-7.4562748999999996E-3</c:v>
                </c:pt>
                <c:pt idx="4771">
                  <c:v>-7.4862964000000001E-3</c:v>
                </c:pt>
                <c:pt idx="4772">
                  <c:v>-7.5168759E-3</c:v>
                </c:pt>
                <c:pt idx="4773">
                  <c:v>-7.5475688000000004E-3</c:v>
                </c:pt>
                <c:pt idx="4774">
                  <c:v>-7.5778408E-3</c:v>
                </c:pt>
                <c:pt idx="4775">
                  <c:v>-7.6087580999999998E-3</c:v>
                </c:pt>
                <c:pt idx="4776">
                  <c:v>-7.6385445000000003E-3</c:v>
                </c:pt>
                <c:pt idx="4777">
                  <c:v>-7.6699547999999999E-3</c:v>
                </c:pt>
                <c:pt idx="4778">
                  <c:v>-7.7001439999999999E-3</c:v>
                </c:pt>
                <c:pt idx="4779">
                  <c:v>-7.7311613E-3</c:v>
                </c:pt>
                <c:pt idx="4780">
                  <c:v>-7.7625487E-3</c:v>
                </c:pt>
                <c:pt idx="4781">
                  <c:v>-7.7928145999999997E-3</c:v>
                </c:pt>
                <c:pt idx="4782">
                  <c:v>-7.8241594000000008E-3</c:v>
                </c:pt>
                <c:pt idx="4783">
                  <c:v>-7.8552832000000003E-3</c:v>
                </c:pt>
                <c:pt idx="4784">
                  <c:v>-7.8863180999999994E-3</c:v>
                </c:pt>
                <c:pt idx="4785">
                  <c:v>-7.9177403E-3</c:v>
                </c:pt>
                <c:pt idx="4786">
                  <c:v>-7.9491891000000002E-3</c:v>
                </c:pt>
                <c:pt idx="4787">
                  <c:v>-7.9810134000000005E-3</c:v>
                </c:pt>
                <c:pt idx="4788">
                  <c:v>-8.0116309000000004E-3</c:v>
                </c:pt>
                <c:pt idx="4789">
                  <c:v>-8.0442049000000009E-3</c:v>
                </c:pt>
                <c:pt idx="4790">
                  <c:v>-8.0753034000000008E-3</c:v>
                </c:pt>
                <c:pt idx="4791">
                  <c:v>-8.1058906999999999E-3</c:v>
                </c:pt>
                <c:pt idx="4792">
                  <c:v>-8.1378335000000003E-3</c:v>
                </c:pt>
                <c:pt idx="4793">
                  <c:v>-8.1692859E-3</c:v>
                </c:pt>
                <c:pt idx="4794">
                  <c:v>-8.2008211000000001E-3</c:v>
                </c:pt>
                <c:pt idx="4795">
                  <c:v>-8.2332680999999998E-3</c:v>
                </c:pt>
                <c:pt idx="4796">
                  <c:v>-8.2652507000000007E-3</c:v>
                </c:pt>
                <c:pt idx="4797">
                  <c:v>-8.2969440000000005E-3</c:v>
                </c:pt>
                <c:pt idx="4798">
                  <c:v>-8.3291071000000001E-3</c:v>
                </c:pt>
                <c:pt idx="4799">
                  <c:v>-8.3615691000000006E-3</c:v>
                </c:pt>
                <c:pt idx="4800">
                  <c:v>-8.3936181999999995E-3</c:v>
                </c:pt>
                <c:pt idx="4801">
                  <c:v>-8.4250847E-3</c:v>
                </c:pt>
                <c:pt idx="4802">
                  <c:v>-8.4571643000000002E-3</c:v>
                </c:pt>
                <c:pt idx="4803">
                  <c:v>-8.4891722000000006E-3</c:v>
                </c:pt>
                <c:pt idx="4804">
                  <c:v>-8.5229382999999995E-3</c:v>
                </c:pt>
                <c:pt idx="4805">
                  <c:v>-8.5560585999999994E-3</c:v>
                </c:pt>
                <c:pt idx="4806">
                  <c:v>-8.5884952000000007E-3</c:v>
                </c:pt>
                <c:pt idx="4807">
                  <c:v>-8.6205555999999996E-3</c:v>
                </c:pt>
                <c:pt idx="4808">
                  <c:v>-8.6533918999999997E-3</c:v>
                </c:pt>
                <c:pt idx="4809">
                  <c:v>-8.6856853000000008E-3</c:v>
                </c:pt>
                <c:pt idx="4810">
                  <c:v>-8.7189209999999993E-3</c:v>
                </c:pt>
                <c:pt idx="4811">
                  <c:v>-8.7519144999999993E-3</c:v>
                </c:pt>
                <c:pt idx="4812">
                  <c:v>-8.7841612999999992E-3</c:v>
                </c:pt>
                <c:pt idx="4813">
                  <c:v>-8.8173217000000002E-3</c:v>
                </c:pt>
                <c:pt idx="4814">
                  <c:v>-8.8504724E-3</c:v>
                </c:pt>
                <c:pt idx="4815">
                  <c:v>-8.8831515999999999E-3</c:v>
                </c:pt>
                <c:pt idx="4816">
                  <c:v>-8.9167003999999998E-3</c:v>
                </c:pt>
                <c:pt idx="4817">
                  <c:v>-8.9495670000000003E-3</c:v>
                </c:pt>
                <c:pt idx="4818">
                  <c:v>-8.9826183E-3</c:v>
                </c:pt>
                <c:pt idx="4819">
                  <c:v>-9.0165974999999992E-3</c:v>
                </c:pt>
                <c:pt idx="4820">
                  <c:v>-9.0498951000000001E-3</c:v>
                </c:pt>
                <c:pt idx="4821">
                  <c:v>-9.0832745999999999E-3</c:v>
                </c:pt>
                <c:pt idx="4822">
                  <c:v>-9.1170287999999995E-3</c:v>
                </c:pt>
                <c:pt idx="4823">
                  <c:v>-9.1509230999999996E-3</c:v>
                </c:pt>
                <c:pt idx="4824">
                  <c:v>-9.1840797999999998E-3</c:v>
                </c:pt>
                <c:pt idx="4825">
                  <c:v>-9.2174923999999991E-3</c:v>
                </c:pt>
                <c:pt idx="4826">
                  <c:v>-9.2513227999999996E-3</c:v>
                </c:pt>
                <c:pt idx="4827">
                  <c:v>-9.2862321999999994E-3</c:v>
                </c:pt>
                <c:pt idx="4828">
                  <c:v>-9.3198562000000006E-3</c:v>
                </c:pt>
                <c:pt idx="4829">
                  <c:v>-9.3531846999999994E-3</c:v>
                </c:pt>
                <c:pt idx="4830">
                  <c:v>-9.3875372000000006E-3</c:v>
                </c:pt>
                <c:pt idx="4831">
                  <c:v>-9.4222005000000001E-3</c:v>
                </c:pt>
                <c:pt idx="4832">
                  <c:v>-9.4552471999999992E-3</c:v>
                </c:pt>
                <c:pt idx="4833">
                  <c:v>-9.4898091999999993E-3</c:v>
                </c:pt>
                <c:pt idx="4834">
                  <c:v>-9.5249575000000003E-3</c:v>
                </c:pt>
                <c:pt idx="4835">
                  <c:v>-9.5585494999999993E-3</c:v>
                </c:pt>
                <c:pt idx="4836">
                  <c:v>-9.5931047000000005E-3</c:v>
                </c:pt>
                <c:pt idx="4837">
                  <c:v>-9.6282966000000008E-3</c:v>
                </c:pt>
                <c:pt idx="4838">
                  <c:v>-9.6622086999999992E-3</c:v>
                </c:pt>
                <c:pt idx="4839">
                  <c:v>-9.6973582000000006E-3</c:v>
                </c:pt>
                <c:pt idx="4840">
                  <c:v>-9.7324970999999993E-3</c:v>
                </c:pt>
                <c:pt idx="4841">
                  <c:v>-9.7662899000000008E-3</c:v>
                </c:pt>
                <c:pt idx="4842">
                  <c:v>-9.8016406999999993E-3</c:v>
                </c:pt>
                <c:pt idx="4843">
                  <c:v>-9.8353013E-3</c:v>
                </c:pt>
                <c:pt idx="4844">
                  <c:v>-9.8716012999999995E-3</c:v>
                </c:pt>
                <c:pt idx="4845">
                  <c:v>-9.9061860000000009E-3</c:v>
                </c:pt>
                <c:pt idx="4846">
                  <c:v>-9.9412458999999995E-3</c:v>
                </c:pt>
                <c:pt idx="4847">
                  <c:v>-9.9755860999999994E-3</c:v>
                </c:pt>
                <c:pt idx="4848">
                  <c:v>-1.0011084E-2</c:v>
                </c:pt>
                <c:pt idx="4849">
                  <c:v>-1.0046738E-2</c:v>
                </c:pt>
                <c:pt idx="4850">
                  <c:v>-1.0082429E-2</c:v>
                </c:pt>
                <c:pt idx="4851">
                  <c:v>-1.0117602999999999E-2</c:v>
                </c:pt>
                <c:pt idx="4852">
                  <c:v>-1.0152537E-2</c:v>
                </c:pt>
                <c:pt idx="4853">
                  <c:v>-1.0188783E-2</c:v>
                </c:pt>
                <c:pt idx="4854">
                  <c:v>-1.0225145999999999E-2</c:v>
                </c:pt>
                <c:pt idx="4855">
                  <c:v>-1.0259994E-2</c:v>
                </c:pt>
                <c:pt idx="4856">
                  <c:v>-1.029596E-2</c:v>
                </c:pt>
                <c:pt idx="4857">
                  <c:v>-1.0332002999999999E-2</c:v>
                </c:pt>
                <c:pt idx="4858">
                  <c:v>-1.0366533000000001E-2</c:v>
                </c:pt>
                <c:pt idx="4859">
                  <c:v>-1.040229E-2</c:v>
                </c:pt>
                <c:pt idx="4860">
                  <c:v>-1.0438889999999999E-2</c:v>
                </c:pt>
                <c:pt idx="4861">
                  <c:v>-1.0475287E-2</c:v>
                </c:pt>
                <c:pt idx="4862">
                  <c:v>-1.0510917999999999E-2</c:v>
                </c:pt>
                <c:pt idx="4863">
                  <c:v>-1.0546588000000001E-2</c:v>
                </c:pt>
                <c:pt idx="4864">
                  <c:v>-1.0583387E-2</c:v>
                </c:pt>
                <c:pt idx="4865">
                  <c:v>-1.0619419999999999E-2</c:v>
                </c:pt>
                <c:pt idx="4866">
                  <c:v>-1.0656397E-2</c:v>
                </c:pt>
                <c:pt idx="4867">
                  <c:v>-1.0692851999999999E-2</c:v>
                </c:pt>
                <c:pt idx="4868">
                  <c:v>-1.0729600000000001E-2</c:v>
                </c:pt>
                <c:pt idx="4869">
                  <c:v>-1.0766263999999999E-2</c:v>
                </c:pt>
                <c:pt idx="4870">
                  <c:v>-1.0802689000000001E-2</c:v>
                </c:pt>
                <c:pt idx="4871">
                  <c:v>-1.0839339E-2</c:v>
                </c:pt>
                <c:pt idx="4872">
                  <c:v>-1.0875722000000001E-2</c:v>
                </c:pt>
                <c:pt idx="4873">
                  <c:v>-1.0912583999999999E-2</c:v>
                </c:pt>
                <c:pt idx="4874">
                  <c:v>-1.0949386E-2</c:v>
                </c:pt>
                <c:pt idx="4875">
                  <c:v>-1.0986384E-2</c:v>
                </c:pt>
                <c:pt idx="4876">
                  <c:v>-1.1023117000000001E-2</c:v>
                </c:pt>
                <c:pt idx="4877">
                  <c:v>-1.1059918E-2</c:v>
                </c:pt>
                <c:pt idx="4878">
                  <c:v>-1.1096892000000001E-2</c:v>
                </c:pt>
                <c:pt idx="4879">
                  <c:v>-1.1134085E-2</c:v>
                </c:pt>
                <c:pt idx="4880">
                  <c:v>-1.1172624000000001E-2</c:v>
                </c:pt>
                <c:pt idx="4881">
                  <c:v>-1.1208882E-2</c:v>
                </c:pt>
                <c:pt idx="4882">
                  <c:v>-1.1245923999999999E-2</c:v>
                </c:pt>
                <c:pt idx="4883">
                  <c:v>-1.1284463999999999E-2</c:v>
                </c:pt>
                <c:pt idx="4884">
                  <c:v>-1.1321048E-2</c:v>
                </c:pt>
                <c:pt idx="4885">
                  <c:v>-1.1359525000000001E-2</c:v>
                </c:pt>
                <c:pt idx="4886">
                  <c:v>-1.1396765E-2</c:v>
                </c:pt>
                <c:pt idx="4887">
                  <c:v>-1.1434066999999999E-2</c:v>
                </c:pt>
                <c:pt idx="4888">
                  <c:v>-1.1471565E-2</c:v>
                </c:pt>
                <c:pt idx="4889">
                  <c:v>-1.1509675E-2</c:v>
                </c:pt>
                <c:pt idx="4890">
                  <c:v>-1.1547398E-2</c:v>
                </c:pt>
                <c:pt idx="4891">
                  <c:v>-1.1585481999999999E-2</c:v>
                </c:pt>
                <c:pt idx="4892">
                  <c:v>-1.1624492E-2</c:v>
                </c:pt>
                <c:pt idx="4893">
                  <c:v>-1.1660947E-2</c:v>
                </c:pt>
                <c:pt idx="4894">
                  <c:v>-1.1700156E-2</c:v>
                </c:pt>
                <c:pt idx="4895">
                  <c:v>-1.1738436999999999E-2</c:v>
                </c:pt>
                <c:pt idx="4896">
                  <c:v>-1.1776480000000001E-2</c:v>
                </c:pt>
                <c:pt idx="4897">
                  <c:v>-1.1814443000000001E-2</c:v>
                </c:pt>
                <c:pt idx="4898">
                  <c:v>-1.1854025000000001E-2</c:v>
                </c:pt>
                <c:pt idx="4899">
                  <c:v>-1.1891765E-2</c:v>
                </c:pt>
                <c:pt idx="4900">
                  <c:v>-1.1930872E-2</c:v>
                </c:pt>
                <c:pt idx="4901">
                  <c:v>-1.1969031E-2</c:v>
                </c:pt>
                <c:pt idx="4902">
                  <c:v>-1.2008092999999999E-2</c:v>
                </c:pt>
                <c:pt idx="4903">
                  <c:v>-1.2046469000000001E-2</c:v>
                </c:pt>
                <c:pt idx="4904">
                  <c:v>-1.2085642000000001E-2</c:v>
                </c:pt>
                <c:pt idx="4905">
                  <c:v>-1.2123705E-2</c:v>
                </c:pt>
                <c:pt idx="4906">
                  <c:v>-1.2162533999999999E-2</c:v>
                </c:pt>
                <c:pt idx="4907">
                  <c:v>-1.220099E-2</c:v>
                </c:pt>
                <c:pt idx="4908">
                  <c:v>-1.2241353E-2</c:v>
                </c:pt>
                <c:pt idx="4909">
                  <c:v>-1.2279328000000001E-2</c:v>
                </c:pt>
                <c:pt idx="4910">
                  <c:v>-1.2318647E-2</c:v>
                </c:pt>
                <c:pt idx="4911">
                  <c:v>-1.2358737E-2</c:v>
                </c:pt>
                <c:pt idx="4912">
                  <c:v>-1.2396714E-2</c:v>
                </c:pt>
                <c:pt idx="4913">
                  <c:v>-1.2436472E-2</c:v>
                </c:pt>
                <c:pt idx="4914">
                  <c:v>-1.2475989999999999E-2</c:v>
                </c:pt>
                <c:pt idx="4915">
                  <c:v>-1.2516276999999999E-2</c:v>
                </c:pt>
                <c:pt idx="4916">
                  <c:v>-1.2555033E-2</c:v>
                </c:pt>
                <c:pt idx="4917">
                  <c:v>-1.25947E-2</c:v>
                </c:pt>
                <c:pt idx="4918">
                  <c:v>-1.2635138000000001E-2</c:v>
                </c:pt>
                <c:pt idx="4919">
                  <c:v>-1.2674328E-2</c:v>
                </c:pt>
                <c:pt idx="4920">
                  <c:v>-1.2713577E-2</c:v>
                </c:pt>
                <c:pt idx="4921">
                  <c:v>-1.2754305000000001E-2</c:v>
                </c:pt>
                <c:pt idx="4922">
                  <c:v>-1.2795081999999999E-2</c:v>
                </c:pt>
                <c:pt idx="4923">
                  <c:v>-1.2833756E-2</c:v>
                </c:pt>
                <c:pt idx="4924">
                  <c:v>-1.2874782E-2</c:v>
                </c:pt>
                <c:pt idx="4925">
                  <c:v>-1.2913836999999999E-2</c:v>
                </c:pt>
                <c:pt idx="4926">
                  <c:v>-1.2955678999999999E-2</c:v>
                </c:pt>
                <c:pt idx="4927">
                  <c:v>-1.2994258E-2</c:v>
                </c:pt>
                <c:pt idx="4928">
                  <c:v>-1.3034476E-2</c:v>
                </c:pt>
                <c:pt idx="4929">
                  <c:v>-1.3075905000000001E-2</c:v>
                </c:pt>
                <c:pt idx="4930">
                  <c:v>-1.3116500999999999E-2</c:v>
                </c:pt>
                <c:pt idx="4931">
                  <c:v>-1.315614E-2</c:v>
                </c:pt>
                <c:pt idx="4932">
                  <c:v>-1.3196688999999999E-2</c:v>
                </c:pt>
                <c:pt idx="4933">
                  <c:v>-1.3237732E-2</c:v>
                </c:pt>
                <c:pt idx="4934">
                  <c:v>-1.3279269E-2</c:v>
                </c:pt>
                <c:pt idx="4935">
                  <c:v>-1.3319107E-2</c:v>
                </c:pt>
                <c:pt idx="4936">
                  <c:v>-1.3359856E-2</c:v>
                </c:pt>
                <c:pt idx="4937">
                  <c:v>-1.3401226E-2</c:v>
                </c:pt>
                <c:pt idx="4938">
                  <c:v>-1.3442234000000001E-2</c:v>
                </c:pt>
                <c:pt idx="4939">
                  <c:v>-1.3484279E-2</c:v>
                </c:pt>
                <c:pt idx="4940">
                  <c:v>-1.3524507999999999E-2</c:v>
                </c:pt>
                <c:pt idx="4941">
                  <c:v>-1.3564944000000001E-2</c:v>
                </c:pt>
                <c:pt idx="4942">
                  <c:v>-1.3606892000000001E-2</c:v>
                </c:pt>
                <c:pt idx="4943">
                  <c:v>-1.3647833999999999E-2</c:v>
                </c:pt>
                <c:pt idx="4944">
                  <c:v>-1.3689842000000001E-2</c:v>
                </c:pt>
                <c:pt idx="4945">
                  <c:v>-1.3730892E-2</c:v>
                </c:pt>
                <c:pt idx="4946">
                  <c:v>-1.3772016E-2</c:v>
                </c:pt>
                <c:pt idx="4947">
                  <c:v>-1.3813740999999999E-2</c:v>
                </c:pt>
                <c:pt idx="4948">
                  <c:v>-1.3855365E-2</c:v>
                </c:pt>
                <c:pt idx="4949">
                  <c:v>-1.3897764999999999E-2</c:v>
                </c:pt>
                <c:pt idx="4950">
                  <c:v>-1.3938193E-2</c:v>
                </c:pt>
                <c:pt idx="4951">
                  <c:v>-1.3979713E-2</c:v>
                </c:pt>
                <c:pt idx="4952">
                  <c:v>-1.4021965000000001E-2</c:v>
                </c:pt>
                <c:pt idx="4953">
                  <c:v>-1.4064994000000001E-2</c:v>
                </c:pt>
                <c:pt idx="4954">
                  <c:v>-1.4106772E-2</c:v>
                </c:pt>
                <c:pt idx="4955">
                  <c:v>-1.4148925E-2</c:v>
                </c:pt>
                <c:pt idx="4956">
                  <c:v>-1.4190364E-2</c:v>
                </c:pt>
                <c:pt idx="4957">
                  <c:v>-1.4232874E-2</c:v>
                </c:pt>
                <c:pt idx="4958">
                  <c:v>-1.4274827E-2</c:v>
                </c:pt>
                <c:pt idx="4959">
                  <c:v>-1.4316595999999999E-2</c:v>
                </c:pt>
                <c:pt idx="4960">
                  <c:v>-1.4360398999999999E-2</c:v>
                </c:pt>
                <c:pt idx="4961">
                  <c:v>-1.4402419E-2</c:v>
                </c:pt>
                <c:pt idx="4962">
                  <c:v>-1.4443983000000001E-2</c:v>
                </c:pt>
                <c:pt idx="4963">
                  <c:v>-1.4486679000000001E-2</c:v>
                </c:pt>
                <c:pt idx="4964">
                  <c:v>-1.4529669E-2</c:v>
                </c:pt>
                <c:pt idx="4965">
                  <c:v>-1.4573143E-2</c:v>
                </c:pt>
                <c:pt idx="4966">
                  <c:v>-1.4615628E-2</c:v>
                </c:pt>
                <c:pt idx="4967">
                  <c:v>-1.4659350999999999E-2</c:v>
                </c:pt>
                <c:pt idx="4968">
                  <c:v>-1.4701722E-2</c:v>
                </c:pt>
                <c:pt idx="4969">
                  <c:v>-1.4744775E-2</c:v>
                </c:pt>
                <c:pt idx="4970">
                  <c:v>-1.4787789000000001E-2</c:v>
                </c:pt>
                <c:pt idx="4971">
                  <c:v>-1.4830958999999999E-2</c:v>
                </c:pt>
                <c:pt idx="4972">
                  <c:v>-1.4874092E-2</c:v>
                </c:pt>
                <c:pt idx="4973">
                  <c:v>-1.491725E-2</c:v>
                </c:pt>
                <c:pt idx="4974">
                  <c:v>-1.495984E-2</c:v>
                </c:pt>
                <c:pt idx="4975">
                  <c:v>-1.5003839999999999E-2</c:v>
                </c:pt>
                <c:pt idx="4976">
                  <c:v>-1.5047012E-2</c:v>
                </c:pt>
                <c:pt idx="4977">
                  <c:v>-1.50908E-2</c:v>
                </c:pt>
                <c:pt idx="4978">
                  <c:v>-1.5134442E-2</c:v>
                </c:pt>
                <c:pt idx="4979">
                  <c:v>-1.5177758E-2</c:v>
                </c:pt>
                <c:pt idx="4980">
                  <c:v>-1.5221817E-2</c:v>
                </c:pt>
                <c:pt idx="4981">
                  <c:v>-1.5265087E-2</c:v>
                </c:pt>
                <c:pt idx="4982">
                  <c:v>-1.5309652E-2</c:v>
                </c:pt>
                <c:pt idx="4983">
                  <c:v>-1.535398E-2</c:v>
                </c:pt>
                <c:pt idx="4984">
                  <c:v>-1.5397391999999999E-2</c:v>
                </c:pt>
                <c:pt idx="4985">
                  <c:v>-1.5440568E-2</c:v>
                </c:pt>
                <c:pt idx="4986">
                  <c:v>-1.5485377999999999E-2</c:v>
                </c:pt>
                <c:pt idx="4987">
                  <c:v>-1.5528887999999999E-2</c:v>
                </c:pt>
                <c:pt idx="4988">
                  <c:v>-1.5573606E-2</c:v>
                </c:pt>
                <c:pt idx="4989">
                  <c:v>-1.5618178999999999E-2</c:v>
                </c:pt>
                <c:pt idx="4990">
                  <c:v>-1.5662425000000001E-2</c:v>
                </c:pt>
                <c:pt idx="4991">
                  <c:v>-1.5707283999999998E-2</c:v>
                </c:pt>
                <c:pt idx="4992">
                  <c:v>-1.5751182999999998E-2</c:v>
                </c:pt>
                <c:pt idx="4993">
                  <c:v>-1.5795665E-2</c:v>
                </c:pt>
                <c:pt idx="4994">
                  <c:v>-1.5839391000000001E-2</c:v>
                </c:pt>
                <c:pt idx="4995">
                  <c:v>-1.5884875E-2</c:v>
                </c:pt>
                <c:pt idx="4996">
                  <c:v>-1.5929822999999999E-2</c:v>
                </c:pt>
                <c:pt idx="4997">
                  <c:v>-1.5974037999999999E-2</c:v>
                </c:pt>
                <c:pt idx="4998">
                  <c:v>-1.6019588000000001E-2</c:v>
                </c:pt>
                <c:pt idx="4999">
                  <c:v>-1.6064551999999999E-2</c:v>
                </c:pt>
                <c:pt idx="5000">
                  <c:v>-1.6109279000000001E-2</c:v>
                </c:pt>
                <c:pt idx="5001">
                  <c:v>-1.6153770000000001E-2</c:v>
                </c:pt>
                <c:pt idx="5002">
                  <c:v>-1.6199102999999999E-2</c:v>
                </c:pt>
                <c:pt idx="5003">
                  <c:v>-1.6244692000000002E-2</c:v>
                </c:pt>
                <c:pt idx="5004">
                  <c:v>-1.6289622E-2</c:v>
                </c:pt>
                <c:pt idx="5005">
                  <c:v>-1.6335273000000001E-2</c:v>
                </c:pt>
                <c:pt idx="5006">
                  <c:v>-1.638009E-2</c:v>
                </c:pt>
                <c:pt idx="5007">
                  <c:v>-1.6425160000000001E-2</c:v>
                </c:pt>
                <c:pt idx="5008">
                  <c:v>-1.6471441E-2</c:v>
                </c:pt>
                <c:pt idx="5009">
                  <c:v>-1.6517607E-2</c:v>
                </c:pt>
                <c:pt idx="5010">
                  <c:v>-1.6563053000000001E-2</c:v>
                </c:pt>
                <c:pt idx="5011">
                  <c:v>-1.6608748999999999E-2</c:v>
                </c:pt>
                <c:pt idx="5012">
                  <c:v>-1.6654088000000001E-2</c:v>
                </c:pt>
                <c:pt idx="5013">
                  <c:v>-1.6699009000000001E-2</c:v>
                </c:pt>
                <c:pt idx="5014">
                  <c:v>-1.6746166999999999E-2</c:v>
                </c:pt>
                <c:pt idx="5015">
                  <c:v>-1.6790981E-2</c:v>
                </c:pt>
                <c:pt idx="5016">
                  <c:v>-1.6837366999999999E-2</c:v>
                </c:pt>
                <c:pt idx="5017">
                  <c:v>-1.688394E-2</c:v>
                </c:pt>
                <c:pt idx="5018">
                  <c:v>-1.6931000000000002E-2</c:v>
                </c:pt>
                <c:pt idx="5019">
                  <c:v>-1.6976443000000001E-2</c:v>
                </c:pt>
                <c:pt idx="5020">
                  <c:v>-1.7023389999999999E-2</c:v>
                </c:pt>
                <c:pt idx="5021">
                  <c:v>-1.7068718E-2</c:v>
                </c:pt>
                <c:pt idx="5022">
                  <c:v>-1.7115681000000001E-2</c:v>
                </c:pt>
                <c:pt idx="5023">
                  <c:v>-1.7162356E-2</c:v>
                </c:pt>
                <c:pt idx="5024">
                  <c:v>-1.7208546000000002E-2</c:v>
                </c:pt>
                <c:pt idx="5025">
                  <c:v>-1.7255156000000001E-2</c:v>
                </c:pt>
                <c:pt idx="5026">
                  <c:v>-1.7301178E-2</c:v>
                </c:pt>
                <c:pt idx="5027">
                  <c:v>-1.7348903999999998E-2</c:v>
                </c:pt>
                <c:pt idx="5028">
                  <c:v>-1.7395951999999999E-2</c:v>
                </c:pt>
                <c:pt idx="5029">
                  <c:v>-1.7442835E-2</c:v>
                </c:pt>
                <c:pt idx="5030">
                  <c:v>-1.7489483E-2</c:v>
                </c:pt>
                <c:pt idx="5031">
                  <c:v>-1.7536968999999999E-2</c:v>
                </c:pt>
                <c:pt idx="5032">
                  <c:v>-1.7582915000000001E-2</c:v>
                </c:pt>
                <c:pt idx="5033">
                  <c:v>-1.7630726999999999E-2</c:v>
                </c:pt>
                <c:pt idx="5034">
                  <c:v>-1.7677927E-2</c:v>
                </c:pt>
                <c:pt idx="5035">
                  <c:v>-1.7725805000000001E-2</c:v>
                </c:pt>
                <c:pt idx="5036">
                  <c:v>-1.7772913000000001E-2</c:v>
                </c:pt>
                <c:pt idx="5037">
                  <c:v>-1.7819901999999999E-2</c:v>
                </c:pt>
                <c:pt idx="5038">
                  <c:v>-1.7867724000000001E-2</c:v>
                </c:pt>
                <c:pt idx="5039">
                  <c:v>-1.7915388000000001E-2</c:v>
                </c:pt>
                <c:pt idx="5040">
                  <c:v>-1.7962738999999998E-2</c:v>
                </c:pt>
                <c:pt idx="5041">
                  <c:v>-1.8009931999999999E-2</c:v>
                </c:pt>
                <c:pt idx="5042">
                  <c:v>-1.8057956999999999E-2</c:v>
                </c:pt>
                <c:pt idx="5043">
                  <c:v>-1.8105824999999999E-2</c:v>
                </c:pt>
                <c:pt idx="5044">
                  <c:v>-1.8154522999999999E-2</c:v>
                </c:pt>
                <c:pt idx="5045">
                  <c:v>-1.8202003000000001E-2</c:v>
                </c:pt>
                <c:pt idx="5046">
                  <c:v>-1.8249505999999999E-2</c:v>
                </c:pt>
                <c:pt idx="5047">
                  <c:v>-1.8297917E-2</c:v>
                </c:pt>
                <c:pt idx="5048">
                  <c:v>-1.8345450999999999E-2</c:v>
                </c:pt>
                <c:pt idx="5049">
                  <c:v>-1.8393782000000001E-2</c:v>
                </c:pt>
                <c:pt idx="5050">
                  <c:v>-1.8443050999999999E-2</c:v>
                </c:pt>
                <c:pt idx="5051">
                  <c:v>-1.8491025000000001E-2</c:v>
                </c:pt>
                <c:pt idx="5052">
                  <c:v>-1.8539712E-2</c:v>
                </c:pt>
                <c:pt idx="5053">
                  <c:v>-1.8587636000000001E-2</c:v>
                </c:pt>
                <c:pt idx="5054">
                  <c:v>-1.8636690000000001E-2</c:v>
                </c:pt>
                <c:pt idx="5055">
                  <c:v>-1.8684894000000001E-2</c:v>
                </c:pt>
                <c:pt idx="5056">
                  <c:v>-1.8733784999999999E-2</c:v>
                </c:pt>
                <c:pt idx="5057">
                  <c:v>-1.8782331999999999E-2</c:v>
                </c:pt>
                <c:pt idx="5058">
                  <c:v>-1.8831172E-2</c:v>
                </c:pt>
                <c:pt idx="5059">
                  <c:v>-1.8880701999999999E-2</c:v>
                </c:pt>
                <c:pt idx="5060">
                  <c:v>-1.8928456999999999E-2</c:v>
                </c:pt>
                <c:pt idx="5061">
                  <c:v>-1.8978571E-2</c:v>
                </c:pt>
                <c:pt idx="5062">
                  <c:v>-1.9025529999999999E-2</c:v>
                </c:pt>
                <c:pt idx="5063">
                  <c:v>-1.9076735000000001E-2</c:v>
                </c:pt>
                <c:pt idx="5064">
                  <c:v>-1.9125019E-2</c:v>
                </c:pt>
                <c:pt idx="5065">
                  <c:v>-1.9174920000000002E-2</c:v>
                </c:pt>
                <c:pt idx="5066">
                  <c:v>-1.9223645000000001E-2</c:v>
                </c:pt>
                <c:pt idx="5067">
                  <c:v>-1.9273909999999998E-2</c:v>
                </c:pt>
                <c:pt idx="5068">
                  <c:v>-1.9322072999999999E-2</c:v>
                </c:pt>
                <c:pt idx="5069">
                  <c:v>-1.9371965000000001E-2</c:v>
                </c:pt>
                <c:pt idx="5070">
                  <c:v>-1.9421206999999999E-2</c:v>
                </c:pt>
                <c:pt idx="5071">
                  <c:v>-1.9471998000000001E-2</c:v>
                </c:pt>
                <c:pt idx="5072">
                  <c:v>-1.9521100999999999E-2</c:v>
                </c:pt>
                <c:pt idx="5073">
                  <c:v>-1.9570686E-2</c:v>
                </c:pt>
                <c:pt idx="5074">
                  <c:v>-1.9621283999999999E-2</c:v>
                </c:pt>
                <c:pt idx="5075">
                  <c:v>-1.9671332E-2</c:v>
                </c:pt>
                <c:pt idx="5076">
                  <c:v>-1.9720630999999999E-2</c:v>
                </c:pt>
                <c:pt idx="5077">
                  <c:v>-1.9770216E-2</c:v>
                </c:pt>
                <c:pt idx="5078">
                  <c:v>-1.9820915000000001E-2</c:v>
                </c:pt>
                <c:pt idx="5079">
                  <c:v>-1.9870444000000001E-2</c:v>
                </c:pt>
                <c:pt idx="5080">
                  <c:v>-1.9921505999999999E-2</c:v>
                </c:pt>
                <c:pt idx="5081">
                  <c:v>-1.9971816999999999E-2</c:v>
                </c:pt>
                <c:pt idx="5082">
                  <c:v>-2.0021995000000001E-2</c:v>
                </c:pt>
                <c:pt idx="5083">
                  <c:v>-2.0072145999999999E-2</c:v>
                </c:pt>
                <c:pt idx="5084">
                  <c:v>-2.0122271000000001E-2</c:v>
                </c:pt>
                <c:pt idx="5085">
                  <c:v>-2.0174028E-2</c:v>
                </c:pt>
                <c:pt idx="5086">
                  <c:v>-2.0224099999999998E-2</c:v>
                </c:pt>
                <c:pt idx="5087">
                  <c:v>-2.0274665000000001E-2</c:v>
                </c:pt>
                <c:pt idx="5088">
                  <c:v>-2.0326863000000001E-2</c:v>
                </c:pt>
                <c:pt idx="5089">
                  <c:v>-2.0376954999999999E-2</c:v>
                </c:pt>
                <c:pt idx="5090">
                  <c:v>-2.0426192999999999E-2</c:v>
                </c:pt>
                <c:pt idx="5091">
                  <c:v>-2.0478104E-2</c:v>
                </c:pt>
                <c:pt idx="5092">
                  <c:v>-2.0529367E-2</c:v>
                </c:pt>
                <c:pt idx="5093">
                  <c:v>-2.0580388000000002E-2</c:v>
                </c:pt>
                <c:pt idx="5094">
                  <c:v>-2.0632314999999998E-2</c:v>
                </c:pt>
                <c:pt idx="5095">
                  <c:v>-2.0681837000000002E-2</c:v>
                </c:pt>
                <c:pt idx="5096">
                  <c:v>-2.0733832000000001E-2</c:v>
                </c:pt>
                <c:pt idx="5097">
                  <c:v>-2.0786610000000001E-2</c:v>
                </c:pt>
                <c:pt idx="5098">
                  <c:v>-2.0836572000000001E-2</c:v>
                </c:pt>
                <c:pt idx="5099">
                  <c:v>-2.0888354000000001E-2</c:v>
                </c:pt>
                <c:pt idx="5100">
                  <c:v>-2.0940541999999999E-2</c:v>
                </c:pt>
                <c:pt idx="5101">
                  <c:v>-2.0992397999999999E-2</c:v>
                </c:pt>
                <c:pt idx="5102">
                  <c:v>-2.1043705999999999E-2</c:v>
                </c:pt>
                <c:pt idx="5103">
                  <c:v>-2.1095490000000001E-2</c:v>
                </c:pt>
                <c:pt idx="5104">
                  <c:v>-2.1147785999999998E-2</c:v>
                </c:pt>
                <c:pt idx="5105">
                  <c:v>-2.1198689E-2</c:v>
                </c:pt>
                <c:pt idx="5106">
                  <c:v>-2.1251224999999999E-2</c:v>
                </c:pt>
                <c:pt idx="5107">
                  <c:v>-2.1302918000000001E-2</c:v>
                </c:pt>
                <c:pt idx="5108">
                  <c:v>-2.1355300000000001E-2</c:v>
                </c:pt>
                <c:pt idx="5109">
                  <c:v>-2.1407665999999999E-2</c:v>
                </c:pt>
                <c:pt idx="5110">
                  <c:v>-2.1459362999999999E-2</c:v>
                </c:pt>
                <c:pt idx="5111">
                  <c:v>-2.1511456000000002E-2</c:v>
                </c:pt>
                <c:pt idx="5112">
                  <c:v>-2.1564551000000001E-2</c:v>
                </c:pt>
                <c:pt idx="5113">
                  <c:v>-2.1617148999999999E-2</c:v>
                </c:pt>
                <c:pt idx="5114">
                  <c:v>-2.1668953000000001E-2</c:v>
                </c:pt>
                <c:pt idx="5115">
                  <c:v>-2.1722361999999999E-2</c:v>
                </c:pt>
                <c:pt idx="5116">
                  <c:v>-2.1774549000000001E-2</c:v>
                </c:pt>
                <c:pt idx="5117">
                  <c:v>-2.1826886E-2</c:v>
                </c:pt>
                <c:pt idx="5118">
                  <c:v>-2.1880063000000002E-2</c:v>
                </c:pt>
                <c:pt idx="5119">
                  <c:v>-2.1932659E-2</c:v>
                </c:pt>
                <c:pt idx="5120">
                  <c:v>-2.1986034000000002E-2</c:v>
                </c:pt>
                <c:pt idx="5121">
                  <c:v>-2.2038889999999998E-2</c:v>
                </c:pt>
                <c:pt idx="5122">
                  <c:v>-2.2091546E-2</c:v>
                </c:pt>
                <c:pt idx="5123">
                  <c:v>-2.2145484E-2</c:v>
                </c:pt>
                <c:pt idx="5124">
                  <c:v>-2.2197639000000002E-2</c:v>
                </c:pt>
                <c:pt idx="5125">
                  <c:v>-2.2251837999999999E-2</c:v>
                </c:pt>
                <c:pt idx="5126">
                  <c:v>-2.2304663999999998E-2</c:v>
                </c:pt>
                <c:pt idx="5127">
                  <c:v>-2.2357984000000001E-2</c:v>
                </c:pt>
                <c:pt idx="5128">
                  <c:v>-2.2411799E-2</c:v>
                </c:pt>
                <c:pt idx="5129">
                  <c:v>-2.2464745000000001E-2</c:v>
                </c:pt>
                <c:pt idx="5130">
                  <c:v>-2.2517775E-2</c:v>
                </c:pt>
                <c:pt idx="5131">
                  <c:v>-2.2572437000000001E-2</c:v>
                </c:pt>
                <c:pt idx="5132">
                  <c:v>-2.2626414000000001E-2</c:v>
                </c:pt>
                <c:pt idx="5133">
                  <c:v>-2.2679924000000001E-2</c:v>
                </c:pt>
                <c:pt idx="5134">
                  <c:v>-2.2733567999999999E-2</c:v>
                </c:pt>
                <c:pt idx="5135">
                  <c:v>-2.2787707000000001E-2</c:v>
                </c:pt>
                <c:pt idx="5136">
                  <c:v>-2.2842202999999998E-2</c:v>
                </c:pt>
                <c:pt idx="5137">
                  <c:v>-2.2895465E-2</c:v>
                </c:pt>
                <c:pt idx="5138">
                  <c:v>-2.2950041000000001E-2</c:v>
                </c:pt>
                <c:pt idx="5139">
                  <c:v>-2.3003794000000001E-2</c:v>
                </c:pt>
                <c:pt idx="5140">
                  <c:v>-2.3056895000000001E-2</c:v>
                </c:pt>
                <c:pt idx="5141">
                  <c:v>-2.3111959000000001E-2</c:v>
                </c:pt>
                <c:pt idx="5142">
                  <c:v>-2.3167058000000001E-2</c:v>
                </c:pt>
                <c:pt idx="5143">
                  <c:v>-2.3220877000000001E-2</c:v>
                </c:pt>
                <c:pt idx="5144">
                  <c:v>-2.3275190000000001E-2</c:v>
                </c:pt>
                <c:pt idx="5145">
                  <c:v>-2.3329856999999999E-2</c:v>
                </c:pt>
                <c:pt idx="5146">
                  <c:v>-2.3385570000000001E-2</c:v>
                </c:pt>
                <c:pt idx="5147">
                  <c:v>-2.3439913E-2</c:v>
                </c:pt>
                <c:pt idx="5148">
                  <c:v>-2.3494228999999998E-2</c:v>
                </c:pt>
                <c:pt idx="5149">
                  <c:v>-2.3549562E-2</c:v>
                </c:pt>
                <c:pt idx="5150">
                  <c:v>-2.3604342E-2</c:v>
                </c:pt>
                <c:pt idx="5151">
                  <c:v>-2.3659617000000001E-2</c:v>
                </c:pt>
                <c:pt idx="5152">
                  <c:v>-2.3713871000000001E-2</c:v>
                </c:pt>
                <c:pt idx="5153">
                  <c:v>-2.3769818000000002E-2</c:v>
                </c:pt>
                <c:pt idx="5154">
                  <c:v>-2.3824073000000001E-2</c:v>
                </c:pt>
                <c:pt idx="5155">
                  <c:v>-2.3879662999999999E-2</c:v>
                </c:pt>
                <c:pt idx="5156">
                  <c:v>-2.3935725000000001E-2</c:v>
                </c:pt>
                <c:pt idx="5157">
                  <c:v>-2.3990332E-2</c:v>
                </c:pt>
                <c:pt idx="5158">
                  <c:v>-2.4045199E-2</c:v>
                </c:pt>
                <c:pt idx="5159">
                  <c:v>-2.4100989E-2</c:v>
                </c:pt>
                <c:pt idx="5160">
                  <c:v>-2.4156525000000002E-2</c:v>
                </c:pt>
                <c:pt idx="5161">
                  <c:v>-2.4212474000000001E-2</c:v>
                </c:pt>
                <c:pt idx="5162">
                  <c:v>-2.4267967000000001E-2</c:v>
                </c:pt>
                <c:pt idx="5163">
                  <c:v>-2.4324262999999999E-2</c:v>
                </c:pt>
                <c:pt idx="5164">
                  <c:v>-2.4379919E-2</c:v>
                </c:pt>
                <c:pt idx="5165">
                  <c:v>-2.4435439999999999E-2</c:v>
                </c:pt>
                <c:pt idx="5166">
                  <c:v>-2.4491766000000002E-2</c:v>
                </c:pt>
                <c:pt idx="5167">
                  <c:v>-2.4548589999999999E-2</c:v>
                </c:pt>
                <c:pt idx="5168">
                  <c:v>-2.460422E-2</c:v>
                </c:pt>
                <c:pt idx="5169">
                  <c:v>-2.4659848000000002E-2</c:v>
                </c:pt>
                <c:pt idx="5170">
                  <c:v>-2.4716221999999999E-2</c:v>
                </c:pt>
                <c:pt idx="5171">
                  <c:v>-2.4773013999999999E-2</c:v>
                </c:pt>
                <c:pt idx="5172">
                  <c:v>-2.4829079E-2</c:v>
                </c:pt>
                <c:pt idx="5173">
                  <c:v>-2.4886047000000001E-2</c:v>
                </c:pt>
                <c:pt idx="5174">
                  <c:v>-2.4942623000000001E-2</c:v>
                </c:pt>
                <c:pt idx="5175">
                  <c:v>-2.4998803E-2</c:v>
                </c:pt>
                <c:pt idx="5176">
                  <c:v>-2.5054748000000002E-2</c:v>
                </c:pt>
                <c:pt idx="5177">
                  <c:v>-2.511184E-2</c:v>
                </c:pt>
                <c:pt idx="5178">
                  <c:v>-2.5169265E-2</c:v>
                </c:pt>
                <c:pt idx="5179">
                  <c:v>-2.5225403E-2</c:v>
                </c:pt>
                <c:pt idx="5180">
                  <c:v>-2.5282608000000002E-2</c:v>
                </c:pt>
                <c:pt idx="5181">
                  <c:v>-2.533933E-2</c:v>
                </c:pt>
                <c:pt idx="5182">
                  <c:v>-2.5396634000000001E-2</c:v>
                </c:pt>
                <c:pt idx="5183">
                  <c:v>-2.5453617000000001E-2</c:v>
                </c:pt>
                <c:pt idx="5184">
                  <c:v>-2.5511756E-2</c:v>
                </c:pt>
                <c:pt idx="5185">
                  <c:v>-2.5568034999999999E-2</c:v>
                </c:pt>
                <c:pt idx="5186">
                  <c:v>-2.5625304000000002E-2</c:v>
                </c:pt>
                <c:pt idx="5187">
                  <c:v>-2.5683218000000001E-2</c:v>
                </c:pt>
                <c:pt idx="5188">
                  <c:v>-2.5740662000000001E-2</c:v>
                </c:pt>
                <c:pt idx="5189">
                  <c:v>-2.5798107000000001E-2</c:v>
                </c:pt>
                <c:pt idx="5190">
                  <c:v>-2.5855815000000001E-2</c:v>
                </c:pt>
                <c:pt idx="5191">
                  <c:v>-2.5912963000000001E-2</c:v>
                </c:pt>
                <c:pt idx="5192">
                  <c:v>-2.5971167E-2</c:v>
                </c:pt>
                <c:pt idx="5193">
                  <c:v>-2.6029079E-2</c:v>
                </c:pt>
                <c:pt idx="5194">
                  <c:v>-2.6086989000000001E-2</c:v>
                </c:pt>
                <c:pt idx="5195">
                  <c:v>-2.6143838999999999E-2</c:v>
                </c:pt>
                <c:pt idx="5196">
                  <c:v>-2.6202743000000001E-2</c:v>
                </c:pt>
                <c:pt idx="5197">
                  <c:v>-2.6261087999999998E-2</c:v>
                </c:pt>
                <c:pt idx="5198">
                  <c:v>-2.6318293999999999E-2</c:v>
                </c:pt>
                <c:pt idx="5199">
                  <c:v>-2.6376903E-2</c:v>
                </c:pt>
                <c:pt idx="5200">
                  <c:v>-2.6435178E-2</c:v>
                </c:pt>
                <c:pt idx="5201">
                  <c:v>-2.6493724E-2</c:v>
                </c:pt>
                <c:pt idx="5202">
                  <c:v>-2.6552365000000001E-2</c:v>
                </c:pt>
                <c:pt idx="5203">
                  <c:v>-2.6610267E-2</c:v>
                </c:pt>
                <c:pt idx="5204">
                  <c:v>-2.6669576E-2</c:v>
                </c:pt>
                <c:pt idx="5205">
                  <c:v>-2.6727740999999999E-2</c:v>
                </c:pt>
                <c:pt idx="5206">
                  <c:v>-2.6786658000000001E-2</c:v>
                </c:pt>
                <c:pt idx="5207">
                  <c:v>-2.6844538000000001E-2</c:v>
                </c:pt>
                <c:pt idx="5208">
                  <c:v>-2.6903867000000001E-2</c:v>
                </c:pt>
                <c:pt idx="5209">
                  <c:v>-2.6962963E-2</c:v>
                </c:pt>
                <c:pt idx="5210">
                  <c:v>-2.7021460000000001E-2</c:v>
                </c:pt>
                <c:pt idx="5211">
                  <c:v>-2.7080307000000001E-2</c:v>
                </c:pt>
                <c:pt idx="5212">
                  <c:v>-2.7139618000000001E-2</c:v>
                </c:pt>
                <c:pt idx="5213">
                  <c:v>-2.7199313999999999E-2</c:v>
                </c:pt>
                <c:pt idx="5214">
                  <c:v>-2.7258561000000001E-2</c:v>
                </c:pt>
                <c:pt idx="5215">
                  <c:v>-2.7317603999999999E-2</c:v>
                </c:pt>
                <c:pt idx="5216">
                  <c:v>-2.7376714999999999E-2</c:v>
                </c:pt>
                <c:pt idx="5217">
                  <c:v>-2.7436395999999998E-2</c:v>
                </c:pt>
                <c:pt idx="5218">
                  <c:v>-2.7495467999999999E-2</c:v>
                </c:pt>
                <c:pt idx="5219">
                  <c:v>-2.7554683999999999E-2</c:v>
                </c:pt>
                <c:pt idx="5220">
                  <c:v>-2.7615339999999999E-2</c:v>
                </c:pt>
                <c:pt idx="5221">
                  <c:v>-2.7674421000000001E-2</c:v>
                </c:pt>
                <c:pt idx="5222">
                  <c:v>-2.7734610999999999E-2</c:v>
                </c:pt>
                <c:pt idx="5223">
                  <c:v>-2.7794168000000001E-2</c:v>
                </c:pt>
                <c:pt idx="5224">
                  <c:v>-2.7853890999999999E-2</c:v>
                </c:pt>
                <c:pt idx="5225">
                  <c:v>-2.7913782000000002E-2</c:v>
                </c:pt>
                <c:pt idx="5226">
                  <c:v>-2.7973769999999998E-2</c:v>
                </c:pt>
                <c:pt idx="5227">
                  <c:v>-2.8033925000000001E-2</c:v>
                </c:pt>
                <c:pt idx="5228">
                  <c:v>-2.8094178000000001E-2</c:v>
                </c:pt>
                <c:pt idx="5229">
                  <c:v>-2.8154793000000001E-2</c:v>
                </c:pt>
                <c:pt idx="5230">
                  <c:v>-2.8215516E-2</c:v>
                </c:pt>
                <c:pt idx="5231">
                  <c:v>-2.8275666000000001E-2</c:v>
                </c:pt>
                <c:pt idx="5232">
                  <c:v>-2.8335921999999999E-2</c:v>
                </c:pt>
                <c:pt idx="5233">
                  <c:v>-2.8396338E-2</c:v>
                </c:pt>
                <c:pt idx="5234">
                  <c:v>-2.8456193000000001E-2</c:v>
                </c:pt>
                <c:pt idx="5235">
                  <c:v>-2.8517939999999999E-2</c:v>
                </c:pt>
                <c:pt idx="5236">
                  <c:v>-2.8578058999999999E-2</c:v>
                </c:pt>
                <c:pt idx="5237">
                  <c:v>-2.8639207999999999E-2</c:v>
                </c:pt>
                <c:pt idx="5238">
                  <c:v>-2.8699926000000001E-2</c:v>
                </c:pt>
                <c:pt idx="5239">
                  <c:v>-2.8760807999999999E-2</c:v>
                </c:pt>
                <c:pt idx="5240">
                  <c:v>-2.8821657000000001E-2</c:v>
                </c:pt>
                <c:pt idx="5241">
                  <c:v>-2.8883004E-2</c:v>
                </c:pt>
                <c:pt idx="5242">
                  <c:v>-2.8944054E-2</c:v>
                </c:pt>
                <c:pt idx="5243">
                  <c:v>-2.9005528999999999E-2</c:v>
                </c:pt>
                <c:pt idx="5244">
                  <c:v>-2.9066112000000002E-2</c:v>
                </c:pt>
                <c:pt idx="5245">
                  <c:v>-2.9128055999999999E-2</c:v>
                </c:pt>
                <c:pt idx="5246">
                  <c:v>-2.9189304999999999E-2</c:v>
                </c:pt>
                <c:pt idx="5247">
                  <c:v>-2.9251243999999999E-2</c:v>
                </c:pt>
                <c:pt idx="5248">
                  <c:v>-2.9311757000000001E-2</c:v>
                </c:pt>
                <c:pt idx="5249">
                  <c:v>-2.9374358999999999E-2</c:v>
                </c:pt>
                <c:pt idx="5250">
                  <c:v>-2.9435282E-2</c:v>
                </c:pt>
                <c:pt idx="5251">
                  <c:v>-2.9497083E-2</c:v>
                </c:pt>
                <c:pt idx="5252">
                  <c:v>-2.9559528000000002E-2</c:v>
                </c:pt>
                <c:pt idx="5253">
                  <c:v>-2.9620130000000001E-2</c:v>
                </c:pt>
                <c:pt idx="5254">
                  <c:v>-2.968324E-2</c:v>
                </c:pt>
                <c:pt idx="5255">
                  <c:v>-2.9744502999999999E-2</c:v>
                </c:pt>
                <c:pt idx="5256">
                  <c:v>-2.9806811999999999E-2</c:v>
                </c:pt>
                <c:pt idx="5257">
                  <c:v>-2.9869011000000001E-2</c:v>
                </c:pt>
                <c:pt idx="5258">
                  <c:v>-2.9930854E-2</c:v>
                </c:pt>
                <c:pt idx="5259">
                  <c:v>-2.9992983000000001E-2</c:v>
                </c:pt>
                <c:pt idx="5260">
                  <c:v>-3.0056222E-2</c:v>
                </c:pt>
                <c:pt idx="5261">
                  <c:v>-3.0118617E-2</c:v>
                </c:pt>
                <c:pt idx="5262">
                  <c:v>-3.0180993E-2</c:v>
                </c:pt>
                <c:pt idx="5263">
                  <c:v>-3.0243318000000002E-2</c:v>
                </c:pt>
                <c:pt idx="5264">
                  <c:v>-3.0305408999999998E-2</c:v>
                </c:pt>
                <c:pt idx="5265">
                  <c:v>-3.0369680999999999E-2</c:v>
                </c:pt>
                <c:pt idx="5266">
                  <c:v>-3.0431304999999999E-2</c:v>
                </c:pt>
                <c:pt idx="5267">
                  <c:v>-3.0494555999999999E-2</c:v>
                </c:pt>
                <c:pt idx="5268">
                  <c:v>-3.055627E-2</c:v>
                </c:pt>
                <c:pt idx="5269">
                  <c:v>-3.0620299E-2</c:v>
                </c:pt>
                <c:pt idx="5270">
                  <c:v>-3.0683802999999999E-2</c:v>
                </c:pt>
                <c:pt idx="5271">
                  <c:v>-3.0745389000000001E-2</c:v>
                </c:pt>
                <c:pt idx="5272">
                  <c:v>-3.0809497000000002E-2</c:v>
                </c:pt>
                <c:pt idx="5273">
                  <c:v>-3.0872253999999998E-2</c:v>
                </c:pt>
                <c:pt idx="5274">
                  <c:v>-3.0935165000000001E-2</c:v>
                </c:pt>
                <c:pt idx="5275">
                  <c:v>-3.0999142E-2</c:v>
                </c:pt>
                <c:pt idx="5276">
                  <c:v>-3.1063394000000001E-2</c:v>
                </c:pt>
                <c:pt idx="5277">
                  <c:v>-3.1126339999999999E-2</c:v>
                </c:pt>
                <c:pt idx="5278">
                  <c:v>-3.1189616999999999E-2</c:v>
                </c:pt>
                <c:pt idx="5279">
                  <c:v>-3.1253393999999997E-2</c:v>
                </c:pt>
                <c:pt idx="5280">
                  <c:v>-3.1318009000000001E-2</c:v>
                </c:pt>
                <c:pt idx="5281">
                  <c:v>-3.1380814E-2</c:v>
                </c:pt>
                <c:pt idx="5282">
                  <c:v>-3.144479E-2</c:v>
                </c:pt>
                <c:pt idx="5283">
                  <c:v>-3.1508934000000002E-2</c:v>
                </c:pt>
                <c:pt idx="5284">
                  <c:v>-3.1572782000000001E-2</c:v>
                </c:pt>
                <c:pt idx="5285">
                  <c:v>-3.1636286999999999E-2</c:v>
                </c:pt>
                <c:pt idx="5286">
                  <c:v>-3.1701023000000002E-2</c:v>
                </c:pt>
                <c:pt idx="5287">
                  <c:v>-3.1765363999999997E-2</c:v>
                </c:pt>
                <c:pt idx="5288">
                  <c:v>-3.1829403999999999E-2</c:v>
                </c:pt>
                <c:pt idx="5289">
                  <c:v>-3.1893942000000002E-2</c:v>
                </c:pt>
                <c:pt idx="5290">
                  <c:v>-3.1958317999999999E-2</c:v>
                </c:pt>
                <c:pt idx="5291">
                  <c:v>-3.2023016000000001E-2</c:v>
                </c:pt>
                <c:pt idx="5292">
                  <c:v>-3.2087427000000002E-2</c:v>
                </c:pt>
                <c:pt idx="5293">
                  <c:v>-3.2151763999999999E-2</c:v>
                </c:pt>
                <c:pt idx="5294">
                  <c:v>-3.2215919000000003E-2</c:v>
                </c:pt>
                <c:pt idx="5295">
                  <c:v>-3.2280940000000001E-2</c:v>
                </c:pt>
                <c:pt idx="5296">
                  <c:v>-3.2346434E-2</c:v>
                </c:pt>
                <c:pt idx="5297">
                  <c:v>-3.2411044E-2</c:v>
                </c:pt>
                <c:pt idx="5298">
                  <c:v>-3.2475730000000001E-2</c:v>
                </c:pt>
                <c:pt idx="5299">
                  <c:v>-3.2540369999999999E-2</c:v>
                </c:pt>
                <c:pt idx="5300">
                  <c:v>-3.2605663E-2</c:v>
                </c:pt>
                <c:pt idx="5301">
                  <c:v>-3.2671063E-2</c:v>
                </c:pt>
                <c:pt idx="5302">
                  <c:v>-3.2736368000000002E-2</c:v>
                </c:pt>
                <c:pt idx="5303">
                  <c:v>-3.2802086000000001E-2</c:v>
                </c:pt>
                <c:pt idx="5304">
                  <c:v>-3.2867760000000003E-2</c:v>
                </c:pt>
                <c:pt idx="5305">
                  <c:v>-3.2932277000000003E-2</c:v>
                </c:pt>
                <c:pt idx="5306">
                  <c:v>-3.2998026E-2</c:v>
                </c:pt>
                <c:pt idx="5307">
                  <c:v>-3.3063393000000003E-2</c:v>
                </c:pt>
                <c:pt idx="5308">
                  <c:v>-3.3129016999999997E-2</c:v>
                </c:pt>
                <c:pt idx="5309">
                  <c:v>-3.3194651999999998E-2</c:v>
                </c:pt>
                <c:pt idx="5310">
                  <c:v>-3.3260248999999999E-2</c:v>
                </c:pt>
                <c:pt idx="5311">
                  <c:v>-3.3326980999999999E-2</c:v>
                </c:pt>
                <c:pt idx="5312">
                  <c:v>-3.3392651000000002E-2</c:v>
                </c:pt>
                <c:pt idx="5313">
                  <c:v>-3.3459355000000003E-2</c:v>
                </c:pt>
                <c:pt idx="5314">
                  <c:v>-3.3524949999999998E-2</c:v>
                </c:pt>
                <c:pt idx="5315">
                  <c:v>-3.3590796999999999E-2</c:v>
                </c:pt>
                <c:pt idx="5316">
                  <c:v>-3.3657534000000003E-2</c:v>
                </c:pt>
                <c:pt idx="5317">
                  <c:v>-3.3722773999999997E-2</c:v>
                </c:pt>
                <c:pt idx="5318">
                  <c:v>-3.3789777999999999E-2</c:v>
                </c:pt>
                <c:pt idx="5319">
                  <c:v>-3.3855768000000001E-2</c:v>
                </c:pt>
                <c:pt idx="5320">
                  <c:v>-3.3921822999999997E-2</c:v>
                </c:pt>
                <c:pt idx="5321">
                  <c:v>-3.3988606999999997E-2</c:v>
                </c:pt>
                <c:pt idx="5322">
                  <c:v>-3.4055272999999997E-2</c:v>
                </c:pt>
                <c:pt idx="5323">
                  <c:v>-3.4121842999999999E-2</c:v>
                </c:pt>
                <c:pt idx="5324">
                  <c:v>-3.4188523999999998E-2</c:v>
                </c:pt>
                <c:pt idx="5325">
                  <c:v>-3.4255615000000003E-2</c:v>
                </c:pt>
                <c:pt idx="5326">
                  <c:v>-3.4322563E-2</c:v>
                </c:pt>
                <c:pt idx="5327">
                  <c:v>-3.4389066000000003E-2</c:v>
                </c:pt>
                <c:pt idx="5328">
                  <c:v>-3.4456925999999999E-2</c:v>
                </c:pt>
                <c:pt idx="5329">
                  <c:v>-3.4523907E-2</c:v>
                </c:pt>
                <c:pt idx="5330">
                  <c:v>-3.4590053000000003E-2</c:v>
                </c:pt>
                <c:pt idx="5331">
                  <c:v>-3.4657603000000002E-2</c:v>
                </c:pt>
                <c:pt idx="5332">
                  <c:v>-3.4725482000000002E-2</c:v>
                </c:pt>
                <c:pt idx="5333">
                  <c:v>-3.4792652E-2</c:v>
                </c:pt>
                <c:pt idx="5334">
                  <c:v>-3.4859115000000003E-2</c:v>
                </c:pt>
                <c:pt idx="5335">
                  <c:v>-3.4927413999999997E-2</c:v>
                </c:pt>
                <c:pt idx="5336">
                  <c:v>-3.4994617999999998E-2</c:v>
                </c:pt>
                <c:pt idx="5337">
                  <c:v>-3.5062930999999999E-2</c:v>
                </c:pt>
                <c:pt idx="5338">
                  <c:v>-3.5130915999999998E-2</c:v>
                </c:pt>
                <c:pt idx="5339">
                  <c:v>-3.5198541999999999E-2</c:v>
                </c:pt>
                <c:pt idx="5340">
                  <c:v>-3.5266280999999997E-2</c:v>
                </c:pt>
                <c:pt idx="5341">
                  <c:v>-3.5334175000000002E-2</c:v>
                </c:pt>
                <c:pt idx="5342">
                  <c:v>-3.5402304000000002E-2</c:v>
                </c:pt>
                <c:pt idx="5343">
                  <c:v>-3.5470423000000001E-2</c:v>
                </c:pt>
                <c:pt idx="5344">
                  <c:v>-3.5539084999999998E-2</c:v>
                </c:pt>
                <c:pt idx="5345">
                  <c:v>-3.5607633E-2</c:v>
                </c:pt>
                <c:pt idx="5346">
                  <c:v>-3.5674626000000001E-2</c:v>
                </c:pt>
                <c:pt idx="5347">
                  <c:v>-3.5742666999999999E-2</c:v>
                </c:pt>
                <c:pt idx="5348">
                  <c:v>-3.5811246999999997E-2</c:v>
                </c:pt>
                <c:pt idx="5349">
                  <c:v>-3.5880170000000003E-2</c:v>
                </c:pt>
                <c:pt idx="5350">
                  <c:v>-3.5949285999999997E-2</c:v>
                </c:pt>
                <c:pt idx="5351">
                  <c:v>-3.6017512000000002E-2</c:v>
                </c:pt>
                <c:pt idx="5352">
                  <c:v>-3.6086394000000001E-2</c:v>
                </c:pt>
                <c:pt idx="5353">
                  <c:v>-3.6154538E-2</c:v>
                </c:pt>
                <c:pt idx="5354">
                  <c:v>-3.6223531000000003E-2</c:v>
                </c:pt>
                <c:pt idx="5355">
                  <c:v>-3.6293023000000001E-2</c:v>
                </c:pt>
                <c:pt idx="5356">
                  <c:v>-3.6361472999999998E-2</c:v>
                </c:pt>
                <c:pt idx="5357">
                  <c:v>-3.6430497999999999E-2</c:v>
                </c:pt>
                <c:pt idx="5358">
                  <c:v>-3.6499674000000003E-2</c:v>
                </c:pt>
                <c:pt idx="5359">
                  <c:v>-3.6568397000000002E-2</c:v>
                </c:pt>
                <c:pt idx="5360">
                  <c:v>-3.6637839999999998E-2</c:v>
                </c:pt>
                <c:pt idx="5361">
                  <c:v>-3.6707398000000002E-2</c:v>
                </c:pt>
                <c:pt idx="5362">
                  <c:v>-3.6776758E-2</c:v>
                </c:pt>
                <c:pt idx="5363">
                  <c:v>-3.6846476000000003E-2</c:v>
                </c:pt>
                <c:pt idx="5364">
                  <c:v>-3.6915717000000001E-2</c:v>
                </c:pt>
                <c:pt idx="5365">
                  <c:v>-3.6985809000000001E-2</c:v>
                </c:pt>
                <c:pt idx="5366">
                  <c:v>-3.7054758E-2</c:v>
                </c:pt>
                <c:pt idx="5367">
                  <c:v>-3.7124486999999998E-2</c:v>
                </c:pt>
                <c:pt idx="5368">
                  <c:v>-3.7194893E-2</c:v>
                </c:pt>
                <c:pt idx="5369">
                  <c:v>-3.7264885999999997E-2</c:v>
                </c:pt>
                <c:pt idx="5370">
                  <c:v>-3.7334475999999998E-2</c:v>
                </c:pt>
                <c:pt idx="5371">
                  <c:v>-3.7404283000000003E-2</c:v>
                </c:pt>
                <c:pt idx="5372">
                  <c:v>-3.7474207000000002E-2</c:v>
                </c:pt>
                <c:pt idx="5373">
                  <c:v>-3.7544347999999998E-2</c:v>
                </c:pt>
                <c:pt idx="5374">
                  <c:v>-3.7614023000000003E-2</c:v>
                </c:pt>
                <c:pt idx="5375">
                  <c:v>-3.7685899000000002E-2</c:v>
                </c:pt>
                <c:pt idx="5376">
                  <c:v>-3.7755271E-2</c:v>
                </c:pt>
                <c:pt idx="5377">
                  <c:v>-3.7825527999999997E-2</c:v>
                </c:pt>
                <c:pt idx="5378">
                  <c:v>-3.7896539999999999E-2</c:v>
                </c:pt>
                <c:pt idx="5379">
                  <c:v>-3.7966648999999998E-2</c:v>
                </c:pt>
                <c:pt idx="5380">
                  <c:v>-3.8037385E-2</c:v>
                </c:pt>
                <c:pt idx="5381">
                  <c:v>-3.8108525999999997E-2</c:v>
                </c:pt>
                <c:pt idx="5382">
                  <c:v>-3.8179786E-2</c:v>
                </c:pt>
                <c:pt idx="5383">
                  <c:v>-3.8249724999999998E-2</c:v>
                </c:pt>
                <c:pt idx="5384">
                  <c:v>-3.8320898999999999E-2</c:v>
                </c:pt>
                <c:pt idx="5385">
                  <c:v>-3.8392574999999998E-2</c:v>
                </c:pt>
                <c:pt idx="5386">
                  <c:v>-3.8463252000000003E-2</c:v>
                </c:pt>
                <c:pt idx="5387">
                  <c:v>-3.853446E-2</c:v>
                </c:pt>
                <c:pt idx="5388">
                  <c:v>-3.8604788000000001E-2</c:v>
                </c:pt>
                <c:pt idx="5389">
                  <c:v>-3.8676263000000002E-2</c:v>
                </c:pt>
                <c:pt idx="5390">
                  <c:v>-3.8747856999999997E-2</c:v>
                </c:pt>
                <c:pt idx="5391">
                  <c:v>-3.8820038000000001E-2</c:v>
                </c:pt>
                <c:pt idx="5392">
                  <c:v>-3.8891079000000002E-2</c:v>
                </c:pt>
                <c:pt idx="5393">
                  <c:v>-3.8962438000000002E-2</c:v>
                </c:pt>
                <c:pt idx="5394">
                  <c:v>-3.9033831999999997E-2</c:v>
                </c:pt>
                <c:pt idx="5395">
                  <c:v>-3.9105810999999997E-2</c:v>
                </c:pt>
                <c:pt idx="5396">
                  <c:v>-3.9176819000000002E-2</c:v>
                </c:pt>
                <c:pt idx="5397">
                  <c:v>-3.9249280999999997E-2</c:v>
                </c:pt>
                <c:pt idx="5398">
                  <c:v>-3.9321564000000003E-2</c:v>
                </c:pt>
                <c:pt idx="5399">
                  <c:v>-3.9392985999999998E-2</c:v>
                </c:pt>
                <c:pt idx="5400">
                  <c:v>-3.9465262000000001E-2</c:v>
                </c:pt>
                <c:pt idx="5401">
                  <c:v>-3.9536791000000002E-2</c:v>
                </c:pt>
                <c:pt idx="5402">
                  <c:v>-3.9609308000000003E-2</c:v>
                </c:pt>
                <c:pt idx="5403">
                  <c:v>-3.9681995999999997E-2</c:v>
                </c:pt>
                <c:pt idx="5404">
                  <c:v>-3.9754069000000003E-2</c:v>
                </c:pt>
                <c:pt idx="5405">
                  <c:v>-3.9826566000000001E-2</c:v>
                </c:pt>
                <c:pt idx="5406">
                  <c:v>-3.9898524999999997E-2</c:v>
                </c:pt>
                <c:pt idx="5407">
                  <c:v>-3.9972331E-2</c:v>
                </c:pt>
                <c:pt idx="5408">
                  <c:v>-4.0044202000000001E-2</c:v>
                </c:pt>
                <c:pt idx="5409">
                  <c:v>-4.0116573000000003E-2</c:v>
                </c:pt>
                <c:pt idx="5410">
                  <c:v>-4.0189444999999997E-2</c:v>
                </c:pt>
                <c:pt idx="5411">
                  <c:v>-4.0262058000000003E-2</c:v>
                </c:pt>
                <c:pt idx="5412">
                  <c:v>-4.0335194999999997E-2</c:v>
                </c:pt>
                <c:pt idx="5413">
                  <c:v>-4.0408027999999999E-2</c:v>
                </c:pt>
                <c:pt idx="5414">
                  <c:v>-4.0481051999999997E-2</c:v>
                </c:pt>
                <c:pt idx="5415">
                  <c:v>-4.0555312000000003E-2</c:v>
                </c:pt>
                <c:pt idx="5416">
                  <c:v>-4.0627443999999999E-2</c:v>
                </c:pt>
                <c:pt idx="5417">
                  <c:v>-4.0700567E-2</c:v>
                </c:pt>
                <c:pt idx="5418">
                  <c:v>-4.0774058000000002E-2</c:v>
                </c:pt>
                <c:pt idx="5419">
                  <c:v>-4.0847693999999997E-2</c:v>
                </c:pt>
                <c:pt idx="5420">
                  <c:v>-4.0921160999999998E-2</c:v>
                </c:pt>
                <c:pt idx="5421">
                  <c:v>-4.0994015000000002E-2</c:v>
                </c:pt>
                <c:pt idx="5422">
                  <c:v>-4.1068084999999997E-2</c:v>
                </c:pt>
                <c:pt idx="5423">
                  <c:v>-4.1140911000000002E-2</c:v>
                </c:pt>
                <c:pt idx="5424">
                  <c:v>-4.121594E-2</c:v>
                </c:pt>
                <c:pt idx="5425">
                  <c:v>-4.1289030999999997E-2</c:v>
                </c:pt>
                <c:pt idx="5426">
                  <c:v>-4.136248E-2</c:v>
                </c:pt>
                <c:pt idx="5427">
                  <c:v>-4.1436868000000002E-2</c:v>
                </c:pt>
                <c:pt idx="5428">
                  <c:v>-4.1511022000000002E-2</c:v>
                </c:pt>
                <c:pt idx="5429">
                  <c:v>-4.1585299999999999E-2</c:v>
                </c:pt>
                <c:pt idx="5430">
                  <c:v>-4.1659399999999999E-2</c:v>
                </c:pt>
                <c:pt idx="5431">
                  <c:v>-4.1733209E-2</c:v>
                </c:pt>
                <c:pt idx="5432">
                  <c:v>-4.1807160000000003E-2</c:v>
                </c:pt>
                <c:pt idx="5433">
                  <c:v>-4.1881648E-2</c:v>
                </c:pt>
                <c:pt idx="5434">
                  <c:v>-4.1957300000000003E-2</c:v>
                </c:pt>
                <c:pt idx="5435">
                  <c:v>-4.2031264999999998E-2</c:v>
                </c:pt>
                <c:pt idx="5436">
                  <c:v>-4.2104637E-2</c:v>
                </c:pt>
                <c:pt idx="5437">
                  <c:v>-4.2179980999999998E-2</c:v>
                </c:pt>
                <c:pt idx="5438">
                  <c:v>-4.2255518999999998E-2</c:v>
                </c:pt>
                <c:pt idx="5439">
                  <c:v>-4.2329692000000002E-2</c:v>
                </c:pt>
                <c:pt idx="5440">
                  <c:v>-4.2404707999999999E-2</c:v>
                </c:pt>
                <c:pt idx="5441">
                  <c:v>-4.2479849E-2</c:v>
                </c:pt>
                <c:pt idx="5442">
                  <c:v>-4.2554788000000003E-2</c:v>
                </c:pt>
                <c:pt idx="5443">
                  <c:v>-4.2630148E-2</c:v>
                </c:pt>
                <c:pt idx="5444">
                  <c:v>-4.2704961999999999E-2</c:v>
                </c:pt>
                <c:pt idx="5445">
                  <c:v>-4.2780308000000003E-2</c:v>
                </c:pt>
                <c:pt idx="5446">
                  <c:v>-4.2855777999999997E-2</c:v>
                </c:pt>
                <c:pt idx="5447">
                  <c:v>-4.2930623000000001E-2</c:v>
                </c:pt>
                <c:pt idx="5448">
                  <c:v>-4.3006733999999998E-2</c:v>
                </c:pt>
                <c:pt idx="5449">
                  <c:v>-4.3081454999999998E-2</c:v>
                </c:pt>
                <c:pt idx="5450">
                  <c:v>-4.3157832E-2</c:v>
                </c:pt>
                <c:pt idx="5451">
                  <c:v>-4.3232861999999997E-2</c:v>
                </c:pt>
                <c:pt idx="5452">
                  <c:v>-4.3308365000000001E-2</c:v>
                </c:pt>
                <c:pt idx="5453">
                  <c:v>-4.3384396999999998E-2</c:v>
                </c:pt>
                <c:pt idx="5454">
                  <c:v>-4.3460487999999999E-2</c:v>
                </c:pt>
                <c:pt idx="5455">
                  <c:v>-4.3536423999999997E-2</c:v>
                </c:pt>
                <c:pt idx="5456">
                  <c:v>-4.3612485999999999E-2</c:v>
                </c:pt>
                <c:pt idx="5457">
                  <c:v>-4.3687951000000003E-2</c:v>
                </c:pt>
                <c:pt idx="5458">
                  <c:v>-4.3764976999999997E-2</c:v>
                </c:pt>
                <c:pt idx="5459">
                  <c:v>-4.3840695999999998E-2</c:v>
                </c:pt>
                <c:pt idx="5460">
                  <c:v>-4.3916552999999997E-2</c:v>
                </c:pt>
                <c:pt idx="5461">
                  <c:v>-4.3992174000000002E-2</c:v>
                </c:pt>
                <c:pt idx="5462">
                  <c:v>-4.4069767000000003E-2</c:v>
                </c:pt>
                <c:pt idx="5463">
                  <c:v>-4.4145983E-2</c:v>
                </c:pt>
                <c:pt idx="5464">
                  <c:v>-4.4222371000000003E-2</c:v>
                </c:pt>
                <c:pt idx="5465">
                  <c:v>-4.4298895999999997E-2</c:v>
                </c:pt>
                <c:pt idx="5466">
                  <c:v>-4.4376273000000001E-2</c:v>
                </c:pt>
                <c:pt idx="5467">
                  <c:v>-4.4452316999999998E-2</c:v>
                </c:pt>
                <c:pt idx="5468">
                  <c:v>-4.4529234000000001E-2</c:v>
                </c:pt>
                <c:pt idx="5469">
                  <c:v>-4.4607015E-2</c:v>
                </c:pt>
                <c:pt idx="5470">
                  <c:v>-4.4683451999999999E-2</c:v>
                </c:pt>
                <c:pt idx="5471">
                  <c:v>-4.4760762000000003E-2</c:v>
                </c:pt>
                <c:pt idx="5472">
                  <c:v>-4.4837836999999998E-2</c:v>
                </c:pt>
                <c:pt idx="5473">
                  <c:v>-4.4914667999999998E-2</c:v>
                </c:pt>
                <c:pt idx="5474">
                  <c:v>-4.4992380999999998E-2</c:v>
                </c:pt>
                <c:pt idx="5475">
                  <c:v>-4.5069484999999999E-2</c:v>
                </c:pt>
                <c:pt idx="5476">
                  <c:v>-4.5147066999999999E-2</c:v>
                </c:pt>
                <c:pt idx="5477">
                  <c:v>-4.5224430000000003E-2</c:v>
                </c:pt>
                <c:pt idx="5478">
                  <c:v>-4.5302665999999998E-2</c:v>
                </c:pt>
                <c:pt idx="5479">
                  <c:v>-4.5379971999999998E-2</c:v>
                </c:pt>
                <c:pt idx="5480">
                  <c:v>-4.5456980000000001E-2</c:v>
                </c:pt>
                <c:pt idx="5481">
                  <c:v>-4.5535245000000002E-2</c:v>
                </c:pt>
                <c:pt idx="5482">
                  <c:v>-4.5612903000000003E-2</c:v>
                </c:pt>
                <c:pt idx="5483">
                  <c:v>-4.5691062999999997E-2</c:v>
                </c:pt>
                <c:pt idx="5484">
                  <c:v>-4.5769376000000001E-2</c:v>
                </c:pt>
                <c:pt idx="5485">
                  <c:v>-4.5847064999999999E-2</c:v>
                </c:pt>
                <c:pt idx="5486">
                  <c:v>-4.5924883E-2</c:v>
                </c:pt>
                <c:pt idx="5487">
                  <c:v>-4.6002837999999997E-2</c:v>
                </c:pt>
                <c:pt idx="5488">
                  <c:v>-4.6080937000000002E-2</c:v>
                </c:pt>
                <c:pt idx="5489">
                  <c:v>-4.615992E-2</c:v>
                </c:pt>
                <c:pt idx="5490">
                  <c:v>-4.6238625999999998E-2</c:v>
                </c:pt>
                <c:pt idx="5491">
                  <c:v>-4.6317111000000001E-2</c:v>
                </c:pt>
                <c:pt idx="5492">
                  <c:v>-4.6396115000000002E-2</c:v>
                </c:pt>
                <c:pt idx="5493">
                  <c:v>-4.6474117000000002E-2</c:v>
                </c:pt>
                <c:pt idx="5494">
                  <c:v>-4.6552997999999998E-2</c:v>
                </c:pt>
                <c:pt idx="5495">
                  <c:v>-4.6631292999999997E-2</c:v>
                </c:pt>
                <c:pt idx="5496">
                  <c:v>-4.6710063000000003E-2</c:v>
                </c:pt>
                <c:pt idx="5497">
                  <c:v>-4.6789722999999998E-2</c:v>
                </c:pt>
                <c:pt idx="5498">
                  <c:v>-4.6868396999999999E-2</c:v>
                </c:pt>
                <c:pt idx="5499">
                  <c:v>-4.6948314999999997E-2</c:v>
                </c:pt>
                <c:pt idx="5500">
                  <c:v>-4.7026516999999997E-2</c:v>
                </c:pt>
                <c:pt idx="5501">
                  <c:v>-4.7105226E-2</c:v>
                </c:pt>
                <c:pt idx="5502">
                  <c:v>-4.7184432999999998E-2</c:v>
                </c:pt>
                <c:pt idx="5503">
                  <c:v>-4.7264136999999998E-2</c:v>
                </c:pt>
                <c:pt idx="5504">
                  <c:v>-4.7343610000000001E-2</c:v>
                </c:pt>
                <c:pt idx="5505">
                  <c:v>-4.7422845999999998E-2</c:v>
                </c:pt>
                <c:pt idx="5506">
                  <c:v>-4.7502946999999997E-2</c:v>
                </c:pt>
                <c:pt idx="5507">
                  <c:v>-4.7582079999999999E-2</c:v>
                </c:pt>
                <c:pt idx="5508">
                  <c:v>-4.7662446999999997E-2</c:v>
                </c:pt>
                <c:pt idx="5509">
                  <c:v>-4.774221E-2</c:v>
                </c:pt>
                <c:pt idx="5510">
                  <c:v>-4.7821735999999997E-2</c:v>
                </c:pt>
                <c:pt idx="5511">
                  <c:v>-4.7901764999999999E-2</c:v>
                </c:pt>
                <c:pt idx="5512">
                  <c:v>-4.7981557000000001E-2</c:v>
                </c:pt>
                <c:pt idx="5513">
                  <c:v>-4.8062214999999998E-2</c:v>
                </c:pt>
                <c:pt idx="5514">
                  <c:v>-4.8141538999999997E-2</c:v>
                </c:pt>
                <c:pt idx="5515">
                  <c:v>-4.8222457000000003E-2</c:v>
                </c:pt>
                <c:pt idx="5516">
                  <c:v>-4.8302047000000001E-2</c:v>
                </c:pt>
                <c:pt idx="5517">
                  <c:v>-4.8382117000000002E-2</c:v>
                </c:pt>
                <c:pt idx="5518">
                  <c:v>-4.8462707000000001E-2</c:v>
                </c:pt>
                <c:pt idx="5519">
                  <c:v>-4.8543791000000003E-2</c:v>
                </c:pt>
                <c:pt idx="5520">
                  <c:v>-4.8624268999999998E-2</c:v>
                </c:pt>
                <c:pt idx="5521">
                  <c:v>-4.8704879E-2</c:v>
                </c:pt>
                <c:pt idx="5522">
                  <c:v>-4.8785624E-2</c:v>
                </c:pt>
                <c:pt idx="5523">
                  <c:v>-4.8866499000000001E-2</c:v>
                </c:pt>
                <c:pt idx="5524">
                  <c:v>-4.8946771E-2</c:v>
                </c:pt>
                <c:pt idx="5525">
                  <c:v>-4.9027909000000001E-2</c:v>
                </c:pt>
                <c:pt idx="5526">
                  <c:v>-4.9109552000000001E-2</c:v>
                </c:pt>
                <c:pt idx="5527">
                  <c:v>-4.9189837E-2</c:v>
                </c:pt>
                <c:pt idx="5528">
                  <c:v>-4.9270992E-2</c:v>
                </c:pt>
                <c:pt idx="5529">
                  <c:v>-4.9352291E-2</c:v>
                </c:pt>
                <c:pt idx="5530">
                  <c:v>-4.9434089000000001E-2</c:v>
                </c:pt>
                <c:pt idx="5531">
                  <c:v>-4.9515656999999998E-2</c:v>
                </c:pt>
                <c:pt idx="5532">
                  <c:v>-4.9596599999999998E-2</c:v>
                </c:pt>
                <c:pt idx="5533">
                  <c:v>-4.9678079999999999E-2</c:v>
                </c:pt>
                <c:pt idx="5534">
                  <c:v>-4.9759285E-2</c:v>
                </c:pt>
                <c:pt idx="5535">
                  <c:v>-4.9842116999999998E-2</c:v>
                </c:pt>
                <c:pt idx="5536">
                  <c:v>-4.9922869000000002E-2</c:v>
                </c:pt>
                <c:pt idx="5537">
                  <c:v>-5.0005193000000003E-2</c:v>
                </c:pt>
                <c:pt idx="5538">
                  <c:v>-5.0087315E-2</c:v>
                </c:pt>
                <c:pt idx="5539">
                  <c:v>-5.0169202000000003E-2</c:v>
                </c:pt>
                <c:pt idx="5540">
                  <c:v>-5.0250455999999999E-2</c:v>
                </c:pt>
                <c:pt idx="5541">
                  <c:v>-5.0332961000000002E-2</c:v>
                </c:pt>
                <c:pt idx="5542">
                  <c:v>-5.0414527000000001E-2</c:v>
                </c:pt>
                <c:pt idx="5543">
                  <c:v>-5.0496922999999999E-2</c:v>
                </c:pt>
                <c:pt idx="5544">
                  <c:v>-5.0578708999999999E-2</c:v>
                </c:pt>
                <c:pt idx="5545">
                  <c:v>-5.0661739999999997E-2</c:v>
                </c:pt>
                <c:pt idx="5546">
                  <c:v>-5.0744551999999998E-2</c:v>
                </c:pt>
                <c:pt idx="5547">
                  <c:v>-5.0827099000000001E-2</c:v>
                </c:pt>
                <c:pt idx="5548">
                  <c:v>-5.0909448000000003E-2</c:v>
                </c:pt>
                <c:pt idx="5549">
                  <c:v>-5.0991893000000003E-2</c:v>
                </c:pt>
                <c:pt idx="5550">
                  <c:v>-5.1075211000000002E-2</c:v>
                </c:pt>
                <c:pt idx="5551">
                  <c:v>-5.1157950000000001E-2</c:v>
                </c:pt>
                <c:pt idx="5552">
                  <c:v>-5.1240398999999999E-2</c:v>
                </c:pt>
                <c:pt idx="5553">
                  <c:v>-5.1322663999999997E-2</c:v>
                </c:pt>
                <c:pt idx="5554">
                  <c:v>-5.1407241999999999E-2</c:v>
                </c:pt>
                <c:pt idx="5555">
                  <c:v>-5.1489781999999998E-2</c:v>
                </c:pt>
                <c:pt idx="5556">
                  <c:v>-5.1572787000000002E-2</c:v>
                </c:pt>
                <c:pt idx="5557">
                  <c:v>-5.1655917000000003E-2</c:v>
                </c:pt>
                <c:pt idx="5558">
                  <c:v>-5.1739883E-2</c:v>
                </c:pt>
                <c:pt idx="5559">
                  <c:v>-5.1822923999999999E-2</c:v>
                </c:pt>
                <c:pt idx="5560">
                  <c:v>-5.1906451999999999E-2</c:v>
                </c:pt>
                <c:pt idx="5561">
                  <c:v>-5.1989780999999999E-2</c:v>
                </c:pt>
                <c:pt idx="5562">
                  <c:v>-5.2073583999999999E-2</c:v>
                </c:pt>
                <c:pt idx="5563">
                  <c:v>-5.2156802000000002E-2</c:v>
                </c:pt>
                <c:pt idx="5564">
                  <c:v>-5.2240423000000001E-2</c:v>
                </c:pt>
                <c:pt idx="5565">
                  <c:v>-5.2324249000000003E-2</c:v>
                </c:pt>
                <c:pt idx="5566">
                  <c:v>-5.2408618999999997E-2</c:v>
                </c:pt>
                <c:pt idx="5567">
                  <c:v>-5.2493069000000003E-2</c:v>
                </c:pt>
                <c:pt idx="5568">
                  <c:v>-5.2576183999999998E-2</c:v>
                </c:pt>
                <c:pt idx="5569">
                  <c:v>-5.2660129E-2</c:v>
                </c:pt>
                <c:pt idx="5570">
                  <c:v>-5.2745354000000001E-2</c:v>
                </c:pt>
                <c:pt idx="5571">
                  <c:v>-5.2829228999999998E-2</c:v>
                </c:pt>
                <c:pt idx="5572">
                  <c:v>-5.2913242999999999E-2</c:v>
                </c:pt>
                <c:pt idx="5573">
                  <c:v>-5.2997396000000002E-2</c:v>
                </c:pt>
                <c:pt idx="5574">
                  <c:v>-5.3082359000000003E-2</c:v>
                </c:pt>
                <c:pt idx="5575">
                  <c:v>-5.3166036E-2</c:v>
                </c:pt>
                <c:pt idx="5576">
                  <c:v>-5.3252062000000003E-2</c:v>
                </c:pt>
                <c:pt idx="5577">
                  <c:v>-5.3336738000000002E-2</c:v>
                </c:pt>
                <c:pt idx="5578">
                  <c:v>-5.3421124E-2</c:v>
                </c:pt>
                <c:pt idx="5579">
                  <c:v>-5.3506384999999997E-2</c:v>
                </c:pt>
                <c:pt idx="5580">
                  <c:v>-5.3590365000000001E-2</c:v>
                </c:pt>
                <c:pt idx="5581">
                  <c:v>-5.3674826000000002E-2</c:v>
                </c:pt>
                <c:pt idx="5582">
                  <c:v>-5.3760486000000003E-2</c:v>
                </c:pt>
                <c:pt idx="5583">
                  <c:v>-5.3845907999999998E-2</c:v>
                </c:pt>
                <c:pt idx="5584">
                  <c:v>-5.3930769000000003E-2</c:v>
                </c:pt>
                <c:pt idx="5585">
                  <c:v>-5.4016506999999998E-2</c:v>
                </c:pt>
                <c:pt idx="5586">
                  <c:v>-5.4101590999999997E-2</c:v>
                </c:pt>
                <c:pt idx="5587">
                  <c:v>-5.4186854E-2</c:v>
                </c:pt>
                <c:pt idx="5588">
                  <c:v>-5.4273312999999997E-2</c:v>
                </c:pt>
                <c:pt idx="5589">
                  <c:v>-5.4358775999999998E-2</c:v>
                </c:pt>
                <c:pt idx="5590">
                  <c:v>-5.4443326E-2</c:v>
                </c:pt>
                <c:pt idx="5591">
                  <c:v>-5.4528773000000003E-2</c:v>
                </c:pt>
                <c:pt idx="5592">
                  <c:v>-5.4614952000000001E-2</c:v>
                </c:pt>
                <c:pt idx="5593">
                  <c:v>-5.4700596999999997E-2</c:v>
                </c:pt>
                <c:pt idx="5594">
                  <c:v>-5.4787519E-2</c:v>
                </c:pt>
                <c:pt idx="5595">
                  <c:v>-5.4873109000000003E-2</c:v>
                </c:pt>
                <c:pt idx="5596">
                  <c:v>-5.4959068E-2</c:v>
                </c:pt>
                <c:pt idx="5597">
                  <c:v>-5.5045990000000003E-2</c:v>
                </c:pt>
                <c:pt idx="5598">
                  <c:v>-5.5131603000000001E-2</c:v>
                </c:pt>
                <c:pt idx="5599">
                  <c:v>-5.5218472999999997E-2</c:v>
                </c:pt>
                <c:pt idx="5600">
                  <c:v>-5.5304234000000001E-2</c:v>
                </c:pt>
                <c:pt idx="5601">
                  <c:v>-5.5390202999999999E-2</c:v>
                </c:pt>
                <c:pt idx="5602">
                  <c:v>-5.5477831999999998E-2</c:v>
                </c:pt>
                <c:pt idx="5603">
                  <c:v>-5.5563253999999999E-2</c:v>
                </c:pt>
                <c:pt idx="5604">
                  <c:v>-5.5650027999999997E-2</c:v>
                </c:pt>
                <c:pt idx="5605">
                  <c:v>-5.5737633000000002E-2</c:v>
                </c:pt>
                <c:pt idx="5606">
                  <c:v>-5.5823881999999998E-2</c:v>
                </c:pt>
                <c:pt idx="5607">
                  <c:v>-5.5911317000000002E-2</c:v>
                </c:pt>
                <c:pt idx="5608">
                  <c:v>-5.5997898999999997E-2</c:v>
                </c:pt>
                <c:pt idx="5609">
                  <c:v>-5.6085284999999999E-2</c:v>
                </c:pt>
                <c:pt idx="5610">
                  <c:v>-5.6171264999999998E-2</c:v>
                </c:pt>
                <c:pt idx="5611">
                  <c:v>-5.6259292000000002E-2</c:v>
                </c:pt>
                <c:pt idx="5612">
                  <c:v>-5.6347079000000001E-2</c:v>
                </c:pt>
                <c:pt idx="5613">
                  <c:v>-5.6433588E-2</c:v>
                </c:pt>
                <c:pt idx="5614">
                  <c:v>-5.6520740999999999E-2</c:v>
                </c:pt>
                <c:pt idx="5615">
                  <c:v>-5.6608654000000001E-2</c:v>
                </c:pt>
                <c:pt idx="5616">
                  <c:v>-5.6695487000000003E-2</c:v>
                </c:pt>
                <c:pt idx="5617">
                  <c:v>-5.6783499000000001E-2</c:v>
                </c:pt>
                <c:pt idx="5618">
                  <c:v>-5.6871352999999999E-2</c:v>
                </c:pt>
                <c:pt idx="5619">
                  <c:v>-5.6959322999999999E-2</c:v>
                </c:pt>
                <c:pt idx="5620">
                  <c:v>-5.7046999000000001E-2</c:v>
                </c:pt>
                <c:pt idx="5621">
                  <c:v>-5.7134491000000003E-2</c:v>
                </c:pt>
                <c:pt idx="5622">
                  <c:v>-5.7223244999999999E-2</c:v>
                </c:pt>
                <c:pt idx="5623">
                  <c:v>-5.7311292999999999E-2</c:v>
                </c:pt>
                <c:pt idx="5624">
                  <c:v>-5.7399215000000003E-2</c:v>
                </c:pt>
                <c:pt idx="5625">
                  <c:v>-5.7487635000000002E-2</c:v>
                </c:pt>
                <c:pt idx="5626">
                  <c:v>-5.7575728E-2</c:v>
                </c:pt>
                <c:pt idx="5627">
                  <c:v>-5.7664318999999999E-2</c:v>
                </c:pt>
                <c:pt idx="5628">
                  <c:v>-5.7752758000000001E-2</c:v>
                </c:pt>
                <c:pt idx="5629">
                  <c:v>-5.7840867999999997E-2</c:v>
                </c:pt>
                <c:pt idx="5630">
                  <c:v>-5.7929212000000001E-2</c:v>
                </c:pt>
                <c:pt idx="5631">
                  <c:v>-5.8018345999999998E-2</c:v>
                </c:pt>
                <c:pt idx="5632">
                  <c:v>-5.8106948999999998E-2</c:v>
                </c:pt>
                <c:pt idx="5633">
                  <c:v>-5.8197077E-2</c:v>
                </c:pt>
                <c:pt idx="5634">
                  <c:v>-5.8284848E-2</c:v>
                </c:pt>
                <c:pt idx="5635">
                  <c:v>-5.8373759999999997E-2</c:v>
                </c:pt>
                <c:pt idx="5636">
                  <c:v>-5.8462815000000001E-2</c:v>
                </c:pt>
                <c:pt idx="5637">
                  <c:v>-5.8551341999999999E-2</c:v>
                </c:pt>
                <c:pt idx="5638">
                  <c:v>-5.8640942000000001E-2</c:v>
                </c:pt>
                <c:pt idx="5639">
                  <c:v>-5.8729758999999999E-2</c:v>
                </c:pt>
                <c:pt idx="5640">
                  <c:v>-5.8819613999999999E-2</c:v>
                </c:pt>
                <c:pt idx="5641">
                  <c:v>-5.8908689E-2</c:v>
                </c:pt>
                <c:pt idx="5642">
                  <c:v>-5.8998612999999998E-2</c:v>
                </c:pt>
                <c:pt idx="5643">
                  <c:v>-5.9088131000000002E-2</c:v>
                </c:pt>
                <c:pt idx="5644">
                  <c:v>-5.9176871999999998E-2</c:v>
                </c:pt>
                <c:pt idx="5645">
                  <c:v>-5.9267234000000002E-2</c:v>
                </c:pt>
                <c:pt idx="5646">
                  <c:v>-5.9356415000000003E-2</c:v>
                </c:pt>
                <c:pt idx="5647">
                  <c:v>-5.9446194000000001E-2</c:v>
                </c:pt>
                <c:pt idx="5648">
                  <c:v>-5.9536014999999998E-2</c:v>
                </c:pt>
                <c:pt idx="5649">
                  <c:v>-5.9626155E-2</c:v>
                </c:pt>
                <c:pt idx="5650">
                  <c:v>-5.9716791999999998E-2</c:v>
                </c:pt>
                <c:pt idx="5651">
                  <c:v>-5.9806276999999998E-2</c:v>
                </c:pt>
                <c:pt idx="5652">
                  <c:v>-5.9897449999999998E-2</c:v>
                </c:pt>
                <c:pt idx="5653">
                  <c:v>-5.9987646999999998E-2</c:v>
                </c:pt>
                <c:pt idx="5654">
                  <c:v>-6.0077989999999998E-2</c:v>
                </c:pt>
                <c:pt idx="5655">
                  <c:v>-6.0168091999999999E-2</c:v>
                </c:pt>
                <c:pt idx="5656">
                  <c:v>-6.0259354000000001E-2</c:v>
                </c:pt>
                <c:pt idx="5657">
                  <c:v>-6.0348975999999999E-2</c:v>
                </c:pt>
                <c:pt idx="5658">
                  <c:v>-6.0440328000000001E-2</c:v>
                </c:pt>
                <c:pt idx="5659">
                  <c:v>-6.0530867000000002E-2</c:v>
                </c:pt>
                <c:pt idx="5660">
                  <c:v>-6.0621664999999998E-2</c:v>
                </c:pt>
                <c:pt idx="5661">
                  <c:v>-6.0712070999999999E-2</c:v>
                </c:pt>
                <c:pt idx="5662">
                  <c:v>-6.0803124E-2</c:v>
                </c:pt>
                <c:pt idx="5663">
                  <c:v>-6.0894559000000001E-2</c:v>
                </c:pt>
                <c:pt idx="5664">
                  <c:v>-6.0985866999999999E-2</c:v>
                </c:pt>
                <c:pt idx="5665">
                  <c:v>-6.1076198999999998E-2</c:v>
                </c:pt>
                <c:pt idx="5666">
                  <c:v>-6.1168073000000003E-2</c:v>
                </c:pt>
                <c:pt idx="5667">
                  <c:v>-6.1258430000000003E-2</c:v>
                </c:pt>
                <c:pt idx="5668">
                  <c:v>-6.1350052000000002E-2</c:v>
                </c:pt>
                <c:pt idx="5669">
                  <c:v>-6.1441790000000003E-2</c:v>
                </c:pt>
                <c:pt idx="5670">
                  <c:v>-6.1533276999999997E-2</c:v>
                </c:pt>
                <c:pt idx="5671">
                  <c:v>-6.1624414000000002E-2</c:v>
                </c:pt>
                <c:pt idx="5672">
                  <c:v>-6.1716824000000003E-2</c:v>
                </c:pt>
                <c:pt idx="5673">
                  <c:v>-6.1808094000000001E-2</c:v>
                </c:pt>
                <c:pt idx="5674">
                  <c:v>-6.1900412000000002E-2</c:v>
                </c:pt>
                <c:pt idx="5675">
                  <c:v>-6.1992325000000001E-2</c:v>
                </c:pt>
                <c:pt idx="5676">
                  <c:v>-6.2084161999999998E-2</c:v>
                </c:pt>
                <c:pt idx="5677">
                  <c:v>-6.2175979999999999E-2</c:v>
                </c:pt>
                <c:pt idx="5678">
                  <c:v>-6.2268419999999998E-2</c:v>
                </c:pt>
                <c:pt idx="5679">
                  <c:v>-6.2360060000000002E-2</c:v>
                </c:pt>
                <c:pt idx="5680">
                  <c:v>-6.2452753999999999E-2</c:v>
                </c:pt>
                <c:pt idx="5681">
                  <c:v>-6.2544298999999998E-2</c:v>
                </c:pt>
                <c:pt idx="5682">
                  <c:v>-6.2637635999999997E-2</c:v>
                </c:pt>
                <c:pt idx="5683">
                  <c:v>-6.2729649999999998E-2</c:v>
                </c:pt>
                <c:pt idx="5684">
                  <c:v>-6.2822808999999993E-2</c:v>
                </c:pt>
                <c:pt idx="5685">
                  <c:v>-6.2915727000000005E-2</c:v>
                </c:pt>
                <c:pt idx="5686">
                  <c:v>-6.3008749000000003E-2</c:v>
                </c:pt>
                <c:pt idx="5687">
                  <c:v>-6.3100057000000001E-2</c:v>
                </c:pt>
                <c:pt idx="5688">
                  <c:v>-6.3193720999999994E-2</c:v>
                </c:pt>
                <c:pt idx="5689">
                  <c:v>-6.3286933000000004E-2</c:v>
                </c:pt>
                <c:pt idx="5690">
                  <c:v>-6.3380160000000005E-2</c:v>
                </c:pt>
                <c:pt idx="5691">
                  <c:v>-6.3472755000000006E-2</c:v>
                </c:pt>
                <c:pt idx="5692">
                  <c:v>-6.3566098000000001E-2</c:v>
                </c:pt>
                <c:pt idx="5693">
                  <c:v>-6.3659082000000006E-2</c:v>
                </c:pt>
                <c:pt idx="5694">
                  <c:v>-6.3752330999999995E-2</c:v>
                </c:pt>
                <c:pt idx="5695">
                  <c:v>-6.3845614999999994E-2</c:v>
                </c:pt>
                <c:pt idx="5696">
                  <c:v>-6.3939507000000007E-2</c:v>
                </c:pt>
                <c:pt idx="5697">
                  <c:v>-6.4032653999999994E-2</c:v>
                </c:pt>
                <c:pt idx="5698">
                  <c:v>-6.4126453E-2</c:v>
                </c:pt>
                <c:pt idx="5699">
                  <c:v>-6.4219759000000001E-2</c:v>
                </c:pt>
                <c:pt idx="5700">
                  <c:v>-6.4313808E-2</c:v>
                </c:pt>
                <c:pt idx="5701">
                  <c:v>-6.4407509000000002E-2</c:v>
                </c:pt>
                <c:pt idx="5702">
                  <c:v>-6.4501465999999993E-2</c:v>
                </c:pt>
                <c:pt idx="5703">
                  <c:v>-6.4595469000000003E-2</c:v>
                </c:pt>
                <c:pt idx="5704">
                  <c:v>-6.4689874999999994E-2</c:v>
                </c:pt>
                <c:pt idx="5705">
                  <c:v>-6.4783786999999995E-2</c:v>
                </c:pt>
                <c:pt idx="5706">
                  <c:v>-6.4878637000000003E-2</c:v>
                </c:pt>
                <c:pt idx="5707">
                  <c:v>-6.4972507999999998E-2</c:v>
                </c:pt>
                <c:pt idx="5708">
                  <c:v>-6.5066285000000001E-2</c:v>
                </c:pt>
                <c:pt idx="5709">
                  <c:v>-6.5161192000000007E-2</c:v>
                </c:pt>
                <c:pt idx="5710">
                  <c:v>-6.5255762999999994E-2</c:v>
                </c:pt>
                <c:pt idx="5711">
                  <c:v>-6.5350770000000002E-2</c:v>
                </c:pt>
                <c:pt idx="5712">
                  <c:v>-6.5444857999999995E-2</c:v>
                </c:pt>
                <c:pt idx="5713">
                  <c:v>-6.5539770999999997E-2</c:v>
                </c:pt>
                <c:pt idx="5714">
                  <c:v>-6.5634898999999997E-2</c:v>
                </c:pt>
                <c:pt idx="5715">
                  <c:v>-6.5729376000000006E-2</c:v>
                </c:pt>
                <c:pt idx="5716">
                  <c:v>-6.5824362999999997E-2</c:v>
                </c:pt>
                <c:pt idx="5717">
                  <c:v>-6.5919825000000001E-2</c:v>
                </c:pt>
                <c:pt idx="5718">
                  <c:v>-6.6015116999999998E-2</c:v>
                </c:pt>
                <c:pt idx="5719">
                  <c:v>-6.6109697999999995E-2</c:v>
                </c:pt>
                <c:pt idx="5720">
                  <c:v>-6.6203849999999995E-2</c:v>
                </c:pt>
                <c:pt idx="5721">
                  <c:v>-6.6299783000000001E-2</c:v>
                </c:pt>
                <c:pt idx="5722">
                  <c:v>-6.6395314999999996E-2</c:v>
                </c:pt>
                <c:pt idx="5723">
                  <c:v>-6.6491104999999995E-2</c:v>
                </c:pt>
                <c:pt idx="5724">
                  <c:v>-6.6586384999999998E-2</c:v>
                </c:pt>
                <c:pt idx="5725">
                  <c:v>-6.6682245000000001E-2</c:v>
                </c:pt>
                <c:pt idx="5726">
                  <c:v>-6.6777827999999997E-2</c:v>
                </c:pt>
                <c:pt idx="5727">
                  <c:v>-6.6873327999999996E-2</c:v>
                </c:pt>
                <c:pt idx="5728">
                  <c:v>-6.6968694999999995E-2</c:v>
                </c:pt>
                <c:pt idx="5729">
                  <c:v>-6.7065182000000001E-2</c:v>
                </c:pt>
                <c:pt idx="5730">
                  <c:v>-6.7161424999999997E-2</c:v>
                </c:pt>
                <c:pt idx="5731">
                  <c:v>-6.7257424999999996E-2</c:v>
                </c:pt>
                <c:pt idx="5732">
                  <c:v>-6.7353410000000002E-2</c:v>
                </c:pt>
                <c:pt idx="5733">
                  <c:v>-6.7448750000000002E-2</c:v>
                </c:pt>
                <c:pt idx="5734">
                  <c:v>-6.7546281999999999E-2</c:v>
                </c:pt>
                <c:pt idx="5735">
                  <c:v>-6.7642099999999997E-2</c:v>
                </c:pt>
                <c:pt idx="5736">
                  <c:v>-6.7738805999999999E-2</c:v>
                </c:pt>
                <c:pt idx="5737">
                  <c:v>-6.7835833999999998E-2</c:v>
                </c:pt>
                <c:pt idx="5738">
                  <c:v>-6.7932563000000001E-2</c:v>
                </c:pt>
                <c:pt idx="5739">
                  <c:v>-6.8028425000000003E-2</c:v>
                </c:pt>
                <c:pt idx="5740">
                  <c:v>-6.8125403000000001E-2</c:v>
                </c:pt>
                <c:pt idx="5741">
                  <c:v>-6.8222247999999999E-2</c:v>
                </c:pt>
                <c:pt idx="5742">
                  <c:v>-6.8319756999999995E-2</c:v>
                </c:pt>
                <c:pt idx="5743">
                  <c:v>-6.8416287000000006E-2</c:v>
                </c:pt>
                <c:pt idx="5744">
                  <c:v>-6.8513531000000003E-2</c:v>
                </c:pt>
                <c:pt idx="5745">
                  <c:v>-6.8610146999999996E-2</c:v>
                </c:pt>
                <c:pt idx="5746">
                  <c:v>-6.8708035000000001E-2</c:v>
                </c:pt>
                <c:pt idx="5747">
                  <c:v>-6.8804722999999998E-2</c:v>
                </c:pt>
                <c:pt idx="5748">
                  <c:v>-6.8902697999999998E-2</c:v>
                </c:pt>
                <c:pt idx="5749">
                  <c:v>-6.9000250999999999E-2</c:v>
                </c:pt>
                <c:pt idx="5750">
                  <c:v>-6.9097559000000003E-2</c:v>
                </c:pt>
                <c:pt idx="5751">
                  <c:v>-6.9194802E-2</c:v>
                </c:pt>
                <c:pt idx="5752">
                  <c:v>-6.9293150999999997E-2</c:v>
                </c:pt>
                <c:pt idx="5753">
                  <c:v>-6.9391040000000001E-2</c:v>
                </c:pt>
                <c:pt idx="5754">
                  <c:v>-6.9489082999999993E-2</c:v>
                </c:pt>
                <c:pt idx="5755">
                  <c:v>-6.9585626999999997E-2</c:v>
                </c:pt>
                <c:pt idx="5756">
                  <c:v>-6.9684468999999999E-2</c:v>
                </c:pt>
                <c:pt idx="5757">
                  <c:v>-6.9782364E-2</c:v>
                </c:pt>
                <c:pt idx="5758">
                  <c:v>-6.9880194000000007E-2</c:v>
                </c:pt>
                <c:pt idx="5759">
                  <c:v>-6.9979134999999998E-2</c:v>
                </c:pt>
                <c:pt idx="5760">
                  <c:v>-7.0076325999999994E-2</c:v>
                </c:pt>
                <c:pt idx="5761">
                  <c:v>-7.0175688E-2</c:v>
                </c:pt>
                <c:pt idx="5762">
                  <c:v>-7.0274236000000004E-2</c:v>
                </c:pt>
                <c:pt idx="5763">
                  <c:v>-7.0372434999999997E-2</c:v>
                </c:pt>
                <c:pt idx="5764">
                  <c:v>-7.0471104000000007E-2</c:v>
                </c:pt>
                <c:pt idx="5765">
                  <c:v>-7.0569546999999996E-2</c:v>
                </c:pt>
                <c:pt idx="5766">
                  <c:v>-7.0668463000000001E-2</c:v>
                </c:pt>
                <c:pt idx="5767">
                  <c:v>-7.0767740999999995E-2</c:v>
                </c:pt>
                <c:pt idx="5768">
                  <c:v>-7.0866040000000005E-2</c:v>
                </c:pt>
                <c:pt idx="5769">
                  <c:v>-7.0964287000000001E-2</c:v>
                </c:pt>
                <c:pt idx="5770">
                  <c:v>-7.1064301999999996E-2</c:v>
                </c:pt>
                <c:pt idx="5771">
                  <c:v>-7.1163206000000007E-2</c:v>
                </c:pt>
                <c:pt idx="5772">
                  <c:v>-7.1262254999999997E-2</c:v>
                </c:pt>
                <c:pt idx="5773">
                  <c:v>-7.1361199E-2</c:v>
                </c:pt>
                <c:pt idx="5774">
                  <c:v>-7.1460698000000003E-2</c:v>
                </c:pt>
                <c:pt idx="5775">
                  <c:v>-7.1560490000000004E-2</c:v>
                </c:pt>
                <c:pt idx="5776">
                  <c:v>-7.1660098000000005E-2</c:v>
                </c:pt>
                <c:pt idx="5777">
                  <c:v>-7.1759596999999994E-2</c:v>
                </c:pt>
                <c:pt idx="5778">
                  <c:v>-7.1859452000000004E-2</c:v>
                </c:pt>
                <c:pt idx="5779">
                  <c:v>-7.1958728E-2</c:v>
                </c:pt>
                <c:pt idx="5780">
                  <c:v>-7.2058493000000001E-2</c:v>
                </c:pt>
                <c:pt idx="5781">
                  <c:v>-7.2158547000000003E-2</c:v>
                </c:pt>
                <c:pt idx="5782">
                  <c:v>-7.2258554000000003E-2</c:v>
                </c:pt>
                <c:pt idx="5783">
                  <c:v>-7.2358723E-2</c:v>
                </c:pt>
                <c:pt idx="5784">
                  <c:v>-7.2458843999999994E-2</c:v>
                </c:pt>
                <c:pt idx="5785">
                  <c:v>-7.2559317999999998E-2</c:v>
                </c:pt>
                <c:pt idx="5786">
                  <c:v>-7.2658949E-2</c:v>
                </c:pt>
                <c:pt idx="5787">
                  <c:v>-7.2759470000000007E-2</c:v>
                </c:pt>
                <c:pt idx="5788">
                  <c:v>-7.2859940999999998E-2</c:v>
                </c:pt>
                <c:pt idx="5789">
                  <c:v>-7.2960567000000004E-2</c:v>
                </c:pt>
                <c:pt idx="5790">
                  <c:v>-7.3060961999999993E-2</c:v>
                </c:pt>
                <c:pt idx="5791">
                  <c:v>-7.3161095999999995E-2</c:v>
                </c:pt>
                <c:pt idx="5792">
                  <c:v>-7.3262331999999999E-2</c:v>
                </c:pt>
                <c:pt idx="5793">
                  <c:v>-7.3363844999999997E-2</c:v>
                </c:pt>
                <c:pt idx="5794">
                  <c:v>-7.3464469000000004E-2</c:v>
                </c:pt>
                <c:pt idx="5795">
                  <c:v>-7.3565158000000005E-2</c:v>
                </c:pt>
                <c:pt idx="5796">
                  <c:v>-7.3666406000000004E-2</c:v>
                </c:pt>
                <c:pt idx="5797">
                  <c:v>-7.3767003999999997E-2</c:v>
                </c:pt>
                <c:pt idx="5798">
                  <c:v>-7.3868305999999995E-2</c:v>
                </c:pt>
                <c:pt idx="5799">
                  <c:v>-7.3970096999999999E-2</c:v>
                </c:pt>
                <c:pt idx="5800">
                  <c:v>-7.4070762999999998E-2</c:v>
                </c:pt>
                <c:pt idx="5801">
                  <c:v>-7.4171916000000004E-2</c:v>
                </c:pt>
                <c:pt idx="5802">
                  <c:v>-7.4273776E-2</c:v>
                </c:pt>
                <c:pt idx="5803">
                  <c:v>-7.4375245000000006E-2</c:v>
                </c:pt>
                <c:pt idx="5804">
                  <c:v>-7.4477128000000004E-2</c:v>
                </c:pt>
                <c:pt idx="5805">
                  <c:v>-7.4579241000000004E-2</c:v>
                </c:pt>
                <c:pt idx="5806">
                  <c:v>-7.4679967999999999E-2</c:v>
                </c:pt>
                <c:pt idx="5807">
                  <c:v>-7.4782545000000006E-2</c:v>
                </c:pt>
                <c:pt idx="5808">
                  <c:v>-7.4884651999999996E-2</c:v>
                </c:pt>
                <c:pt idx="5809">
                  <c:v>-7.4986588000000007E-2</c:v>
                </c:pt>
                <c:pt idx="5810">
                  <c:v>-7.5088606000000002E-2</c:v>
                </c:pt>
                <c:pt idx="5811">
                  <c:v>-7.5190932000000002E-2</c:v>
                </c:pt>
                <c:pt idx="5812">
                  <c:v>-7.5292531999999995E-2</c:v>
                </c:pt>
                <c:pt idx="5813">
                  <c:v>-7.5395353999999998E-2</c:v>
                </c:pt>
                <c:pt idx="5814">
                  <c:v>-7.5497371999999993E-2</c:v>
                </c:pt>
                <c:pt idx="5815">
                  <c:v>-7.5600333000000006E-2</c:v>
                </c:pt>
                <c:pt idx="5816">
                  <c:v>-7.5702819000000005E-2</c:v>
                </c:pt>
                <c:pt idx="5817">
                  <c:v>-7.5805057999999995E-2</c:v>
                </c:pt>
                <c:pt idx="5818">
                  <c:v>-7.5907860999999993E-2</c:v>
                </c:pt>
                <c:pt idx="5819">
                  <c:v>-7.6011249000000003E-2</c:v>
                </c:pt>
                <c:pt idx="5820">
                  <c:v>-7.6113228000000005E-2</c:v>
                </c:pt>
                <c:pt idx="5821">
                  <c:v>-7.6216429000000002E-2</c:v>
                </c:pt>
                <c:pt idx="5822">
                  <c:v>-7.6320446E-2</c:v>
                </c:pt>
                <c:pt idx="5823">
                  <c:v>-7.6423559000000002E-2</c:v>
                </c:pt>
                <c:pt idx="5824">
                  <c:v>-7.6526424999999995E-2</c:v>
                </c:pt>
                <c:pt idx="5825">
                  <c:v>-7.6629541999999995E-2</c:v>
                </c:pt>
                <c:pt idx="5826">
                  <c:v>-7.6731990999999999E-2</c:v>
                </c:pt>
                <c:pt idx="5827">
                  <c:v>-7.6836159000000001E-2</c:v>
                </c:pt>
                <c:pt idx="5828">
                  <c:v>-7.6939819000000007E-2</c:v>
                </c:pt>
                <c:pt idx="5829">
                  <c:v>-7.7042756000000004E-2</c:v>
                </c:pt>
                <c:pt idx="5830">
                  <c:v>-7.7146497999999994E-2</c:v>
                </c:pt>
                <c:pt idx="5831">
                  <c:v>-7.7250814000000001E-2</c:v>
                </c:pt>
                <c:pt idx="5832">
                  <c:v>-7.7354060000000002E-2</c:v>
                </c:pt>
                <c:pt idx="5833">
                  <c:v>-7.7458367E-2</c:v>
                </c:pt>
                <c:pt idx="5834">
                  <c:v>-7.7562425000000004E-2</c:v>
                </c:pt>
                <c:pt idx="5835">
                  <c:v>-7.7665903999999994E-2</c:v>
                </c:pt>
                <c:pt idx="5836">
                  <c:v>-7.7769874000000003E-2</c:v>
                </c:pt>
                <c:pt idx="5837">
                  <c:v>-7.7874573000000002E-2</c:v>
                </c:pt>
                <c:pt idx="5838">
                  <c:v>-7.7978778999999998E-2</c:v>
                </c:pt>
                <c:pt idx="5839">
                  <c:v>-7.8082736999999999E-2</c:v>
                </c:pt>
                <c:pt idx="5840">
                  <c:v>-7.8187260999999994E-2</c:v>
                </c:pt>
                <c:pt idx="5841">
                  <c:v>-7.8292192999999996E-2</c:v>
                </c:pt>
                <c:pt idx="5842">
                  <c:v>-7.8396794000000006E-2</c:v>
                </c:pt>
                <c:pt idx="5843">
                  <c:v>-7.8500087999999996E-2</c:v>
                </c:pt>
                <c:pt idx="5844">
                  <c:v>-7.8605654999999997E-2</c:v>
                </c:pt>
                <c:pt idx="5845">
                  <c:v>-7.8710486999999996E-2</c:v>
                </c:pt>
                <c:pt idx="5846">
                  <c:v>-7.8814996999999998E-2</c:v>
                </c:pt>
                <c:pt idx="5847">
                  <c:v>-7.8921209000000006E-2</c:v>
                </c:pt>
                <c:pt idx="5848">
                  <c:v>-7.9024969E-2</c:v>
                </c:pt>
                <c:pt idx="5849">
                  <c:v>-7.9130442999999995E-2</c:v>
                </c:pt>
                <c:pt idx="5850">
                  <c:v>-7.9235906999999994E-2</c:v>
                </c:pt>
                <c:pt idx="5851">
                  <c:v>-7.9340318000000007E-2</c:v>
                </c:pt>
                <c:pt idx="5852">
                  <c:v>-7.9446189E-2</c:v>
                </c:pt>
                <c:pt idx="5853">
                  <c:v>-7.9550667000000005E-2</c:v>
                </c:pt>
                <c:pt idx="5854">
                  <c:v>-7.9657096999999996E-2</c:v>
                </c:pt>
                <c:pt idx="5855">
                  <c:v>-7.9762631000000001E-2</c:v>
                </c:pt>
                <c:pt idx="5856">
                  <c:v>-7.9868648E-2</c:v>
                </c:pt>
                <c:pt idx="5857">
                  <c:v>-7.9974092999999996E-2</c:v>
                </c:pt>
                <c:pt idx="5858">
                  <c:v>-8.0080023E-2</c:v>
                </c:pt>
                <c:pt idx="5859">
                  <c:v>-8.0185766000000006E-2</c:v>
                </c:pt>
                <c:pt idx="5860">
                  <c:v>-8.0292016999999993E-2</c:v>
                </c:pt>
                <c:pt idx="5861">
                  <c:v>-8.0397198000000003E-2</c:v>
                </c:pt>
                <c:pt idx="5862">
                  <c:v>-8.0503509000000001E-2</c:v>
                </c:pt>
                <c:pt idx="5863">
                  <c:v>-8.0610008999999996E-2</c:v>
                </c:pt>
                <c:pt idx="5864">
                  <c:v>-8.0716408000000003E-2</c:v>
                </c:pt>
                <c:pt idx="5865">
                  <c:v>-8.0823291000000005E-2</c:v>
                </c:pt>
                <c:pt idx="5866">
                  <c:v>-8.0929012999999994E-2</c:v>
                </c:pt>
                <c:pt idx="5867">
                  <c:v>-8.1036541000000004E-2</c:v>
                </c:pt>
                <c:pt idx="5868">
                  <c:v>-8.1142441999999995E-2</c:v>
                </c:pt>
                <c:pt idx="5869">
                  <c:v>-8.1249147999999993E-2</c:v>
                </c:pt>
                <c:pt idx="5870">
                  <c:v>-8.1354692000000006E-2</c:v>
                </c:pt>
                <c:pt idx="5871">
                  <c:v>-8.1462043999999997E-2</c:v>
                </c:pt>
                <c:pt idx="5872">
                  <c:v>-8.1569699999999995E-2</c:v>
                </c:pt>
                <c:pt idx="5873">
                  <c:v>-8.1676320999999996E-2</c:v>
                </c:pt>
                <c:pt idx="5874">
                  <c:v>-8.1784207999999997E-2</c:v>
                </c:pt>
                <c:pt idx="5875">
                  <c:v>-8.1891063E-2</c:v>
                </c:pt>
                <c:pt idx="5876">
                  <c:v>-8.1997807000000006E-2</c:v>
                </c:pt>
                <c:pt idx="5877">
                  <c:v>-8.2104894999999997E-2</c:v>
                </c:pt>
                <c:pt idx="5878">
                  <c:v>-8.2212375000000004E-2</c:v>
                </c:pt>
                <c:pt idx="5879">
                  <c:v>-8.2319511999999997E-2</c:v>
                </c:pt>
                <c:pt idx="5880">
                  <c:v>-8.2427820999999998E-2</c:v>
                </c:pt>
                <c:pt idx="5881">
                  <c:v>-8.2534868999999997E-2</c:v>
                </c:pt>
                <c:pt idx="5882">
                  <c:v>-8.2642357E-2</c:v>
                </c:pt>
                <c:pt idx="5883">
                  <c:v>-8.2750462999999996E-2</c:v>
                </c:pt>
                <c:pt idx="5884">
                  <c:v>-8.2858318E-2</c:v>
                </c:pt>
                <c:pt idx="5885">
                  <c:v>-8.2966748000000007E-2</c:v>
                </c:pt>
                <c:pt idx="5886">
                  <c:v>-8.3074062000000004E-2</c:v>
                </c:pt>
                <c:pt idx="5887">
                  <c:v>-8.3181577000000007E-2</c:v>
                </c:pt>
                <c:pt idx="5888">
                  <c:v>-8.3289667999999997E-2</c:v>
                </c:pt>
                <c:pt idx="5889">
                  <c:v>-8.3398655000000002E-2</c:v>
                </c:pt>
                <c:pt idx="5890">
                  <c:v>-8.3507391E-2</c:v>
                </c:pt>
                <c:pt idx="5891">
                  <c:v>-8.3614727999999999E-2</c:v>
                </c:pt>
                <c:pt idx="5892">
                  <c:v>-8.3723056000000004E-2</c:v>
                </c:pt>
                <c:pt idx="5893">
                  <c:v>-8.3831738000000003E-2</c:v>
                </c:pt>
                <c:pt idx="5894">
                  <c:v>-8.3940743999999998E-2</c:v>
                </c:pt>
                <c:pt idx="5895">
                  <c:v>-8.4049339000000001E-2</c:v>
                </c:pt>
                <c:pt idx="5896">
                  <c:v>-8.4158669000000005E-2</c:v>
                </c:pt>
                <c:pt idx="5897">
                  <c:v>-8.4267176999999999E-2</c:v>
                </c:pt>
                <c:pt idx="5898">
                  <c:v>-8.4375685000000006E-2</c:v>
                </c:pt>
                <c:pt idx="5899">
                  <c:v>-8.4484839000000006E-2</c:v>
                </c:pt>
                <c:pt idx="5900">
                  <c:v>-8.4594307999999993E-2</c:v>
                </c:pt>
                <c:pt idx="5901">
                  <c:v>-8.4703181000000002E-2</c:v>
                </c:pt>
                <c:pt idx="5902">
                  <c:v>-8.4812120000000005E-2</c:v>
                </c:pt>
                <c:pt idx="5903">
                  <c:v>-8.4921954999999993E-2</c:v>
                </c:pt>
                <c:pt idx="5904">
                  <c:v>-8.5031221000000004E-2</c:v>
                </c:pt>
                <c:pt idx="5905">
                  <c:v>-8.5140357E-2</c:v>
                </c:pt>
                <c:pt idx="5906">
                  <c:v>-8.5250585000000004E-2</c:v>
                </c:pt>
                <c:pt idx="5907">
                  <c:v>-8.5360045999999995E-2</c:v>
                </c:pt>
                <c:pt idx="5908">
                  <c:v>-8.5469453000000001E-2</c:v>
                </c:pt>
                <c:pt idx="5909">
                  <c:v>-8.5579440000000007E-2</c:v>
                </c:pt>
                <c:pt idx="5910">
                  <c:v>-8.5689175000000006E-2</c:v>
                </c:pt>
                <c:pt idx="5911">
                  <c:v>-8.5798043000000004E-2</c:v>
                </c:pt>
                <c:pt idx="5912">
                  <c:v>-8.5909255000000004E-2</c:v>
                </c:pt>
                <c:pt idx="5913">
                  <c:v>-8.6019081999999997E-2</c:v>
                </c:pt>
                <c:pt idx="5914">
                  <c:v>-8.6129474999999997E-2</c:v>
                </c:pt>
                <c:pt idx="5915">
                  <c:v>-8.6239515000000003E-2</c:v>
                </c:pt>
                <c:pt idx="5916">
                  <c:v>-8.6349630999999996E-2</c:v>
                </c:pt>
                <c:pt idx="5917">
                  <c:v>-8.6460315999999995E-2</c:v>
                </c:pt>
                <c:pt idx="5918">
                  <c:v>-8.6570961000000002E-2</c:v>
                </c:pt>
                <c:pt idx="5919">
                  <c:v>-8.6681974999999994E-2</c:v>
                </c:pt>
                <c:pt idx="5920">
                  <c:v>-8.6791799000000003E-2</c:v>
                </c:pt>
                <c:pt idx="5921">
                  <c:v>-8.6903143000000002E-2</c:v>
                </c:pt>
                <c:pt idx="5922">
                  <c:v>-8.7013194000000002E-2</c:v>
                </c:pt>
                <c:pt idx="5923">
                  <c:v>-8.7124559000000004E-2</c:v>
                </c:pt>
                <c:pt idx="5924">
                  <c:v>-8.7235252999999999E-2</c:v>
                </c:pt>
                <c:pt idx="5925">
                  <c:v>-8.7346106000000007E-2</c:v>
                </c:pt>
                <c:pt idx="5926">
                  <c:v>-8.7457861999999997E-2</c:v>
                </c:pt>
                <c:pt idx="5927">
                  <c:v>-8.7569049999999996E-2</c:v>
                </c:pt>
                <c:pt idx="5928">
                  <c:v>-8.7679670000000001E-2</c:v>
                </c:pt>
                <c:pt idx="5929">
                  <c:v>-8.7791500999999994E-2</c:v>
                </c:pt>
                <c:pt idx="5930">
                  <c:v>-8.7902659999999994E-2</c:v>
                </c:pt>
                <c:pt idx="5931">
                  <c:v>-8.8014403000000005E-2</c:v>
                </c:pt>
                <c:pt idx="5932">
                  <c:v>-8.8125892999999997E-2</c:v>
                </c:pt>
                <c:pt idx="5933">
                  <c:v>-8.8237233999999998E-2</c:v>
                </c:pt>
                <c:pt idx="5934">
                  <c:v>-8.8349052999999997E-2</c:v>
                </c:pt>
                <c:pt idx="5935">
                  <c:v>-8.8461451999999996E-2</c:v>
                </c:pt>
                <c:pt idx="5936">
                  <c:v>-8.8572767999999996E-2</c:v>
                </c:pt>
                <c:pt idx="5937">
                  <c:v>-8.8685078000000001E-2</c:v>
                </c:pt>
                <c:pt idx="5938">
                  <c:v>-8.8797457999999996E-2</c:v>
                </c:pt>
                <c:pt idx="5939">
                  <c:v>-8.8908526000000002E-2</c:v>
                </c:pt>
                <c:pt idx="5940">
                  <c:v>-8.9021650999999993E-2</c:v>
                </c:pt>
                <c:pt idx="5941">
                  <c:v>-8.9133682000000006E-2</c:v>
                </c:pt>
                <c:pt idx="5942">
                  <c:v>-8.9246299000000001E-2</c:v>
                </c:pt>
                <c:pt idx="5943">
                  <c:v>-8.9358025999999993E-2</c:v>
                </c:pt>
                <c:pt idx="5944">
                  <c:v>-8.9470973999999995E-2</c:v>
                </c:pt>
                <c:pt idx="5945">
                  <c:v>-8.9583668000000005E-2</c:v>
                </c:pt>
                <c:pt idx="5946">
                  <c:v>-8.9696934000000006E-2</c:v>
                </c:pt>
                <c:pt idx="5947">
                  <c:v>-8.9808808000000004E-2</c:v>
                </c:pt>
                <c:pt idx="5948">
                  <c:v>-8.9921159000000001E-2</c:v>
                </c:pt>
                <c:pt idx="5949">
                  <c:v>-9.0035233000000006E-2</c:v>
                </c:pt>
                <c:pt idx="5950">
                  <c:v>-9.0147185000000005E-2</c:v>
                </c:pt>
                <c:pt idx="5951">
                  <c:v>-9.0261497999999996E-2</c:v>
                </c:pt>
                <c:pt idx="5952">
                  <c:v>-9.0374184999999996E-2</c:v>
                </c:pt>
                <c:pt idx="5953">
                  <c:v>-9.0486946999999998E-2</c:v>
                </c:pt>
                <c:pt idx="5954">
                  <c:v>-9.0601007999999997E-2</c:v>
                </c:pt>
                <c:pt idx="5955">
                  <c:v>-9.0714723999999997E-2</c:v>
                </c:pt>
                <c:pt idx="5956">
                  <c:v>-9.0828384999999998E-2</c:v>
                </c:pt>
                <c:pt idx="5957">
                  <c:v>-9.0941368999999994E-2</c:v>
                </c:pt>
                <c:pt idx="5958">
                  <c:v>-9.1054543000000002E-2</c:v>
                </c:pt>
                <c:pt idx="5959">
                  <c:v>-9.1168168999999993E-2</c:v>
                </c:pt>
                <c:pt idx="5960">
                  <c:v>-9.1283139999999999E-2</c:v>
                </c:pt>
                <c:pt idx="5961">
                  <c:v>-9.1396676999999996E-2</c:v>
                </c:pt>
                <c:pt idx="5962">
                  <c:v>-9.1510491999999999E-2</c:v>
                </c:pt>
                <c:pt idx="5963">
                  <c:v>-9.1624360000000002E-2</c:v>
                </c:pt>
                <c:pt idx="5964">
                  <c:v>-9.1738424999999998E-2</c:v>
                </c:pt>
                <c:pt idx="5965">
                  <c:v>-9.1852287000000005E-2</c:v>
                </c:pt>
                <c:pt idx="5966">
                  <c:v>-9.1967304E-2</c:v>
                </c:pt>
                <c:pt idx="5967">
                  <c:v>-9.2081725000000003E-2</c:v>
                </c:pt>
                <c:pt idx="5968">
                  <c:v>-9.2196117999999994E-2</c:v>
                </c:pt>
                <c:pt idx="5969">
                  <c:v>-9.2310872000000002E-2</c:v>
                </c:pt>
                <c:pt idx="5970">
                  <c:v>-9.2425062000000002E-2</c:v>
                </c:pt>
                <c:pt idx="5971">
                  <c:v>-9.2539417999999998E-2</c:v>
                </c:pt>
                <c:pt idx="5972">
                  <c:v>-9.2654673000000007E-2</c:v>
                </c:pt>
                <c:pt idx="5973">
                  <c:v>-9.2770093999999997E-2</c:v>
                </c:pt>
                <c:pt idx="5974">
                  <c:v>-9.2883682999999995E-2</c:v>
                </c:pt>
                <c:pt idx="5975">
                  <c:v>-9.2999015000000004E-2</c:v>
                </c:pt>
                <c:pt idx="5976">
                  <c:v>-9.3113361000000006E-2</c:v>
                </c:pt>
                <c:pt idx="5977">
                  <c:v>-9.3230067E-2</c:v>
                </c:pt>
                <c:pt idx="5978">
                  <c:v>-9.3344747000000006E-2</c:v>
                </c:pt>
                <c:pt idx="5979">
                  <c:v>-9.3460325999999996E-2</c:v>
                </c:pt>
                <c:pt idx="5980">
                  <c:v>-9.3575532000000003E-2</c:v>
                </c:pt>
                <c:pt idx="5981">
                  <c:v>-9.3690363999999998E-2</c:v>
                </c:pt>
                <c:pt idx="5982">
                  <c:v>-9.3807058999999998E-2</c:v>
                </c:pt>
                <c:pt idx="5983">
                  <c:v>-9.3922459999999999E-2</c:v>
                </c:pt>
                <c:pt idx="5984">
                  <c:v>-9.4038029999999995E-2</c:v>
                </c:pt>
                <c:pt idx="5985">
                  <c:v>-9.4153293999999998E-2</c:v>
                </c:pt>
                <c:pt idx="5986">
                  <c:v>-9.4270660000000006E-2</c:v>
                </c:pt>
                <c:pt idx="5987">
                  <c:v>-9.4385952999999995E-2</c:v>
                </c:pt>
                <c:pt idx="5988">
                  <c:v>-9.4502075000000005E-2</c:v>
                </c:pt>
                <c:pt idx="5989">
                  <c:v>-9.4617701999999998E-2</c:v>
                </c:pt>
                <c:pt idx="5990">
                  <c:v>-9.4734465000000004E-2</c:v>
                </c:pt>
                <c:pt idx="5991">
                  <c:v>-9.4850306999999995E-2</c:v>
                </c:pt>
                <c:pt idx="5992">
                  <c:v>-9.4966676999999999E-2</c:v>
                </c:pt>
                <c:pt idx="5993">
                  <c:v>-9.5082853999999994E-2</c:v>
                </c:pt>
                <c:pt idx="5994">
                  <c:v>-9.5199985000000001E-2</c:v>
                </c:pt>
                <c:pt idx="5995">
                  <c:v>-9.5316377999999993E-2</c:v>
                </c:pt>
                <c:pt idx="5996">
                  <c:v>-9.5432569999999994E-2</c:v>
                </c:pt>
                <c:pt idx="5997">
                  <c:v>-9.5550149000000001E-2</c:v>
                </c:pt>
                <c:pt idx="5998">
                  <c:v>-9.5667044000000007E-2</c:v>
                </c:pt>
                <c:pt idx="5999">
                  <c:v>-9.5783011000000001E-2</c:v>
                </c:pt>
                <c:pt idx="6000">
                  <c:v>-9.5900547000000003E-2</c:v>
                </c:pt>
                <c:pt idx="6001">
                  <c:v>-9.6017946000000007E-2</c:v>
                </c:pt>
                <c:pt idx="6002">
                  <c:v>-9.6134357000000004E-2</c:v>
                </c:pt>
                <c:pt idx="6003">
                  <c:v>-9.6251240000000002E-2</c:v>
                </c:pt>
                <c:pt idx="6004">
                  <c:v>-9.6369512000000004E-2</c:v>
                </c:pt>
                <c:pt idx="6005">
                  <c:v>-9.6486304999999994E-2</c:v>
                </c:pt>
                <c:pt idx="6006">
                  <c:v>-9.6604422999999995E-2</c:v>
                </c:pt>
                <c:pt idx="6007">
                  <c:v>-9.6721979E-2</c:v>
                </c:pt>
                <c:pt idx="6008">
                  <c:v>-9.6839346000000007E-2</c:v>
                </c:pt>
                <c:pt idx="6009">
                  <c:v>-9.6957473000000002E-2</c:v>
                </c:pt>
                <c:pt idx="6010">
                  <c:v>-9.7075107999999993E-2</c:v>
                </c:pt>
                <c:pt idx="6011">
                  <c:v>-9.7192911000000007E-2</c:v>
                </c:pt>
                <c:pt idx="6012">
                  <c:v>-9.7310758999999997E-2</c:v>
                </c:pt>
                <c:pt idx="6013">
                  <c:v>-9.7428899999999999E-2</c:v>
                </c:pt>
                <c:pt idx="6014">
                  <c:v>-9.7546656999999995E-2</c:v>
                </c:pt>
                <c:pt idx="6015">
                  <c:v>-9.7665439000000007E-2</c:v>
                </c:pt>
                <c:pt idx="6016">
                  <c:v>-9.7783584000000007E-2</c:v>
                </c:pt>
                <c:pt idx="6017">
                  <c:v>-9.7902225999999995E-2</c:v>
                </c:pt>
                <c:pt idx="6018">
                  <c:v>-9.8019977999999994E-2</c:v>
                </c:pt>
                <c:pt idx="6019">
                  <c:v>-9.8139738000000004E-2</c:v>
                </c:pt>
                <c:pt idx="6020">
                  <c:v>-9.8256240999999994E-2</c:v>
                </c:pt>
                <c:pt idx="6021">
                  <c:v>-9.8376292000000004E-2</c:v>
                </c:pt>
                <c:pt idx="6022">
                  <c:v>-9.8494592000000006E-2</c:v>
                </c:pt>
                <c:pt idx="6023">
                  <c:v>-9.8613871000000006E-2</c:v>
                </c:pt>
                <c:pt idx="6024">
                  <c:v>-9.8732809000000005E-2</c:v>
                </c:pt>
                <c:pt idx="6025">
                  <c:v>-9.8852299000000005E-2</c:v>
                </c:pt>
                <c:pt idx="6026">
                  <c:v>-9.8970071000000007E-2</c:v>
                </c:pt>
                <c:pt idx="6027">
                  <c:v>-9.9089643000000005E-2</c:v>
                </c:pt>
                <c:pt idx="6028">
                  <c:v>-9.9209255999999996E-2</c:v>
                </c:pt>
                <c:pt idx="6029">
                  <c:v>-9.9329294999999998E-2</c:v>
                </c:pt>
                <c:pt idx="6030">
                  <c:v>-9.9448175999999999E-2</c:v>
                </c:pt>
                <c:pt idx="6031">
                  <c:v>-9.9567137E-2</c:v>
                </c:pt>
                <c:pt idx="6032">
                  <c:v>-9.9686567000000004E-2</c:v>
                </c:pt>
                <c:pt idx="6033">
                  <c:v>-9.9806595999999997E-2</c:v>
                </c:pt>
                <c:pt idx="6034">
                  <c:v>-9.9925986999999994E-2</c:v>
                </c:pt>
                <c:pt idx="6035">
                  <c:v>-0.10004593000000001</c:v>
                </c:pt>
                <c:pt idx="6036">
                  <c:v>-0.10016603</c:v>
                </c:pt>
                <c:pt idx="6037">
                  <c:v>-0.10028631</c:v>
                </c:pt>
                <c:pt idx="6038">
                  <c:v>-0.10040702</c:v>
                </c:pt>
                <c:pt idx="6039">
                  <c:v>-0.10052605000000001</c:v>
                </c:pt>
                <c:pt idx="6040">
                  <c:v>-0.1006461</c:v>
                </c:pt>
                <c:pt idx="6041">
                  <c:v>-0.10076649999999999</c:v>
                </c:pt>
                <c:pt idx="6042">
                  <c:v>-0.10088646</c:v>
                </c:pt>
                <c:pt idx="6043">
                  <c:v>-0.10100758999999999</c:v>
                </c:pt>
                <c:pt idx="6044">
                  <c:v>-0.1011285</c:v>
                </c:pt>
                <c:pt idx="6045">
                  <c:v>-0.10124927</c:v>
                </c:pt>
                <c:pt idx="6046">
                  <c:v>-0.10136938</c:v>
                </c:pt>
                <c:pt idx="6047">
                  <c:v>-0.10149047</c:v>
                </c:pt>
                <c:pt idx="6048">
                  <c:v>-0.10161162</c:v>
                </c:pt>
                <c:pt idx="6049">
                  <c:v>-0.10173297000000001</c:v>
                </c:pt>
                <c:pt idx="6050">
                  <c:v>-0.101853</c:v>
                </c:pt>
                <c:pt idx="6051">
                  <c:v>-0.1019742</c:v>
                </c:pt>
                <c:pt idx="6052">
                  <c:v>-0.10209530999999999</c:v>
                </c:pt>
                <c:pt idx="6053">
                  <c:v>-0.1022169</c:v>
                </c:pt>
                <c:pt idx="6054">
                  <c:v>-0.10233908</c:v>
                </c:pt>
                <c:pt idx="6055">
                  <c:v>-0.10245972</c:v>
                </c:pt>
                <c:pt idx="6056">
                  <c:v>-0.10258191</c:v>
                </c:pt>
                <c:pt idx="6057">
                  <c:v>-0.10270332</c:v>
                </c:pt>
                <c:pt idx="6058">
                  <c:v>-0.10282458</c:v>
                </c:pt>
                <c:pt idx="6059">
                  <c:v>-0.10294677000000001</c:v>
                </c:pt>
                <c:pt idx="6060">
                  <c:v>-0.10306791999999999</c:v>
                </c:pt>
                <c:pt idx="6061">
                  <c:v>-0.10318958</c:v>
                </c:pt>
                <c:pt idx="6062">
                  <c:v>-0.10331257000000001</c:v>
                </c:pt>
                <c:pt idx="6063">
                  <c:v>-0.10343425000000001</c:v>
                </c:pt>
                <c:pt idx="6064">
                  <c:v>-0.10355683</c:v>
                </c:pt>
                <c:pt idx="6065">
                  <c:v>-0.10367874000000001</c:v>
                </c:pt>
                <c:pt idx="6066">
                  <c:v>-0.1038008</c:v>
                </c:pt>
                <c:pt idx="6067">
                  <c:v>-0.10392305</c:v>
                </c:pt>
                <c:pt idx="6068">
                  <c:v>-0.10404633000000001</c:v>
                </c:pt>
                <c:pt idx="6069">
                  <c:v>-0.10416847</c:v>
                </c:pt>
                <c:pt idx="6070">
                  <c:v>-0.10429123</c:v>
                </c:pt>
                <c:pt idx="6071">
                  <c:v>-0.10441400000000001</c:v>
                </c:pt>
                <c:pt idx="6072">
                  <c:v>-0.10453680999999999</c:v>
                </c:pt>
                <c:pt idx="6073">
                  <c:v>-0.10465963</c:v>
                </c:pt>
                <c:pt idx="6074">
                  <c:v>-0.10478178</c:v>
                </c:pt>
                <c:pt idx="6075">
                  <c:v>-0.10490568</c:v>
                </c:pt>
                <c:pt idx="6076">
                  <c:v>-0.10502903</c:v>
                </c:pt>
                <c:pt idx="6077">
                  <c:v>-0.10515284</c:v>
                </c:pt>
                <c:pt idx="6078">
                  <c:v>-0.10527536999999999</c:v>
                </c:pt>
                <c:pt idx="6079">
                  <c:v>-0.10539909</c:v>
                </c:pt>
                <c:pt idx="6080">
                  <c:v>-0.10552225</c:v>
                </c:pt>
                <c:pt idx="6081">
                  <c:v>-0.10564559</c:v>
                </c:pt>
                <c:pt idx="6082">
                  <c:v>-0.10576939</c:v>
                </c:pt>
                <c:pt idx="6083">
                  <c:v>-0.10589423000000001</c:v>
                </c:pt>
                <c:pt idx="6084">
                  <c:v>-0.10601648</c:v>
                </c:pt>
                <c:pt idx="6085">
                  <c:v>-0.10614079999999999</c:v>
                </c:pt>
                <c:pt idx="6086">
                  <c:v>-0.10626468999999999</c:v>
                </c:pt>
                <c:pt idx="6087">
                  <c:v>-0.10638965</c:v>
                </c:pt>
                <c:pt idx="6088">
                  <c:v>-0.10651288</c:v>
                </c:pt>
                <c:pt idx="6089">
                  <c:v>-0.10663817</c:v>
                </c:pt>
                <c:pt idx="6090">
                  <c:v>-0.10676189</c:v>
                </c:pt>
                <c:pt idx="6091">
                  <c:v>-0.10688563</c:v>
                </c:pt>
                <c:pt idx="6092">
                  <c:v>-0.10701028</c:v>
                </c:pt>
                <c:pt idx="6093">
                  <c:v>-0.1071348</c:v>
                </c:pt>
                <c:pt idx="6094">
                  <c:v>-0.10726051</c:v>
                </c:pt>
                <c:pt idx="6095">
                  <c:v>-0.10738466000000001</c:v>
                </c:pt>
                <c:pt idx="6096">
                  <c:v>-0.10750911</c:v>
                </c:pt>
                <c:pt idx="6097">
                  <c:v>-0.10763505</c:v>
                </c:pt>
                <c:pt idx="6098">
                  <c:v>-0.1077584</c:v>
                </c:pt>
                <c:pt idx="6099">
                  <c:v>-0.10788454</c:v>
                </c:pt>
                <c:pt idx="6100">
                  <c:v>-0.10800968</c:v>
                </c:pt>
                <c:pt idx="6101">
                  <c:v>-0.10813426</c:v>
                </c:pt>
                <c:pt idx="6102">
                  <c:v>-0.10826018</c:v>
                </c:pt>
                <c:pt idx="6103">
                  <c:v>-0.10838512</c:v>
                </c:pt>
                <c:pt idx="6104">
                  <c:v>-0.10851094999999999</c:v>
                </c:pt>
                <c:pt idx="6105">
                  <c:v>-0.10863622000000001</c:v>
                </c:pt>
                <c:pt idx="6106">
                  <c:v>-0.10876196</c:v>
                </c:pt>
                <c:pt idx="6107">
                  <c:v>-0.10888803</c:v>
                </c:pt>
                <c:pt idx="6108">
                  <c:v>-0.10901321999999999</c:v>
                </c:pt>
                <c:pt idx="6109">
                  <c:v>-0.1091389</c:v>
                </c:pt>
                <c:pt idx="6110">
                  <c:v>-0.10926516999999999</c:v>
                </c:pt>
                <c:pt idx="6111">
                  <c:v>-0.10939132</c:v>
                </c:pt>
                <c:pt idx="6112">
                  <c:v>-0.10951738</c:v>
                </c:pt>
                <c:pt idx="6113">
                  <c:v>-0.10964314999999999</c:v>
                </c:pt>
                <c:pt idx="6114">
                  <c:v>-0.10977054999999999</c:v>
                </c:pt>
                <c:pt idx="6115">
                  <c:v>-0.10989577</c:v>
                </c:pt>
                <c:pt idx="6116">
                  <c:v>-0.11002207</c:v>
                </c:pt>
                <c:pt idx="6117">
                  <c:v>-0.11014955</c:v>
                </c:pt>
                <c:pt idx="6118">
                  <c:v>-0.11027574</c:v>
                </c:pt>
                <c:pt idx="6119">
                  <c:v>-0.11040211</c:v>
                </c:pt>
                <c:pt idx="6120">
                  <c:v>-0.11052983</c:v>
                </c:pt>
                <c:pt idx="6121">
                  <c:v>-0.11065609999999999</c:v>
                </c:pt>
                <c:pt idx="6122">
                  <c:v>-0.11078328</c:v>
                </c:pt>
                <c:pt idx="6123">
                  <c:v>-0.11091015999999999</c:v>
                </c:pt>
                <c:pt idx="6124">
                  <c:v>-0.11103667</c:v>
                </c:pt>
                <c:pt idx="6125">
                  <c:v>-0.11116437</c:v>
                </c:pt>
                <c:pt idx="6126">
                  <c:v>-0.11129178000000001</c:v>
                </c:pt>
                <c:pt idx="6127">
                  <c:v>-0.11141937</c:v>
                </c:pt>
                <c:pt idx="6128">
                  <c:v>-0.11154595</c:v>
                </c:pt>
                <c:pt idx="6129">
                  <c:v>-0.11167407</c:v>
                </c:pt>
                <c:pt idx="6130">
                  <c:v>-0.11180244</c:v>
                </c:pt>
                <c:pt idx="6131">
                  <c:v>-0.11192956</c:v>
                </c:pt>
                <c:pt idx="6132">
                  <c:v>-0.11205683</c:v>
                </c:pt>
                <c:pt idx="6133">
                  <c:v>-0.11218446999999999</c:v>
                </c:pt>
                <c:pt idx="6134">
                  <c:v>-0.1123131</c:v>
                </c:pt>
                <c:pt idx="6135">
                  <c:v>-0.11244116999999999</c:v>
                </c:pt>
                <c:pt idx="6136">
                  <c:v>-0.11256843</c:v>
                </c:pt>
                <c:pt idx="6137">
                  <c:v>-0.11269684000000001</c:v>
                </c:pt>
                <c:pt idx="6138">
                  <c:v>-0.11282517</c:v>
                </c:pt>
                <c:pt idx="6139">
                  <c:v>-0.11295368</c:v>
                </c:pt>
                <c:pt idx="6140">
                  <c:v>-0.11308217</c:v>
                </c:pt>
                <c:pt idx="6141">
                  <c:v>-0.11321054999999999</c:v>
                </c:pt>
                <c:pt idx="6142">
                  <c:v>-0.11333989</c:v>
                </c:pt>
                <c:pt idx="6143">
                  <c:v>-0.1134677</c:v>
                </c:pt>
                <c:pt idx="6144">
                  <c:v>-0.11359706999999999</c:v>
                </c:pt>
                <c:pt idx="6145">
                  <c:v>-0.11372525999999999</c:v>
                </c:pt>
                <c:pt idx="6146">
                  <c:v>-0.11385453</c:v>
                </c:pt>
                <c:pt idx="6147">
                  <c:v>-0.11398307000000001</c:v>
                </c:pt>
                <c:pt idx="6148">
                  <c:v>-0.11411250000000001</c:v>
                </c:pt>
                <c:pt idx="6149">
                  <c:v>-0.11424254</c:v>
                </c:pt>
                <c:pt idx="6150">
                  <c:v>-0.11437131</c:v>
                </c:pt>
                <c:pt idx="6151">
                  <c:v>-0.11450009999999999</c:v>
                </c:pt>
                <c:pt idx="6152">
                  <c:v>-0.11462952999999999</c:v>
                </c:pt>
                <c:pt idx="6153">
                  <c:v>-0.11475906</c:v>
                </c:pt>
                <c:pt idx="6154">
                  <c:v>-0.11488953</c:v>
                </c:pt>
                <c:pt idx="6155">
                  <c:v>-0.11501836</c:v>
                </c:pt>
                <c:pt idx="6156">
                  <c:v>-0.11514841000000001</c:v>
                </c:pt>
                <c:pt idx="6157">
                  <c:v>-0.11527823</c:v>
                </c:pt>
                <c:pt idx="6158">
                  <c:v>-0.11540847</c:v>
                </c:pt>
                <c:pt idx="6159">
                  <c:v>-0.11553888</c:v>
                </c:pt>
                <c:pt idx="6160">
                  <c:v>-0.11566874000000001</c:v>
                </c:pt>
                <c:pt idx="6161">
                  <c:v>-0.11579804</c:v>
                </c:pt>
                <c:pt idx="6162">
                  <c:v>-0.11592872999999999</c:v>
                </c:pt>
                <c:pt idx="6163">
                  <c:v>-0.1160587</c:v>
                </c:pt>
                <c:pt idx="6164">
                  <c:v>-0.11619023000000001</c:v>
                </c:pt>
                <c:pt idx="6165">
                  <c:v>-0.11631950000000001</c:v>
                </c:pt>
                <c:pt idx="6166">
                  <c:v>-0.11645044</c:v>
                </c:pt>
                <c:pt idx="6167">
                  <c:v>-0.11658134000000001</c:v>
                </c:pt>
                <c:pt idx="6168">
                  <c:v>-0.11671194999999999</c:v>
                </c:pt>
                <c:pt idx="6169">
                  <c:v>-0.11684264</c:v>
                </c:pt>
                <c:pt idx="6170">
                  <c:v>-0.11697349999999999</c:v>
                </c:pt>
                <c:pt idx="6171">
                  <c:v>-0.11710515000000001</c:v>
                </c:pt>
                <c:pt idx="6172">
                  <c:v>-0.11723567999999999</c:v>
                </c:pt>
                <c:pt idx="6173">
                  <c:v>-0.11736662</c:v>
                </c:pt>
                <c:pt idx="6174">
                  <c:v>-0.11749806</c:v>
                </c:pt>
                <c:pt idx="6175">
                  <c:v>-0.11762962</c:v>
                </c:pt>
                <c:pt idx="6176">
                  <c:v>-0.11776113000000001</c:v>
                </c:pt>
                <c:pt idx="6177">
                  <c:v>-0.11789347999999999</c:v>
                </c:pt>
                <c:pt idx="6178">
                  <c:v>-0.11802417</c:v>
                </c:pt>
                <c:pt idx="6179">
                  <c:v>-0.11815615</c:v>
                </c:pt>
                <c:pt idx="6180">
                  <c:v>-0.11828769</c:v>
                </c:pt>
                <c:pt idx="6181">
                  <c:v>-0.11841979</c:v>
                </c:pt>
                <c:pt idx="6182">
                  <c:v>-0.1185514</c:v>
                </c:pt>
                <c:pt idx="6183">
                  <c:v>-0.11868391</c:v>
                </c:pt>
                <c:pt idx="6184">
                  <c:v>-0.11881703</c:v>
                </c:pt>
                <c:pt idx="6185">
                  <c:v>-0.11894821999999999</c:v>
                </c:pt>
                <c:pt idx="6186">
                  <c:v>-0.11907963000000001</c:v>
                </c:pt>
                <c:pt idx="6187">
                  <c:v>-0.11921255</c:v>
                </c:pt>
                <c:pt idx="6188">
                  <c:v>-0.11934491999999999</c:v>
                </c:pt>
                <c:pt idx="6189">
                  <c:v>-0.11947781</c:v>
                </c:pt>
                <c:pt idx="6190">
                  <c:v>-0.11961036</c:v>
                </c:pt>
                <c:pt idx="6191">
                  <c:v>-0.11974319</c:v>
                </c:pt>
                <c:pt idx="6192">
                  <c:v>-0.11987637</c:v>
                </c:pt>
                <c:pt idx="6193">
                  <c:v>-0.12000843999999999</c:v>
                </c:pt>
                <c:pt idx="6194">
                  <c:v>-0.12014141</c:v>
                </c:pt>
                <c:pt idx="6195">
                  <c:v>-0.12027438</c:v>
                </c:pt>
                <c:pt idx="6196">
                  <c:v>-0.12040842</c:v>
                </c:pt>
                <c:pt idx="6197">
                  <c:v>-0.12054119000000001</c:v>
                </c:pt>
                <c:pt idx="6198">
                  <c:v>-0.12067469</c:v>
                </c:pt>
                <c:pt idx="6199">
                  <c:v>-0.12080736</c:v>
                </c:pt>
                <c:pt idx="6200">
                  <c:v>-0.12094042000000001</c:v>
                </c:pt>
                <c:pt idx="6201">
                  <c:v>-0.12107516</c:v>
                </c:pt>
                <c:pt idx="6202">
                  <c:v>-0.12120880000000001</c:v>
                </c:pt>
                <c:pt idx="6203">
                  <c:v>-0.12134217</c:v>
                </c:pt>
                <c:pt idx="6204">
                  <c:v>-0.12147626</c:v>
                </c:pt>
                <c:pt idx="6205">
                  <c:v>-0.12160991</c:v>
                </c:pt>
                <c:pt idx="6206">
                  <c:v>-0.12174383</c:v>
                </c:pt>
                <c:pt idx="6207">
                  <c:v>-0.12187718</c:v>
                </c:pt>
                <c:pt idx="6208">
                  <c:v>-0.12201169000000001</c:v>
                </c:pt>
                <c:pt idx="6209">
                  <c:v>-0.12214630999999999</c:v>
                </c:pt>
                <c:pt idx="6210">
                  <c:v>-0.12228065</c:v>
                </c:pt>
                <c:pt idx="6211">
                  <c:v>-0.12241497</c:v>
                </c:pt>
                <c:pt idx="6212">
                  <c:v>-0.12255017999999999</c:v>
                </c:pt>
                <c:pt idx="6213">
                  <c:v>-0.12268361</c:v>
                </c:pt>
                <c:pt idx="6214">
                  <c:v>-0.12281837</c:v>
                </c:pt>
                <c:pt idx="6215">
                  <c:v>-0.12295302</c:v>
                </c:pt>
                <c:pt idx="6216">
                  <c:v>-0.1230884</c:v>
                </c:pt>
                <c:pt idx="6217">
                  <c:v>-0.12322225000000001</c:v>
                </c:pt>
                <c:pt idx="6218">
                  <c:v>-0.12335798000000001</c:v>
                </c:pt>
                <c:pt idx="6219">
                  <c:v>-0.12349272</c:v>
                </c:pt>
                <c:pt idx="6220">
                  <c:v>-0.12362781</c:v>
                </c:pt>
                <c:pt idx="6221">
                  <c:v>-0.12376407</c:v>
                </c:pt>
                <c:pt idx="6222">
                  <c:v>-0.12389933</c:v>
                </c:pt>
                <c:pt idx="6223">
                  <c:v>-0.12403404</c:v>
                </c:pt>
                <c:pt idx="6224">
                  <c:v>-0.12416901</c:v>
                </c:pt>
                <c:pt idx="6225">
                  <c:v>-0.12430524</c:v>
                </c:pt>
                <c:pt idx="6226">
                  <c:v>-0.12444048000000001</c:v>
                </c:pt>
                <c:pt idx="6227">
                  <c:v>-0.12457633999999999</c:v>
                </c:pt>
                <c:pt idx="6228">
                  <c:v>-0.12471264999999999</c:v>
                </c:pt>
                <c:pt idx="6229">
                  <c:v>-0.12484769</c:v>
                </c:pt>
                <c:pt idx="6230">
                  <c:v>-0.12498407</c:v>
                </c:pt>
                <c:pt idx="6231">
                  <c:v>-0.12512036000000001</c:v>
                </c:pt>
                <c:pt idx="6232">
                  <c:v>-0.12525665</c:v>
                </c:pt>
                <c:pt idx="6233">
                  <c:v>-0.12539238</c:v>
                </c:pt>
                <c:pt idx="6234">
                  <c:v>-0.12552946000000001</c:v>
                </c:pt>
                <c:pt idx="6235">
                  <c:v>-0.12566582000000001</c:v>
                </c:pt>
                <c:pt idx="6236">
                  <c:v>-0.12580271000000001</c:v>
                </c:pt>
                <c:pt idx="6237">
                  <c:v>-0.12593897000000001</c:v>
                </c:pt>
                <c:pt idx="6238">
                  <c:v>-0.12607467999999999</c:v>
                </c:pt>
                <c:pt idx="6239">
                  <c:v>-0.12621182</c:v>
                </c:pt>
                <c:pt idx="6240">
                  <c:v>-0.12634877999999999</c:v>
                </c:pt>
                <c:pt idx="6241">
                  <c:v>-0.12648646</c:v>
                </c:pt>
                <c:pt idx="6242">
                  <c:v>-0.12662322000000001</c:v>
                </c:pt>
                <c:pt idx="6243">
                  <c:v>-0.12675954</c:v>
                </c:pt>
                <c:pt idx="6244">
                  <c:v>-0.12689772999999999</c:v>
                </c:pt>
                <c:pt idx="6245">
                  <c:v>-0.12703403999999999</c:v>
                </c:pt>
                <c:pt idx="6246">
                  <c:v>-0.12717249999999999</c:v>
                </c:pt>
                <c:pt idx="6247">
                  <c:v>-0.12730868000000001</c:v>
                </c:pt>
                <c:pt idx="6248">
                  <c:v>-0.12744668000000001</c:v>
                </c:pt>
                <c:pt idx="6249">
                  <c:v>-0.12758421</c:v>
                </c:pt>
                <c:pt idx="6250">
                  <c:v>-0.12772257000000001</c:v>
                </c:pt>
                <c:pt idx="6251">
                  <c:v>-0.12785946000000001</c:v>
                </c:pt>
                <c:pt idx="6252">
                  <c:v>-0.12799796999999999</c:v>
                </c:pt>
                <c:pt idx="6253">
                  <c:v>-0.1281371</c:v>
                </c:pt>
                <c:pt idx="6254">
                  <c:v>-0.12827416999999999</c:v>
                </c:pt>
                <c:pt idx="6255">
                  <c:v>-0.12841320000000001</c:v>
                </c:pt>
                <c:pt idx="6256">
                  <c:v>-0.12855052</c:v>
                </c:pt>
                <c:pt idx="6257">
                  <c:v>-0.12868917999999999</c:v>
                </c:pt>
                <c:pt idx="6258">
                  <c:v>-0.12882740000000001</c:v>
                </c:pt>
                <c:pt idx="6259">
                  <c:v>-0.12896524000000001</c:v>
                </c:pt>
                <c:pt idx="6260">
                  <c:v>-0.129104</c:v>
                </c:pt>
                <c:pt idx="6261">
                  <c:v>-0.12924263999999999</c:v>
                </c:pt>
                <c:pt idx="6262">
                  <c:v>-0.12938145000000001</c:v>
                </c:pt>
                <c:pt idx="6263">
                  <c:v>-0.129521</c:v>
                </c:pt>
                <c:pt idx="6264">
                  <c:v>-0.12965972000000001</c:v>
                </c:pt>
                <c:pt idx="6265">
                  <c:v>-0.12979801999999999</c:v>
                </c:pt>
                <c:pt idx="6266">
                  <c:v>-0.12993756000000001</c:v>
                </c:pt>
                <c:pt idx="6267">
                  <c:v>-0.13007606999999999</c:v>
                </c:pt>
                <c:pt idx="6268">
                  <c:v>-0.13021489999999999</c:v>
                </c:pt>
                <c:pt idx="6269">
                  <c:v>-0.13035506999999999</c:v>
                </c:pt>
                <c:pt idx="6270">
                  <c:v>-0.130494</c:v>
                </c:pt>
                <c:pt idx="6271">
                  <c:v>-0.13063424000000001</c:v>
                </c:pt>
                <c:pt idx="6272">
                  <c:v>-0.13077332999999999</c:v>
                </c:pt>
                <c:pt idx="6273">
                  <c:v>-0.13091322</c:v>
                </c:pt>
                <c:pt idx="6274">
                  <c:v>-0.13105285</c:v>
                </c:pt>
                <c:pt idx="6275">
                  <c:v>-0.1311929</c:v>
                </c:pt>
                <c:pt idx="6276">
                  <c:v>-0.13133239999999999</c:v>
                </c:pt>
                <c:pt idx="6277">
                  <c:v>-0.13147195</c:v>
                </c:pt>
                <c:pt idx="6278">
                  <c:v>-0.13161287999999999</c:v>
                </c:pt>
                <c:pt idx="6279">
                  <c:v>-0.13175264</c:v>
                </c:pt>
                <c:pt idx="6280">
                  <c:v>-0.13189402</c:v>
                </c:pt>
                <c:pt idx="6281">
                  <c:v>-0.13203413999999999</c:v>
                </c:pt>
                <c:pt idx="6282">
                  <c:v>-0.13217398999999999</c:v>
                </c:pt>
                <c:pt idx="6283">
                  <c:v>-0.13231446999999999</c:v>
                </c:pt>
                <c:pt idx="6284">
                  <c:v>-0.13245615999999999</c:v>
                </c:pt>
                <c:pt idx="6285">
                  <c:v>-0.13259549000000001</c:v>
                </c:pt>
                <c:pt idx="6286">
                  <c:v>-0.13273650000000001</c:v>
                </c:pt>
                <c:pt idx="6287">
                  <c:v>-0.13287813000000001</c:v>
                </c:pt>
                <c:pt idx="6288">
                  <c:v>-0.13301831</c:v>
                </c:pt>
                <c:pt idx="6289">
                  <c:v>-0.13315937999999999</c:v>
                </c:pt>
                <c:pt idx="6290">
                  <c:v>-0.13330081999999999</c:v>
                </c:pt>
                <c:pt idx="6291">
                  <c:v>-0.13344185</c:v>
                </c:pt>
                <c:pt idx="6292">
                  <c:v>-0.13358402999999999</c:v>
                </c:pt>
                <c:pt idx="6293">
                  <c:v>-0.13372508</c:v>
                </c:pt>
                <c:pt idx="6294">
                  <c:v>-0.13386545999999999</c:v>
                </c:pt>
                <c:pt idx="6295">
                  <c:v>-0.13400894999999999</c:v>
                </c:pt>
                <c:pt idx="6296">
                  <c:v>-0.13414981000000001</c:v>
                </c:pt>
                <c:pt idx="6297">
                  <c:v>-0.13429142999999999</c:v>
                </c:pt>
                <c:pt idx="6298">
                  <c:v>-0.1344331</c:v>
                </c:pt>
                <c:pt idx="6299">
                  <c:v>-0.13457494</c:v>
                </c:pt>
                <c:pt idx="6300">
                  <c:v>-0.13471696</c:v>
                </c:pt>
                <c:pt idx="6301">
                  <c:v>-0.13485974000000001</c:v>
                </c:pt>
                <c:pt idx="6302">
                  <c:v>-0.13500269000000001</c:v>
                </c:pt>
                <c:pt idx="6303">
                  <c:v>-0.13514393</c:v>
                </c:pt>
                <c:pt idx="6304">
                  <c:v>-0.13528592</c:v>
                </c:pt>
                <c:pt idx="6305">
                  <c:v>-0.1354281</c:v>
                </c:pt>
                <c:pt idx="6306">
                  <c:v>-0.13557104</c:v>
                </c:pt>
                <c:pt idx="6307">
                  <c:v>-0.13571415000000001</c:v>
                </c:pt>
                <c:pt idx="6308">
                  <c:v>-0.13585612999999999</c:v>
                </c:pt>
                <c:pt idx="6309">
                  <c:v>-0.13599900000000001</c:v>
                </c:pt>
                <c:pt idx="6310">
                  <c:v>-0.13614309999999999</c:v>
                </c:pt>
                <c:pt idx="6311">
                  <c:v>-0.13628443000000001</c:v>
                </c:pt>
                <c:pt idx="6312">
                  <c:v>-0.13642828000000001</c:v>
                </c:pt>
                <c:pt idx="6313">
                  <c:v>-0.13657114000000001</c:v>
                </c:pt>
                <c:pt idx="6314">
                  <c:v>-0.13671404000000001</c:v>
                </c:pt>
                <c:pt idx="6315">
                  <c:v>-0.13685725000000001</c:v>
                </c:pt>
                <c:pt idx="6316">
                  <c:v>-0.13700154</c:v>
                </c:pt>
                <c:pt idx="6317">
                  <c:v>-0.13714523000000001</c:v>
                </c:pt>
                <c:pt idx="6318">
                  <c:v>-0.13728809</c:v>
                </c:pt>
                <c:pt idx="6319">
                  <c:v>-0.13743116999999999</c:v>
                </c:pt>
                <c:pt idx="6320">
                  <c:v>-0.13757453</c:v>
                </c:pt>
                <c:pt idx="6321">
                  <c:v>-0.13771897999999999</c:v>
                </c:pt>
                <c:pt idx="6322">
                  <c:v>-0.1378643</c:v>
                </c:pt>
                <c:pt idx="6323">
                  <c:v>-0.13800736999999999</c:v>
                </c:pt>
                <c:pt idx="6324">
                  <c:v>-0.1381513</c:v>
                </c:pt>
                <c:pt idx="6325">
                  <c:v>-0.13829540000000001</c:v>
                </c:pt>
                <c:pt idx="6326">
                  <c:v>-0.13843953000000001</c:v>
                </c:pt>
                <c:pt idx="6327">
                  <c:v>-0.13858445999999999</c:v>
                </c:pt>
                <c:pt idx="6328">
                  <c:v>-0.13872836999999999</c:v>
                </c:pt>
                <c:pt idx="6329">
                  <c:v>-0.13887350000000001</c:v>
                </c:pt>
                <c:pt idx="6330">
                  <c:v>-0.13901775999999999</c:v>
                </c:pt>
                <c:pt idx="6331">
                  <c:v>-0.13916253000000001</c:v>
                </c:pt>
                <c:pt idx="6332">
                  <c:v>-0.13930820999999999</c:v>
                </c:pt>
                <c:pt idx="6333">
                  <c:v>-0.13945283999999999</c:v>
                </c:pt>
                <c:pt idx="6334">
                  <c:v>-0.13959753999999999</c:v>
                </c:pt>
                <c:pt idx="6335">
                  <c:v>-0.13974239999999999</c:v>
                </c:pt>
                <c:pt idx="6336">
                  <c:v>-0.13988807</c:v>
                </c:pt>
                <c:pt idx="6337">
                  <c:v>-0.14003267999999999</c:v>
                </c:pt>
                <c:pt idx="6338">
                  <c:v>-0.14017808000000001</c:v>
                </c:pt>
                <c:pt idx="6339">
                  <c:v>-0.14032281999999999</c:v>
                </c:pt>
                <c:pt idx="6340">
                  <c:v>-0.14046873000000001</c:v>
                </c:pt>
                <c:pt idx="6341">
                  <c:v>-0.14061425</c:v>
                </c:pt>
                <c:pt idx="6342">
                  <c:v>-0.1407602</c:v>
                </c:pt>
                <c:pt idx="6343">
                  <c:v>-0.14090635000000001</c:v>
                </c:pt>
                <c:pt idx="6344">
                  <c:v>-0.1410518</c:v>
                </c:pt>
                <c:pt idx="6345">
                  <c:v>-0.14119818000000001</c:v>
                </c:pt>
                <c:pt idx="6346">
                  <c:v>-0.14134356000000001</c:v>
                </c:pt>
                <c:pt idx="6347">
                  <c:v>-0.14149012</c:v>
                </c:pt>
                <c:pt idx="6348">
                  <c:v>-0.14163627000000001</c:v>
                </c:pt>
                <c:pt idx="6349">
                  <c:v>-0.14178267</c:v>
                </c:pt>
                <c:pt idx="6350">
                  <c:v>-0.14192842</c:v>
                </c:pt>
                <c:pt idx="6351">
                  <c:v>-0.14207513999999999</c:v>
                </c:pt>
                <c:pt idx="6352">
                  <c:v>-0.14222245</c:v>
                </c:pt>
                <c:pt idx="6353">
                  <c:v>-0.14236762</c:v>
                </c:pt>
                <c:pt idx="6354">
                  <c:v>-0.14251516</c:v>
                </c:pt>
                <c:pt idx="6355">
                  <c:v>-0.14266228</c:v>
                </c:pt>
                <c:pt idx="6356">
                  <c:v>-0.14280957</c:v>
                </c:pt>
                <c:pt idx="6357">
                  <c:v>-0.142956</c:v>
                </c:pt>
                <c:pt idx="6358">
                  <c:v>-0.14310250999999999</c:v>
                </c:pt>
                <c:pt idx="6359">
                  <c:v>-0.14325054000000001</c:v>
                </c:pt>
                <c:pt idx="6360">
                  <c:v>-0.14339677000000001</c:v>
                </c:pt>
                <c:pt idx="6361">
                  <c:v>-0.14354351000000001</c:v>
                </c:pt>
                <c:pt idx="6362">
                  <c:v>-0.14369224</c:v>
                </c:pt>
                <c:pt idx="6363">
                  <c:v>-0.14383899999999999</c:v>
                </c:pt>
                <c:pt idx="6364">
                  <c:v>-0.14398668000000001</c:v>
                </c:pt>
                <c:pt idx="6365">
                  <c:v>-0.14413458000000001</c:v>
                </c:pt>
                <c:pt idx="6366">
                  <c:v>-0.14428284</c:v>
                </c:pt>
                <c:pt idx="6367">
                  <c:v>-0.14443033</c:v>
                </c:pt>
                <c:pt idx="6368">
                  <c:v>-0.14457888999999999</c:v>
                </c:pt>
                <c:pt idx="6369">
                  <c:v>-0.14472660000000001</c:v>
                </c:pt>
                <c:pt idx="6370">
                  <c:v>-0.14487425000000001</c:v>
                </c:pt>
                <c:pt idx="6371">
                  <c:v>-0.14502308</c:v>
                </c:pt>
                <c:pt idx="6372">
                  <c:v>-0.14517131999999999</c:v>
                </c:pt>
                <c:pt idx="6373">
                  <c:v>-0.14531920000000001</c:v>
                </c:pt>
                <c:pt idx="6374">
                  <c:v>-0.1454685</c:v>
                </c:pt>
                <c:pt idx="6375">
                  <c:v>-0.14561631999999999</c:v>
                </c:pt>
                <c:pt idx="6376">
                  <c:v>-0.14576506</c:v>
                </c:pt>
                <c:pt idx="6377">
                  <c:v>-0.14591404999999999</c:v>
                </c:pt>
                <c:pt idx="6378">
                  <c:v>-0.14606321</c:v>
                </c:pt>
                <c:pt idx="6379">
                  <c:v>-0.14621142000000001</c:v>
                </c:pt>
                <c:pt idx="6380">
                  <c:v>-0.14636087</c:v>
                </c:pt>
                <c:pt idx="6381">
                  <c:v>-0.14650959</c:v>
                </c:pt>
                <c:pt idx="6382">
                  <c:v>-0.14665932000000001</c:v>
                </c:pt>
                <c:pt idx="6383">
                  <c:v>-0.14680863999999999</c:v>
                </c:pt>
                <c:pt idx="6384">
                  <c:v>-0.14695754</c:v>
                </c:pt>
                <c:pt idx="6385">
                  <c:v>-0.14710696000000001</c:v>
                </c:pt>
                <c:pt idx="6386">
                  <c:v>-0.14725668</c:v>
                </c:pt>
                <c:pt idx="6387">
                  <c:v>-0.14740691</c:v>
                </c:pt>
                <c:pt idx="6388">
                  <c:v>-0.14755692000000001</c:v>
                </c:pt>
                <c:pt idx="6389">
                  <c:v>-0.14770679</c:v>
                </c:pt>
                <c:pt idx="6390">
                  <c:v>-0.14785636999999999</c:v>
                </c:pt>
                <c:pt idx="6391">
                  <c:v>-0.14800553999999999</c:v>
                </c:pt>
                <c:pt idx="6392">
                  <c:v>-0.14815624999999999</c:v>
                </c:pt>
                <c:pt idx="6393">
                  <c:v>-0.14830682000000001</c:v>
                </c:pt>
                <c:pt idx="6394">
                  <c:v>-0.14845626000000001</c:v>
                </c:pt>
                <c:pt idx="6395">
                  <c:v>-0.14860659000000001</c:v>
                </c:pt>
                <c:pt idx="6396">
                  <c:v>-0.14875691999999999</c:v>
                </c:pt>
                <c:pt idx="6397">
                  <c:v>-0.14890751999999999</c:v>
                </c:pt>
                <c:pt idx="6398">
                  <c:v>-0.14905872000000001</c:v>
                </c:pt>
                <c:pt idx="6399">
                  <c:v>-0.14920891</c:v>
                </c:pt>
                <c:pt idx="6400">
                  <c:v>-0.14935915999999999</c:v>
                </c:pt>
                <c:pt idx="6401">
                  <c:v>-0.14951075999999999</c:v>
                </c:pt>
                <c:pt idx="6402">
                  <c:v>-0.14966193999999999</c:v>
                </c:pt>
                <c:pt idx="6403">
                  <c:v>-0.14981298000000001</c:v>
                </c:pt>
                <c:pt idx="6404">
                  <c:v>-0.14996333000000001</c:v>
                </c:pt>
                <c:pt idx="6405">
                  <c:v>-0.15011550000000001</c:v>
                </c:pt>
                <c:pt idx="6406">
                  <c:v>-0.15026608999999999</c:v>
                </c:pt>
                <c:pt idx="6407">
                  <c:v>-0.15041841</c:v>
                </c:pt>
                <c:pt idx="6408">
                  <c:v>-0.15056968000000001</c:v>
                </c:pt>
                <c:pt idx="6409">
                  <c:v>-0.15072087000000001</c:v>
                </c:pt>
                <c:pt idx="6410">
                  <c:v>-0.15087225000000001</c:v>
                </c:pt>
                <c:pt idx="6411">
                  <c:v>-0.15102467999999999</c:v>
                </c:pt>
                <c:pt idx="6412">
                  <c:v>-0.15117688000000001</c:v>
                </c:pt>
                <c:pt idx="6413">
                  <c:v>-0.15132847999999999</c:v>
                </c:pt>
                <c:pt idx="6414">
                  <c:v>-0.15148031000000001</c:v>
                </c:pt>
                <c:pt idx="6415">
                  <c:v>-0.15163286000000001</c:v>
                </c:pt>
                <c:pt idx="6416">
                  <c:v>-0.15178443999999999</c:v>
                </c:pt>
                <c:pt idx="6417">
                  <c:v>-0.15193662999999999</c:v>
                </c:pt>
                <c:pt idx="6418">
                  <c:v>-0.15208949999999999</c:v>
                </c:pt>
                <c:pt idx="6419">
                  <c:v>-0.15224086000000001</c:v>
                </c:pt>
                <c:pt idx="6420">
                  <c:v>-0.15239359999999999</c:v>
                </c:pt>
                <c:pt idx="6421">
                  <c:v>-0.15254672</c:v>
                </c:pt>
                <c:pt idx="6422">
                  <c:v>-0.15269957000000001</c:v>
                </c:pt>
                <c:pt idx="6423">
                  <c:v>-0.15285269000000001</c:v>
                </c:pt>
                <c:pt idx="6424">
                  <c:v>-0.15300459</c:v>
                </c:pt>
                <c:pt idx="6425">
                  <c:v>-0.15315841999999999</c:v>
                </c:pt>
                <c:pt idx="6426">
                  <c:v>-0.15331230000000001</c:v>
                </c:pt>
                <c:pt idx="6427">
                  <c:v>-0.15346459000000001</c:v>
                </c:pt>
                <c:pt idx="6428">
                  <c:v>-0.15361822999999999</c:v>
                </c:pt>
                <c:pt idx="6429">
                  <c:v>-0.15377193</c:v>
                </c:pt>
                <c:pt idx="6430">
                  <c:v>-0.15392481</c:v>
                </c:pt>
                <c:pt idx="6431">
                  <c:v>-0.15407878999999999</c:v>
                </c:pt>
                <c:pt idx="6432">
                  <c:v>-0.15423158000000001</c:v>
                </c:pt>
                <c:pt idx="6433">
                  <c:v>-0.15438587000000001</c:v>
                </c:pt>
                <c:pt idx="6434">
                  <c:v>-0.15453901</c:v>
                </c:pt>
                <c:pt idx="6435">
                  <c:v>-0.15469352</c:v>
                </c:pt>
                <c:pt idx="6436">
                  <c:v>-0.1548476</c:v>
                </c:pt>
                <c:pt idx="6437">
                  <c:v>-0.15500173</c:v>
                </c:pt>
                <c:pt idx="6438">
                  <c:v>-0.15515633000000001</c:v>
                </c:pt>
                <c:pt idx="6439">
                  <c:v>-0.15531042</c:v>
                </c:pt>
                <c:pt idx="6440">
                  <c:v>-0.15546483</c:v>
                </c:pt>
                <c:pt idx="6441">
                  <c:v>-0.1556189</c:v>
                </c:pt>
                <c:pt idx="6442">
                  <c:v>-0.15577424000000001</c:v>
                </c:pt>
                <c:pt idx="6443">
                  <c:v>-0.15592702</c:v>
                </c:pt>
                <c:pt idx="6444">
                  <c:v>-0.15608301999999999</c:v>
                </c:pt>
                <c:pt idx="6445">
                  <c:v>-0.15623745999999999</c:v>
                </c:pt>
                <c:pt idx="6446">
                  <c:v>-0.15639264</c:v>
                </c:pt>
                <c:pt idx="6447">
                  <c:v>-0.15654731</c:v>
                </c:pt>
                <c:pt idx="6448">
                  <c:v>-0.15670352000000001</c:v>
                </c:pt>
                <c:pt idx="6449">
                  <c:v>-0.15685806999999999</c:v>
                </c:pt>
                <c:pt idx="6450">
                  <c:v>-0.15701314</c:v>
                </c:pt>
                <c:pt idx="6451">
                  <c:v>-0.15716838</c:v>
                </c:pt>
                <c:pt idx="6452">
                  <c:v>-0.15732446999999999</c:v>
                </c:pt>
                <c:pt idx="6453">
                  <c:v>-0.15748006000000001</c:v>
                </c:pt>
                <c:pt idx="6454">
                  <c:v>-0.15763510999999999</c:v>
                </c:pt>
                <c:pt idx="6455">
                  <c:v>-0.15779103999999999</c:v>
                </c:pt>
                <c:pt idx="6456">
                  <c:v>-0.15794714000000001</c:v>
                </c:pt>
                <c:pt idx="6457">
                  <c:v>-0.15810260000000001</c:v>
                </c:pt>
                <c:pt idx="6458">
                  <c:v>-0.15825810000000001</c:v>
                </c:pt>
                <c:pt idx="6459">
                  <c:v>-0.15841425000000001</c:v>
                </c:pt>
                <c:pt idx="6460">
                  <c:v>-0.15857057999999999</c:v>
                </c:pt>
                <c:pt idx="6461">
                  <c:v>-0.15872671999999999</c:v>
                </c:pt>
                <c:pt idx="6462">
                  <c:v>-0.15888327999999999</c:v>
                </c:pt>
                <c:pt idx="6463">
                  <c:v>-0.15904059000000001</c:v>
                </c:pt>
                <c:pt idx="6464">
                  <c:v>-0.15919701999999999</c:v>
                </c:pt>
                <c:pt idx="6465">
                  <c:v>-0.15935339000000001</c:v>
                </c:pt>
                <c:pt idx="6466">
                  <c:v>-0.15951064000000001</c:v>
                </c:pt>
                <c:pt idx="6467">
                  <c:v>-0.15966689000000001</c:v>
                </c:pt>
                <c:pt idx="6468">
                  <c:v>-0.15982424000000001</c:v>
                </c:pt>
                <c:pt idx="6469">
                  <c:v>-0.15998095000000001</c:v>
                </c:pt>
                <c:pt idx="6470">
                  <c:v>-0.16013821</c:v>
                </c:pt>
                <c:pt idx="6471">
                  <c:v>-0.16029478999999999</c:v>
                </c:pt>
                <c:pt idx="6472">
                  <c:v>-0.16045177999999999</c:v>
                </c:pt>
                <c:pt idx="6473">
                  <c:v>-0.16060989000000001</c:v>
                </c:pt>
                <c:pt idx="6474">
                  <c:v>-0.16076735</c:v>
                </c:pt>
                <c:pt idx="6475">
                  <c:v>-0.16092380000000001</c:v>
                </c:pt>
                <c:pt idx="6476">
                  <c:v>-0.16108312999999999</c:v>
                </c:pt>
                <c:pt idx="6477">
                  <c:v>-0.16123981000000001</c:v>
                </c:pt>
                <c:pt idx="6478">
                  <c:v>-0.16139771999999999</c:v>
                </c:pt>
                <c:pt idx="6479">
                  <c:v>-0.16155533999999999</c:v>
                </c:pt>
                <c:pt idx="6480">
                  <c:v>-0.16171395999999999</c:v>
                </c:pt>
                <c:pt idx="6481">
                  <c:v>-0.16187180000000001</c:v>
                </c:pt>
                <c:pt idx="6482">
                  <c:v>-0.16203005000000001</c:v>
                </c:pt>
                <c:pt idx="6483">
                  <c:v>-0.1621882</c:v>
                </c:pt>
                <c:pt idx="6484">
                  <c:v>-0.16234652999999999</c:v>
                </c:pt>
                <c:pt idx="6485">
                  <c:v>-0.16250577999999999</c:v>
                </c:pt>
                <c:pt idx="6486">
                  <c:v>-0.16266309000000001</c:v>
                </c:pt>
                <c:pt idx="6487">
                  <c:v>-0.16282257</c:v>
                </c:pt>
                <c:pt idx="6488">
                  <c:v>-0.16298103999999999</c:v>
                </c:pt>
                <c:pt idx="6489">
                  <c:v>-0.16313968000000001</c:v>
                </c:pt>
                <c:pt idx="6490">
                  <c:v>-0.16329837999999999</c:v>
                </c:pt>
                <c:pt idx="6491">
                  <c:v>-0.16345787000000001</c:v>
                </c:pt>
                <c:pt idx="6492">
                  <c:v>-0.16361691</c:v>
                </c:pt>
                <c:pt idx="6493">
                  <c:v>-0.16377601999999999</c:v>
                </c:pt>
                <c:pt idx="6494">
                  <c:v>-0.16393447</c:v>
                </c:pt>
                <c:pt idx="6495">
                  <c:v>-0.16409501000000001</c:v>
                </c:pt>
                <c:pt idx="6496">
                  <c:v>-0.16425381999999999</c:v>
                </c:pt>
                <c:pt idx="6497">
                  <c:v>-0.16441291</c:v>
                </c:pt>
                <c:pt idx="6498">
                  <c:v>-0.16457300999999999</c:v>
                </c:pt>
                <c:pt idx="6499">
                  <c:v>-0.16473299</c:v>
                </c:pt>
                <c:pt idx="6500">
                  <c:v>-0.16489224999999999</c:v>
                </c:pt>
                <c:pt idx="6501">
                  <c:v>-0.16505242000000001</c:v>
                </c:pt>
                <c:pt idx="6502">
                  <c:v>-0.16521238999999999</c:v>
                </c:pt>
                <c:pt idx="6503">
                  <c:v>-0.16537372</c:v>
                </c:pt>
                <c:pt idx="6504">
                  <c:v>-0.16553285000000001</c:v>
                </c:pt>
                <c:pt idx="6505">
                  <c:v>-0.16569231000000001</c:v>
                </c:pt>
                <c:pt idx="6506">
                  <c:v>-0.16585258999999999</c:v>
                </c:pt>
                <c:pt idx="6507">
                  <c:v>-0.16601405</c:v>
                </c:pt>
                <c:pt idx="6508">
                  <c:v>-0.16617471</c:v>
                </c:pt>
                <c:pt idx="6509">
                  <c:v>-0.16633555</c:v>
                </c:pt>
                <c:pt idx="6510">
                  <c:v>-0.16649585</c:v>
                </c:pt>
                <c:pt idx="6511">
                  <c:v>-0.16665585999999999</c:v>
                </c:pt>
                <c:pt idx="6512">
                  <c:v>-0.16681683999999999</c:v>
                </c:pt>
                <c:pt idx="6513">
                  <c:v>-0.16697872999999999</c:v>
                </c:pt>
                <c:pt idx="6514">
                  <c:v>-0.16713918</c:v>
                </c:pt>
                <c:pt idx="6515">
                  <c:v>-0.16730059999999999</c:v>
                </c:pt>
                <c:pt idx="6516">
                  <c:v>-0.16746113000000001</c:v>
                </c:pt>
                <c:pt idx="6517">
                  <c:v>-0.16762347999999999</c:v>
                </c:pt>
                <c:pt idx="6518">
                  <c:v>-0.16778456</c:v>
                </c:pt>
                <c:pt idx="6519">
                  <c:v>-0.16794655</c:v>
                </c:pt>
                <c:pt idx="6520">
                  <c:v>-0.16810876999999999</c:v>
                </c:pt>
                <c:pt idx="6521">
                  <c:v>-0.16827030000000001</c:v>
                </c:pt>
                <c:pt idx="6522">
                  <c:v>-0.16843167000000001</c:v>
                </c:pt>
                <c:pt idx="6523">
                  <c:v>-0.16859342999999999</c:v>
                </c:pt>
                <c:pt idx="6524">
                  <c:v>-0.16875577999999999</c:v>
                </c:pt>
                <c:pt idx="6525">
                  <c:v>-0.16891729</c:v>
                </c:pt>
                <c:pt idx="6526">
                  <c:v>-0.16908052000000001</c:v>
                </c:pt>
                <c:pt idx="6527">
                  <c:v>-0.16924227</c:v>
                </c:pt>
                <c:pt idx="6528">
                  <c:v>-0.16940495999999999</c:v>
                </c:pt>
                <c:pt idx="6529">
                  <c:v>-0.16956671000000001</c:v>
                </c:pt>
                <c:pt idx="6530">
                  <c:v>-0.16973009999999999</c:v>
                </c:pt>
                <c:pt idx="6531">
                  <c:v>-0.16989234</c:v>
                </c:pt>
                <c:pt idx="6532">
                  <c:v>-0.17005472999999999</c:v>
                </c:pt>
                <c:pt idx="6533">
                  <c:v>-0.17021781999999999</c:v>
                </c:pt>
                <c:pt idx="6534">
                  <c:v>-0.17038032</c:v>
                </c:pt>
                <c:pt idx="6535">
                  <c:v>-0.17054337</c:v>
                </c:pt>
                <c:pt idx="6536">
                  <c:v>-0.17070756000000001</c:v>
                </c:pt>
                <c:pt idx="6537">
                  <c:v>-0.17086918000000001</c:v>
                </c:pt>
                <c:pt idx="6538">
                  <c:v>-0.17103359000000001</c:v>
                </c:pt>
                <c:pt idx="6539">
                  <c:v>-0.17119686000000001</c:v>
                </c:pt>
                <c:pt idx="6540">
                  <c:v>-0.17136067999999999</c:v>
                </c:pt>
                <c:pt idx="6541">
                  <c:v>-0.1715246</c:v>
                </c:pt>
                <c:pt idx="6542">
                  <c:v>-0.17168848</c:v>
                </c:pt>
                <c:pt idx="6543">
                  <c:v>-0.17185138999999999</c:v>
                </c:pt>
                <c:pt idx="6544">
                  <c:v>-0.17201507999999999</c:v>
                </c:pt>
                <c:pt idx="6545">
                  <c:v>-0.17217989</c:v>
                </c:pt>
                <c:pt idx="6546">
                  <c:v>-0.17234327999999999</c:v>
                </c:pt>
                <c:pt idx="6547">
                  <c:v>-0.17250778</c:v>
                </c:pt>
                <c:pt idx="6548">
                  <c:v>-0.17267177</c:v>
                </c:pt>
                <c:pt idx="6549">
                  <c:v>-0.17283544000000001</c:v>
                </c:pt>
                <c:pt idx="6550">
                  <c:v>-0.17300024999999999</c:v>
                </c:pt>
                <c:pt idx="6551">
                  <c:v>-0.17316506000000001</c:v>
                </c:pt>
                <c:pt idx="6552">
                  <c:v>-0.17333014999999999</c:v>
                </c:pt>
                <c:pt idx="6553">
                  <c:v>-0.1734946</c:v>
                </c:pt>
                <c:pt idx="6554">
                  <c:v>-0.17365955</c:v>
                </c:pt>
                <c:pt idx="6555">
                  <c:v>-0.17382471999999999</c:v>
                </c:pt>
                <c:pt idx="6556">
                  <c:v>-0.17398860999999999</c:v>
                </c:pt>
                <c:pt idx="6557">
                  <c:v>-0.17415518999999999</c:v>
                </c:pt>
                <c:pt idx="6558">
                  <c:v>-0.17431920000000001</c:v>
                </c:pt>
                <c:pt idx="6559">
                  <c:v>-0.17448542</c:v>
                </c:pt>
                <c:pt idx="6560">
                  <c:v>-0.17465084</c:v>
                </c:pt>
                <c:pt idx="6561">
                  <c:v>-0.17481611999999999</c:v>
                </c:pt>
                <c:pt idx="6562">
                  <c:v>-0.17498103000000001</c:v>
                </c:pt>
                <c:pt idx="6563">
                  <c:v>-0.17514658</c:v>
                </c:pt>
                <c:pt idx="6564">
                  <c:v>-0.17531172</c:v>
                </c:pt>
                <c:pt idx="6565">
                  <c:v>-0.1754781</c:v>
                </c:pt>
                <c:pt idx="6566">
                  <c:v>-0.17564357999999999</c:v>
                </c:pt>
                <c:pt idx="6567">
                  <c:v>-0.17580942999999999</c:v>
                </c:pt>
                <c:pt idx="6568">
                  <c:v>-0.17597566000000001</c:v>
                </c:pt>
                <c:pt idx="6569">
                  <c:v>-0.17614177</c:v>
                </c:pt>
                <c:pt idx="6570">
                  <c:v>-0.17630821999999999</c:v>
                </c:pt>
                <c:pt idx="6571">
                  <c:v>-0.17647494</c:v>
                </c:pt>
                <c:pt idx="6572">
                  <c:v>-0.17664221999999999</c:v>
                </c:pt>
                <c:pt idx="6573">
                  <c:v>-0.17680751</c:v>
                </c:pt>
                <c:pt idx="6574">
                  <c:v>-0.17697428000000001</c:v>
                </c:pt>
                <c:pt idx="6575">
                  <c:v>-0.17714162</c:v>
                </c:pt>
                <c:pt idx="6576">
                  <c:v>-0.17730781000000001</c:v>
                </c:pt>
                <c:pt idx="6577">
                  <c:v>-0.17747560000000001</c:v>
                </c:pt>
                <c:pt idx="6578">
                  <c:v>-0.17764257999999999</c:v>
                </c:pt>
                <c:pt idx="6579">
                  <c:v>-0.17780915999999999</c:v>
                </c:pt>
                <c:pt idx="6580">
                  <c:v>-0.17797656000000001</c:v>
                </c:pt>
                <c:pt idx="6581">
                  <c:v>-0.17814397000000001</c:v>
                </c:pt>
                <c:pt idx="6582">
                  <c:v>-0.178311</c:v>
                </c:pt>
                <c:pt idx="6583">
                  <c:v>-0.17847832</c:v>
                </c:pt>
                <c:pt idx="6584">
                  <c:v>-0.17864675999999999</c:v>
                </c:pt>
                <c:pt idx="6585">
                  <c:v>-0.17881463</c:v>
                </c:pt>
                <c:pt idx="6586">
                  <c:v>-0.17898231000000001</c:v>
                </c:pt>
                <c:pt idx="6587">
                  <c:v>-0.1791497</c:v>
                </c:pt>
                <c:pt idx="6588">
                  <c:v>-0.17931801</c:v>
                </c:pt>
                <c:pt idx="6589">
                  <c:v>-0.17948494000000001</c:v>
                </c:pt>
                <c:pt idx="6590">
                  <c:v>-0.17965379000000001</c:v>
                </c:pt>
                <c:pt idx="6591">
                  <c:v>-0.17982143</c:v>
                </c:pt>
                <c:pt idx="6592">
                  <c:v>-0.17999069000000001</c:v>
                </c:pt>
                <c:pt idx="6593">
                  <c:v>-0.18015866</c:v>
                </c:pt>
                <c:pt idx="6594">
                  <c:v>-0.18032729</c:v>
                </c:pt>
                <c:pt idx="6595">
                  <c:v>-0.18049598</c:v>
                </c:pt>
                <c:pt idx="6596">
                  <c:v>-0.18066425</c:v>
                </c:pt>
                <c:pt idx="6597">
                  <c:v>-0.18083263999999999</c:v>
                </c:pt>
                <c:pt idx="6598">
                  <c:v>-0.18100221999999999</c:v>
                </c:pt>
                <c:pt idx="6599">
                  <c:v>-0.18117137999999999</c:v>
                </c:pt>
                <c:pt idx="6600">
                  <c:v>-0.18134016</c:v>
                </c:pt>
                <c:pt idx="6601">
                  <c:v>-0.18150933</c:v>
                </c:pt>
                <c:pt idx="6602">
                  <c:v>-0.18167868000000001</c:v>
                </c:pt>
                <c:pt idx="6603">
                  <c:v>-0.18184786999999999</c:v>
                </c:pt>
                <c:pt idx="6604">
                  <c:v>-0.18201782999999999</c:v>
                </c:pt>
                <c:pt idx="6605">
                  <c:v>-0.18218756999999999</c:v>
                </c:pt>
                <c:pt idx="6606">
                  <c:v>-0.18235672999999999</c:v>
                </c:pt>
                <c:pt idx="6607">
                  <c:v>-0.18252624000000001</c:v>
                </c:pt>
                <c:pt idx="6608">
                  <c:v>-0.18269664999999999</c:v>
                </c:pt>
                <c:pt idx="6609">
                  <c:v>-0.1828668</c:v>
                </c:pt>
                <c:pt idx="6610">
                  <c:v>-0.18303643</c:v>
                </c:pt>
                <c:pt idx="6611">
                  <c:v>-0.18320665</c:v>
                </c:pt>
                <c:pt idx="6612">
                  <c:v>-0.18337790000000001</c:v>
                </c:pt>
                <c:pt idx="6613">
                  <c:v>-0.18354685000000001</c:v>
                </c:pt>
                <c:pt idx="6614">
                  <c:v>-0.18371802000000001</c:v>
                </c:pt>
                <c:pt idx="6615">
                  <c:v>-0.18388848999999999</c:v>
                </c:pt>
                <c:pt idx="6616">
                  <c:v>-0.18405870999999999</c:v>
                </c:pt>
                <c:pt idx="6617">
                  <c:v>-0.18422952000000001</c:v>
                </c:pt>
                <c:pt idx="6618">
                  <c:v>-0.18439986</c:v>
                </c:pt>
                <c:pt idx="6619">
                  <c:v>-0.18457139</c:v>
                </c:pt>
                <c:pt idx="6620">
                  <c:v>-0.18474255000000001</c:v>
                </c:pt>
                <c:pt idx="6621">
                  <c:v>-0.1849141</c:v>
                </c:pt>
                <c:pt idx="6622">
                  <c:v>-0.18508442</c:v>
                </c:pt>
                <c:pt idx="6623">
                  <c:v>-0.18525560999999999</c:v>
                </c:pt>
                <c:pt idx="6624">
                  <c:v>-0.18542654</c:v>
                </c:pt>
                <c:pt idx="6625">
                  <c:v>-0.18559859000000001</c:v>
                </c:pt>
                <c:pt idx="6626">
                  <c:v>-0.18576960000000001</c:v>
                </c:pt>
                <c:pt idx="6627">
                  <c:v>-0.18594190999999999</c:v>
                </c:pt>
                <c:pt idx="6628">
                  <c:v>-0.18611314000000001</c:v>
                </c:pt>
                <c:pt idx="6629">
                  <c:v>-0.18628508999999999</c:v>
                </c:pt>
                <c:pt idx="6630">
                  <c:v>-0.18645693999999999</c:v>
                </c:pt>
                <c:pt idx="6631">
                  <c:v>-0.18662852999999999</c:v>
                </c:pt>
                <c:pt idx="6632">
                  <c:v>-0.1868012</c:v>
                </c:pt>
                <c:pt idx="6633">
                  <c:v>-0.1869741</c:v>
                </c:pt>
                <c:pt idx="6634">
                  <c:v>-0.18714570999999999</c:v>
                </c:pt>
                <c:pt idx="6635">
                  <c:v>-0.18731825999999999</c:v>
                </c:pt>
                <c:pt idx="6636">
                  <c:v>-0.18749080000000001</c:v>
                </c:pt>
                <c:pt idx="6637">
                  <c:v>-0.18766326999999999</c:v>
                </c:pt>
                <c:pt idx="6638">
                  <c:v>-0.18783594000000001</c:v>
                </c:pt>
                <c:pt idx="6639">
                  <c:v>-0.18800874000000001</c:v>
                </c:pt>
                <c:pt idx="6640">
                  <c:v>-0.18818223000000001</c:v>
                </c:pt>
                <c:pt idx="6641">
                  <c:v>-0.18835341999999999</c:v>
                </c:pt>
                <c:pt idx="6642">
                  <c:v>-0.18852759999999999</c:v>
                </c:pt>
                <c:pt idx="6643">
                  <c:v>-0.18870118999999999</c:v>
                </c:pt>
                <c:pt idx="6644">
                  <c:v>-0.18887441999999999</c:v>
                </c:pt>
                <c:pt idx="6645">
                  <c:v>-0.18904723000000001</c:v>
                </c:pt>
                <c:pt idx="6646">
                  <c:v>-0.18922061000000001</c:v>
                </c:pt>
                <c:pt idx="6647">
                  <c:v>-0.18939454999999999</c:v>
                </c:pt>
                <c:pt idx="6648">
                  <c:v>-0.18956814999999999</c:v>
                </c:pt>
                <c:pt idx="6649">
                  <c:v>-0.18974162</c:v>
                </c:pt>
                <c:pt idx="6650">
                  <c:v>-0.18991594000000001</c:v>
                </c:pt>
                <c:pt idx="6651">
                  <c:v>-0.19008976</c:v>
                </c:pt>
                <c:pt idx="6652">
                  <c:v>-0.19026361999999999</c:v>
                </c:pt>
                <c:pt idx="6653">
                  <c:v>-0.19043757</c:v>
                </c:pt>
                <c:pt idx="6654">
                  <c:v>-0.19061165999999999</c:v>
                </c:pt>
                <c:pt idx="6655">
                  <c:v>-0.19078581999999999</c:v>
                </c:pt>
                <c:pt idx="6656">
                  <c:v>-0.19096045</c:v>
                </c:pt>
                <c:pt idx="6657">
                  <c:v>-0.19113484</c:v>
                </c:pt>
                <c:pt idx="6658">
                  <c:v>-0.1913087</c:v>
                </c:pt>
                <c:pt idx="6659">
                  <c:v>-0.19148423000000001</c:v>
                </c:pt>
                <c:pt idx="6660">
                  <c:v>-0.19165984999999999</c:v>
                </c:pt>
                <c:pt idx="6661">
                  <c:v>-0.19183470999999999</c:v>
                </c:pt>
                <c:pt idx="6662">
                  <c:v>-0.19200983999999999</c:v>
                </c:pt>
                <c:pt idx="6663">
                  <c:v>-0.19218473</c:v>
                </c:pt>
                <c:pt idx="6664">
                  <c:v>-0.19235954</c:v>
                </c:pt>
                <c:pt idx="6665">
                  <c:v>-0.19253505000000001</c:v>
                </c:pt>
                <c:pt idx="6666">
                  <c:v>-0.19270957</c:v>
                </c:pt>
                <c:pt idx="6667">
                  <c:v>-0.19288584</c:v>
                </c:pt>
                <c:pt idx="6668">
                  <c:v>-0.19306097</c:v>
                </c:pt>
                <c:pt idx="6669">
                  <c:v>-0.19323636999999999</c:v>
                </c:pt>
                <c:pt idx="6670">
                  <c:v>-0.19341272000000001</c:v>
                </c:pt>
                <c:pt idx="6671">
                  <c:v>-0.19358826000000001</c:v>
                </c:pt>
                <c:pt idx="6672">
                  <c:v>-0.19376376000000001</c:v>
                </c:pt>
                <c:pt idx="6673">
                  <c:v>-0.19394001</c:v>
                </c:pt>
                <c:pt idx="6674">
                  <c:v>-0.19411663000000001</c:v>
                </c:pt>
                <c:pt idx="6675">
                  <c:v>-0.19429252</c:v>
                </c:pt>
                <c:pt idx="6676">
                  <c:v>-0.19446917999999999</c:v>
                </c:pt>
                <c:pt idx="6677">
                  <c:v>-0.19464529999999999</c:v>
                </c:pt>
                <c:pt idx="6678">
                  <c:v>-0.19482267</c:v>
                </c:pt>
                <c:pt idx="6679">
                  <c:v>-0.19499818999999999</c:v>
                </c:pt>
                <c:pt idx="6680">
                  <c:v>-0.19517492</c:v>
                </c:pt>
                <c:pt idx="6681">
                  <c:v>-0.19535227999999999</c:v>
                </c:pt>
                <c:pt idx="6682">
                  <c:v>-0.19552855</c:v>
                </c:pt>
                <c:pt idx="6683">
                  <c:v>-0.19570609999999999</c:v>
                </c:pt>
                <c:pt idx="6684">
                  <c:v>-0.19588253999999999</c:v>
                </c:pt>
                <c:pt idx="6685">
                  <c:v>-0.19606039</c:v>
                </c:pt>
                <c:pt idx="6686">
                  <c:v>-0.19623747999999999</c:v>
                </c:pt>
                <c:pt idx="6687">
                  <c:v>-0.19641476999999999</c:v>
                </c:pt>
                <c:pt idx="6688">
                  <c:v>-0.19659267999999999</c:v>
                </c:pt>
                <c:pt idx="6689">
                  <c:v>-0.19676962000000001</c:v>
                </c:pt>
                <c:pt idx="6690">
                  <c:v>-0.19694672999999999</c:v>
                </c:pt>
                <c:pt idx="6691">
                  <c:v>-0.19712521999999999</c:v>
                </c:pt>
                <c:pt idx="6692">
                  <c:v>-0.19730297999999999</c:v>
                </c:pt>
                <c:pt idx="6693">
                  <c:v>-0.19748060000000001</c:v>
                </c:pt>
                <c:pt idx="6694">
                  <c:v>-0.19765866000000001</c:v>
                </c:pt>
                <c:pt idx="6695">
                  <c:v>-0.1978386</c:v>
                </c:pt>
                <c:pt idx="6696">
                  <c:v>-0.19801621</c:v>
                </c:pt>
                <c:pt idx="6697">
                  <c:v>-0.19819352000000001</c:v>
                </c:pt>
                <c:pt idx="6698">
                  <c:v>-0.19837245000000001</c:v>
                </c:pt>
                <c:pt idx="6699">
                  <c:v>-0.19855117</c:v>
                </c:pt>
                <c:pt idx="6700">
                  <c:v>-0.19872944000000001</c:v>
                </c:pt>
                <c:pt idx="6701">
                  <c:v>-0.1989079</c:v>
                </c:pt>
                <c:pt idx="6702">
                  <c:v>-0.19908690000000001</c:v>
                </c:pt>
                <c:pt idx="6703">
                  <c:v>-0.19926588000000001</c:v>
                </c:pt>
                <c:pt idx="6704">
                  <c:v>-0.19944492999999999</c:v>
                </c:pt>
                <c:pt idx="6705">
                  <c:v>-0.19962315</c:v>
                </c:pt>
                <c:pt idx="6706">
                  <c:v>-0.19980340999999999</c:v>
                </c:pt>
                <c:pt idx="6707">
                  <c:v>-0.19998246</c:v>
                </c:pt>
                <c:pt idx="6708">
                  <c:v>-0.20016078000000001</c:v>
                </c:pt>
                <c:pt idx="6709">
                  <c:v>-0.20034075000000001</c:v>
                </c:pt>
                <c:pt idx="6710">
                  <c:v>-0.20052136000000001</c:v>
                </c:pt>
                <c:pt idx="6711">
                  <c:v>-0.20070009</c:v>
                </c:pt>
                <c:pt idx="6712">
                  <c:v>-0.20087965999999999</c:v>
                </c:pt>
                <c:pt idx="6713">
                  <c:v>-0.2010603</c:v>
                </c:pt>
                <c:pt idx="6714">
                  <c:v>-0.20124010000000001</c:v>
                </c:pt>
                <c:pt idx="6715">
                  <c:v>-0.20141948000000001</c:v>
                </c:pt>
                <c:pt idx="6716">
                  <c:v>-0.20160059</c:v>
                </c:pt>
                <c:pt idx="6717">
                  <c:v>-0.20178080000000001</c:v>
                </c:pt>
                <c:pt idx="6718">
                  <c:v>-0.20196085999999999</c:v>
                </c:pt>
                <c:pt idx="6719">
                  <c:v>-0.20214240999999999</c:v>
                </c:pt>
                <c:pt idx="6720">
                  <c:v>-0.20232211</c:v>
                </c:pt>
                <c:pt idx="6721">
                  <c:v>-0.20250177</c:v>
                </c:pt>
                <c:pt idx="6722">
                  <c:v>-0.20268372000000001</c:v>
                </c:pt>
                <c:pt idx="6723">
                  <c:v>-0.20286401000000001</c:v>
                </c:pt>
                <c:pt idx="6724">
                  <c:v>-0.20304516</c:v>
                </c:pt>
                <c:pt idx="6725">
                  <c:v>-0.20322712000000001</c:v>
                </c:pt>
                <c:pt idx="6726">
                  <c:v>-0.20340849</c:v>
                </c:pt>
                <c:pt idx="6727">
                  <c:v>-0.20358935</c:v>
                </c:pt>
                <c:pt idx="6728">
                  <c:v>-0.20377020000000001</c:v>
                </c:pt>
                <c:pt idx="6729">
                  <c:v>-0.20395157</c:v>
                </c:pt>
                <c:pt idx="6730">
                  <c:v>-0.20413381</c:v>
                </c:pt>
                <c:pt idx="6731">
                  <c:v>-0.20431495999999999</c:v>
                </c:pt>
                <c:pt idx="6732">
                  <c:v>-0.20449796000000001</c:v>
                </c:pt>
                <c:pt idx="6733">
                  <c:v>-0.20467862000000001</c:v>
                </c:pt>
                <c:pt idx="6734">
                  <c:v>-0.20485982999999999</c:v>
                </c:pt>
                <c:pt idx="6735">
                  <c:v>-0.20504293000000001</c:v>
                </c:pt>
                <c:pt idx="6736">
                  <c:v>-0.20522438000000001</c:v>
                </c:pt>
                <c:pt idx="6737">
                  <c:v>-0.20540771999999999</c:v>
                </c:pt>
                <c:pt idx="6738">
                  <c:v>-0.2055891</c:v>
                </c:pt>
                <c:pt idx="6739">
                  <c:v>-0.20577202999999999</c:v>
                </c:pt>
                <c:pt idx="6740">
                  <c:v>-0.20595474</c:v>
                </c:pt>
                <c:pt idx="6741">
                  <c:v>-0.20613633000000001</c:v>
                </c:pt>
                <c:pt idx="6742">
                  <c:v>-0.20631985999999999</c:v>
                </c:pt>
                <c:pt idx="6743">
                  <c:v>-0.20650275000000001</c:v>
                </c:pt>
                <c:pt idx="6744">
                  <c:v>-0.20668642000000001</c:v>
                </c:pt>
                <c:pt idx="6745">
                  <c:v>-0.20686845000000001</c:v>
                </c:pt>
                <c:pt idx="6746">
                  <c:v>-0.20705290000000001</c:v>
                </c:pt>
                <c:pt idx="6747">
                  <c:v>-0.20723459999999999</c:v>
                </c:pt>
                <c:pt idx="6748">
                  <c:v>-0.20741754000000001</c:v>
                </c:pt>
                <c:pt idx="6749">
                  <c:v>-0.20760143</c:v>
                </c:pt>
                <c:pt idx="6750">
                  <c:v>-0.20778441</c:v>
                </c:pt>
                <c:pt idx="6751">
                  <c:v>-0.20796822000000001</c:v>
                </c:pt>
                <c:pt idx="6752">
                  <c:v>-0.20815231000000001</c:v>
                </c:pt>
                <c:pt idx="6753">
                  <c:v>-0.20833618000000001</c:v>
                </c:pt>
                <c:pt idx="6754">
                  <c:v>-0.20851992999999999</c:v>
                </c:pt>
                <c:pt idx="6755">
                  <c:v>-0.20870480999999999</c:v>
                </c:pt>
                <c:pt idx="6756">
                  <c:v>-0.20888878999999999</c:v>
                </c:pt>
                <c:pt idx="6757">
                  <c:v>-0.20907271999999999</c:v>
                </c:pt>
                <c:pt idx="6758">
                  <c:v>-0.20925642</c:v>
                </c:pt>
                <c:pt idx="6759">
                  <c:v>-0.20944119</c:v>
                </c:pt>
                <c:pt idx="6760">
                  <c:v>-0.20962523</c:v>
                </c:pt>
                <c:pt idx="6761">
                  <c:v>-0.20981024000000001</c:v>
                </c:pt>
                <c:pt idx="6762">
                  <c:v>-0.20999453000000001</c:v>
                </c:pt>
                <c:pt idx="6763">
                  <c:v>-0.21018005000000001</c:v>
                </c:pt>
                <c:pt idx="6764">
                  <c:v>-0.21036506999999999</c:v>
                </c:pt>
                <c:pt idx="6765">
                  <c:v>-0.21054955</c:v>
                </c:pt>
                <c:pt idx="6766">
                  <c:v>-0.21073430000000001</c:v>
                </c:pt>
                <c:pt idx="6767">
                  <c:v>-0.21091962</c:v>
                </c:pt>
                <c:pt idx="6768">
                  <c:v>-0.21110578999999999</c:v>
                </c:pt>
                <c:pt idx="6769">
                  <c:v>-0.21129075</c:v>
                </c:pt>
                <c:pt idx="6770">
                  <c:v>-0.21147664999999999</c:v>
                </c:pt>
                <c:pt idx="6771">
                  <c:v>-0.21166215999999999</c:v>
                </c:pt>
                <c:pt idx="6772">
                  <c:v>-0.21184769000000001</c:v>
                </c:pt>
                <c:pt idx="6773">
                  <c:v>-0.21203274</c:v>
                </c:pt>
                <c:pt idx="6774">
                  <c:v>-0.21221891000000001</c:v>
                </c:pt>
                <c:pt idx="6775">
                  <c:v>-0.21240469000000001</c:v>
                </c:pt>
                <c:pt idx="6776">
                  <c:v>-0.21259148999999999</c:v>
                </c:pt>
                <c:pt idx="6777">
                  <c:v>-0.21277760000000001</c:v>
                </c:pt>
                <c:pt idx="6778">
                  <c:v>-0.21296324999999999</c:v>
                </c:pt>
                <c:pt idx="6779">
                  <c:v>-0.2131498</c:v>
                </c:pt>
                <c:pt idx="6780">
                  <c:v>-0.21333598000000001</c:v>
                </c:pt>
                <c:pt idx="6781">
                  <c:v>-0.21352325999999999</c:v>
                </c:pt>
                <c:pt idx="6782">
                  <c:v>-0.21371037000000001</c:v>
                </c:pt>
                <c:pt idx="6783">
                  <c:v>-0.21389716</c:v>
                </c:pt>
                <c:pt idx="6784">
                  <c:v>-0.21408297000000001</c:v>
                </c:pt>
                <c:pt idx="6785">
                  <c:v>-0.2142713</c:v>
                </c:pt>
                <c:pt idx="6786">
                  <c:v>-0.21445715000000001</c:v>
                </c:pt>
                <c:pt idx="6787">
                  <c:v>-0.21464425000000001</c:v>
                </c:pt>
                <c:pt idx="6788">
                  <c:v>-0.21483188</c:v>
                </c:pt>
                <c:pt idx="6789">
                  <c:v>-0.21501930999999999</c:v>
                </c:pt>
                <c:pt idx="6790">
                  <c:v>-0.21520613</c:v>
                </c:pt>
                <c:pt idx="6791">
                  <c:v>-0.21539340000000001</c:v>
                </c:pt>
                <c:pt idx="6792">
                  <c:v>-0.21558144000000001</c:v>
                </c:pt>
                <c:pt idx="6793">
                  <c:v>-0.21576941999999999</c:v>
                </c:pt>
                <c:pt idx="6794">
                  <c:v>-0.21595818999999999</c:v>
                </c:pt>
                <c:pt idx="6795">
                  <c:v>-0.21614507999999999</c:v>
                </c:pt>
                <c:pt idx="6796">
                  <c:v>-0.2163339</c:v>
                </c:pt>
                <c:pt idx="6797">
                  <c:v>-0.21652157</c:v>
                </c:pt>
                <c:pt idx="6798">
                  <c:v>-0.21671012000000001</c:v>
                </c:pt>
                <c:pt idx="6799">
                  <c:v>-0.21689901</c:v>
                </c:pt>
                <c:pt idx="6800">
                  <c:v>-0.21708701999999999</c:v>
                </c:pt>
                <c:pt idx="6801">
                  <c:v>-0.21727523000000001</c:v>
                </c:pt>
                <c:pt idx="6802">
                  <c:v>-0.21746356999999999</c:v>
                </c:pt>
                <c:pt idx="6803">
                  <c:v>-0.21765263000000001</c:v>
                </c:pt>
                <c:pt idx="6804">
                  <c:v>-0.21784150999999999</c:v>
                </c:pt>
                <c:pt idx="6805">
                  <c:v>-0.21803154999999999</c:v>
                </c:pt>
                <c:pt idx="6806">
                  <c:v>-0.21821972000000001</c:v>
                </c:pt>
                <c:pt idx="6807">
                  <c:v>-0.21840821999999999</c:v>
                </c:pt>
                <c:pt idx="6808">
                  <c:v>-0.21859882999999999</c:v>
                </c:pt>
                <c:pt idx="6809">
                  <c:v>-0.21878802</c:v>
                </c:pt>
                <c:pt idx="6810">
                  <c:v>-0.21897715000000001</c:v>
                </c:pt>
                <c:pt idx="6811">
                  <c:v>-0.21916637999999999</c:v>
                </c:pt>
                <c:pt idx="6812">
                  <c:v>-0.21935609</c:v>
                </c:pt>
                <c:pt idx="6813">
                  <c:v>-0.21954704999999999</c:v>
                </c:pt>
                <c:pt idx="6814">
                  <c:v>-0.21973565</c:v>
                </c:pt>
                <c:pt idx="6815">
                  <c:v>-0.21992571999999999</c:v>
                </c:pt>
                <c:pt idx="6816">
                  <c:v>-0.22011588000000001</c:v>
                </c:pt>
                <c:pt idx="6817">
                  <c:v>-0.22030643999999999</c:v>
                </c:pt>
                <c:pt idx="6818">
                  <c:v>-0.22049615</c:v>
                </c:pt>
                <c:pt idx="6819">
                  <c:v>-0.22068626</c:v>
                </c:pt>
                <c:pt idx="6820">
                  <c:v>-0.22087768999999999</c:v>
                </c:pt>
                <c:pt idx="6821">
                  <c:v>-0.22106793999999999</c:v>
                </c:pt>
                <c:pt idx="6822">
                  <c:v>-0.22125782999999999</c:v>
                </c:pt>
                <c:pt idx="6823">
                  <c:v>-0.22144939999999999</c:v>
                </c:pt>
                <c:pt idx="6824">
                  <c:v>-0.22163993000000001</c:v>
                </c:pt>
                <c:pt idx="6825">
                  <c:v>-0.22183120000000001</c:v>
                </c:pt>
                <c:pt idx="6826">
                  <c:v>-0.22202231</c:v>
                </c:pt>
                <c:pt idx="6827">
                  <c:v>-0.22221321999999999</c:v>
                </c:pt>
                <c:pt idx="6828">
                  <c:v>-0.22240436999999999</c:v>
                </c:pt>
                <c:pt idx="6829">
                  <c:v>-0.22259641999999999</c:v>
                </c:pt>
                <c:pt idx="6830">
                  <c:v>-0.22278686</c:v>
                </c:pt>
                <c:pt idx="6831">
                  <c:v>-0.22297932000000001</c:v>
                </c:pt>
                <c:pt idx="6832">
                  <c:v>-0.22317039</c:v>
                </c:pt>
                <c:pt idx="6833">
                  <c:v>-0.22336222999999999</c:v>
                </c:pt>
                <c:pt idx="6834">
                  <c:v>-0.22355369999999999</c:v>
                </c:pt>
                <c:pt idx="6835">
                  <c:v>-0.22374625000000001</c:v>
                </c:pt>
                <c:pt idx="6836">
                  <c:v>-0.22393868</c:v>
                </c:pt>
                <c:pt idx="6837">
                  <c:v>-0.22413121999999999</c:v>
                </c:pt>
                <c:pt idx="6838">
                  <c:v>-0.22432346</c:v>
                </c:pt>
                <c:pt idx="6839">
                  <c:v>-0.22451514</c:v>
                </c:pt>
                <c:pt idx="6840">
                  <c:v>-0.22470760000000001</c:v>
                </c:pt>
                <c:pt idx="6841">
                  <c:v>-0.22490034</c:v>
                </c:pt>
                <c:pt idx="6842">
                  <c:v>-0.22509309</c:v>
                </c:pt>
                <c:pt idx="6843">
                  <c:v>-0.22528576</c:v>
                </c:pt>
                <c:pt idx="6844">
                  <c:v>-0.22547863000000001</c:v>
                </c:pt>
                <c:pt idx="6845">
                  <c:v>-0.22567076</c:v>
                </c:pt>
                <c:pt idx="6846">
                  <c:v>-0.22586481999999999</c:v>
                </c:pt>
                <c:pt idx="6847">
                  <c:v>-0.22605868000000001</c:v>
                </c:pt>
                <c:pt idx="6848">
                  <c:v>-0.22625023999999999</c:v>
                </c:pt>
                <c:pt idx="6849">
                  <c:v>-0.22644481999999999</c:v>
                </c:pt>
                <c:pt idx="6850">
                  <c:v>-0.22663804000000001</c:v>
                </c:pt>
                <c:pt idx="6851">
                  <c:v>-0.22683139999999999</c:v>
                </c:pt>
                <c:pt idx="6852">
                  <c:v>-0.22702459999999999</c:v>
                </c:pt>
                <c:pt idx="6853">
                  <c:v>-0.22721894000000001</c:v>
                </c:pt>
                <c:pt idx="6854">
                  <c:v>-0.22741201999999999</c:v>
                </c:pt>
                <c:pt idx="6855">
                  <c:v>-0.22760633999999999</c:v>
                </c:pt>
                <c:pt idx="6856">
                  <c:v>-0.22780047</c:v>
                </c:pt>
                <c:pt idx="6857">
                  <c:v>-0.22799551000000001</c:v>
                </c:pt>
                <c:pt idx="6858">
                  <c:v>-0.22818930000000001</c:v>
                </c:pt>
                <c:pt idx="6859">
                  <c:v>-0.22838354999999999</c:v>
                </c:pt>
                <c:pt idx="6860">
                  <c:v>-0.22857870999999999</c:v>
                </c:pt>
                <c:pt idx="6861">
                  <c:v>-0.22877322</c:v>
                </c:pt>
                <c:pt idx="6862">
                  <c:v>-0.22896759999999999</c:v>
                </c:pt>
                <c:pt idx="6863">
                  <c:v>-0.22916246000000001</c:v>
                </c:pt>
                <c:pt idx="6864">
                  <c:v>-0.22935807</c:v>
                </c:pt>
                <c:pt idx="6865">
                  <c:v>-0.22955255999999999</c:v>
                </c:pt>
                <c:pt idx="6866">
                  <c:v>-0.22974727</c:v>
                </c:pt>
                <c:pt idx="6867">
                  <c:v>-0.22994239999999999</c:v>
                </c:pt>
                <c:pt idx="6868">
                  <c:v>-0.23013802999999999</c:v>
                </c:pt>
                <c:pt idx="6869">
                  <c:v>-0.23033339</c:v>
                </c:pt>
                <c:pt idx="6870">
                  <c:v>-0.23052933</c:v>
                </c:pt>
                <c:pt idx="6871">
                  <c:v>-0.23072556999999999</c:v>
                </c:pt>
                <c:pt idx="6872">
                  <c:v>-0.23092039</c:v>
                </c:pt>
                <c:pt idx="6873">
                  <c:v>-0.23111644000000001</c:v>
                </c:pt>
                <c:pt idx="6874">
                  <c:v>-0.23131230999999999</c:v>
                </c:pt>
                <c:pt idx="6875">
                  <c:v>-0.23150825999999999</c:v>
                </c:pt>
                <c:pt idx="6876">
                  <c:v>-0.23170461000000001</c:v>
                </c:pt>
                <c:pt idx="6877">
                  <c:v>-0.23189968</c:v>
                </c:pt>
                <c:pt idx="6878">
                  <c:v>-0.23209700999999999</c:v>
                </c:pt>
                <c:pt idx="6879">
                  <c:v>-0.23229449999999999</c:v>
                </c:pt>
                <c:pt idx="6880">
                  <c:v>-0.23248995</c:v>
                </c:pt>
                <c:pt idx="6881">
                  <c:v>-0.23268673000000001</c:v>
                </c:pt>
                <c:pt idx="6882">
                  <c:v>-0.23288325000000001</c:v>
                </c:pt>
                <c:pt idx="6883">
                  <c:v>-0.23308033</c:v>
                </c:pt>
                <c:pt idx="6884">
                  <c:v>-0.23327750999999999</c:v>
                </c:pt>
                <c:pt idx="6885">
                  <c:v>-0.23347456</c:v>
                </c:pt>
                <c:pt idx="6886">
                  <c:v>-0.23367187</c:v>
                </c:pt>
                <c:pt idx="6887">
                  <c:v>-0.23386846999999999</c:v>
                </c:pt>
                <c:pt idx="6888">
                  <c:v>-0.234066</c:v>
                </c:pt>
                <c:pt idx="6889">
                  <c:v>-0.23426351000000001</c:v>
                </c:pt>
                <c:pt idx="6890">
                  <c:v>-0.23446083000000001</c:v>
                </c:pt>
                <c:pt idx="6891">
                  <c:v>-0.23465780999999999</c:v>
                </c:pt>
                <c:pt idx="6892">
                  <c:v>-0.23485631000000001</c:v>
                </c:pt>
                <c:pt idx="6893">
                  <c:v>-0.23505402</c:v>
                </c:pt>
                <c:pt idx="6894">
                  <c:v>-0.23525220999999999</c:v>
                </c:pt>
                <c:pt idx="6895">
                  <c:v>-0.23544989999999999</c:v>
                </c:pt>
                <c:pt idx="6896">
                  <c:v>-0.23564840000000001</c:v>
                </c:pt>
                <c:pt idx="6897">
                  <c:v>-0.23584715000000001</c:v>
                </c:pt>
                <c:pt idx="6898">
                  <c:v>-0.23604512</c:v>
                </c:pt>
                <c:pt idx="6899">
                  <c:v>-0.23624476999999999</c:v>
                </c:pt>
                <c:pt idx="6900">
                  <c:v>-0.23644161999999999</c:v>
                </c:pt>
                <c:pt idx="6901">
                  <c:v>-0.23664154000000001</c:v>
                </c:pt>
                <c:pt idx="6902">
                  <c:v>-0.23683995999999999</c:v>
                </c:pt>
                <c:pt idx="6903">
                  <c:v>-0.23703821</c:v>
                </c:pt>
                <c:pt idx="6904">
                  <c:v>-0.23723736000000001</c:v>
                </c:pt>
                <c:pt idx="6905">
                  <c:v>-0.23743684000000001</c:v>
                </c:pt>
                <c:pt idx="6906">
                  <c:v>-0.23763517000000001</c:v>
                </c:pt>
                <c:pt idx="6907">
                  <c:v>-0.2378353</c:v>
                </c:pt>
                <c:pt idx="6908">
                  <c:v>-0.23803373</c:v>
                </c:pt>
                <c:pt idx="6909">
                  <c:v>-0.23823416</c:v>
                </c:pt>
                <c:pt idx="6910">
                  <c:v>-0.23843386</c:v>
                </c:pt>
                <c:pt idx="6911">
                  <c:v>-0.2386336</c:v>
                </c:pt>
                <c:pt idx="6912">
                  <c:v>-0.23883282</c:v>
                </c:pt>
                <c:pt idx="6913">
                  <c:v>-0.23903413000000001</c:v>
                </c:pt>
                <c:pt idx="6914">
                  <c:v>-0.23923335000000001</c:v>
                </c:pt>
                <c:pt idx="6915">
                  <c:v>-0.23943387999999999</c:v>
                </c:pt>
                <c:pt idx="6916">
                  <c:v>-0.23963381</c:v>
                </c:pt>
                <c:pt idx="6917">
                  <c:v>-0.23983434000000001</c:v>
                </c:pt>
                <c:pt idx="6918">
                  <c:v>-0.24003492000000001</c:v>
                </c:pt>
                <c:pt idx="6919">
                  <c:v>-0.24023558</c:v>
                </c:pt>
                <c:pt idx="6920">
                  <c:v>-0.24043612</c:v>
                </c:pt>
                <c:pt idx="6921">
                  <c:v>-0.24063573999999999</c:v>
                </c:pt>
                <c:pt idx="6922">
                  <c:v>-0.24083762</c:v>
                </c:pt>
                <c:pt idx="6923">
                  <c:v>-0.24103789</c:v>
                </c:pt>
                <c:pt idx="6924">
                  <c:v>-0.24123991</c:v>
                </c:pt>
                <c:pt idx="6925">
                  <c:v>-0.24144032000000001</c:v>
                </c:pt>
                <c:pt idx="6926">
                  <c:v>-0.24164231999999999</c:v>
                </c:pt>
                <c:pt idx="6927">
                  <c:v>-0.24184286999999999</c:v>
                </c:pt>
                <c:pt idx="6928">
                  <c:v>-0.24204400000000001</c:v>
                </c:pt>
                <c:pt idx="6929">
                  <c:v>-0.24224662</c:v>
                </c:pt>
                <c:pt idx="6930">
                  <c:v>-0.24244848999999999</c:v>
                </c:pt>
                <c:pt idx="6931">
                  <c:v>-0.24265085</c:v>
                </c:pt>
                <c:pt idx="6932">
                  <c:v>-0.24285158000000001</c:v>
                </c:pt>
                <c:pt idx="6933">
                  <c:v>-0.24305400999999999</c:v>
                </c:pt>
                <c:pt idx="6934">
                  <c:v>-0.24325680999999999</c:v>
                </c:pt>
                <c:pt idx="6935">
                  <c:v>-0.24345836000000001</c:v>
                </c:pt>
                <c:pt idx="6936">
                  <c:v>-0.24366040999999999</c:v>
                </c:pt>
                <c:pt idx="6937">
                  <c:v>-0.24386240000000001</c:v>
                </c:pt>
                <c:pt idx="6938">
                  <c:v>-0.24406510000000001</c:v>
                </c:pt>
                <c:pt idx="6939">
                  <c:v>-0.24426780000000001</c:v>
                </c:pt>
                <c:pt idx="6940">
                  <c:v>-0.24446983999999999</c:v>
                </c:pt>
                <c:pt idx="6941">
                  <c:v>-0.24467326</c:v>
                </c:pt>
                <c:pt idx="6942">
                  <c:v>-0.24487597999999999</c:v>
                </c:pt>
                <c:pt idx="6943">
                  <c:v>-0.24507899999999999</c:v>
                </c:pt>
                <c:pt idx="6944">
                  <c:v>-0.24528248999999999</c:v>
                </c:pt>
                <c:pt idx="6945">
                  <c:v>-0.24548556999999999</c:v>
                </c:pt>
                <c:pt idx="6946">
                  <c:v>-0.24568899999999999</c:v>
                </c:pt>
                <c:pt idx="6947">
                  <c:v>-0.24589264999999999</c:v>
                </c:pt>
                <c:pt idx="6948">
                  <c:v>-0.24609532000000001</c:v>
                </c:pt>
                <c:pt idx="6949">
                  <c:v>-0.24630013000000001</c:v>
                </c:pt>
                <c:pt idx="6950">
                  <c:v>-0.24650369</c:v>
                </c:pt>
                <c:pt idx="6951">
                  <c:v>-0.24670754</c:v>
                </c:pt>
                <c:pt idx="6952">
                  <c:v>-0.24690991000000001</c:v>
                </c:pt>
                <c:pt idx="6953">
                  <c:v>-0.24711530000000001</c:v>
                </c:pt>
                <c:pt idx="6954">
                  <c:v>-0.24731927000000001</c:v>
                </c:pt>
                <c:pt idx="6955">
                  <c:v>-0.24752389999999999</c:v>
                </c:pt>
                <c:pt idx="6956">
                  <c:v>-0.24772941000000001</c:v>
                </c:pt>
                <c:pt idx="6957">
                  <c:v>-0.2479325</c:v>
                </c:pt>
                <c:pt idx="6958">
                  <c:v>-0.24813711999999999</c:v>
                </c:pt>
                <c:pt idx="6959">
                  <c:v>-0.24834297</c:v>
                </c:pt>
                <c:pt idx="6960">
                  <c:v>-0.24854677</c:v>
                </c:pt>
                <c:pt idx="6961">
                  <c:v>-0.24875094</c:v>
                </c:pt>
                <c:pt idx="6962">
                  <c:v>-0.24895628</c:v>
                </c:pt>
                <c:pt idx="6963">
                  <c:v>-0.24916290999999999</c:v>
                </c:pt>
                <c:pt idx="6964">
                  <c:v>-0.24936723999999999</c:v>
                </c:pt>
                <c:pt idx="6965">
                  <c:v>-0.24957217000000001</c:v>
                </c:pt>
                <c:pt idx="6966">
                  <c:v>-0.24977845000000001</c:v>
                </c:pt>
                <c:pt idx="6967">
                  <c:v>-0.24998382999999999</c:v>
                </c:pt>
                <c:pt idx="6968">
                  <c:v>-0.25018857</c:v>
                </c:pt>
                <c:pt idx="6969">
                  <c:v>-0.25039539</c:v>
                </c:pt>
                <c:pt idx="6970">
                  <c:v>-0.25060046000000002</c:v>
                </c:pt>
                <c:pt idx="6971">
                  <c:v>-0.25080640999999998</c:v>
                </c:pt>
                <c:pt idx="6972">
                  <c:v>-0.25101319999999999</c:v>
                </c:pt>
                <c:pt idx="6973">
                  <c:v>-0.25121861000000001</c:v>
                </c:pt>
                <c:pt idx="6974">
                  <c:v>-0.25142511000000001</c:v>
                </c:pt>
                <c:pt idx="6975">
                  <c:v>-0.25163163999999999</c:v>
                </c:pt>
                <c:pt idx="6976">
                  <c:v>-0.25183820000000001</c:v>
                </c:pt>
                <c:pt idx="6977">
                  <c:v>-0.25204520000000002</c:v>
                </c:pt>
                <c:pt idx="6978">
                  <c:v>-0.25225189999999997</c:v>
                </c:pt>
                <c:pt idx="6979">
                  <c:v>-0.25245815999999999</c:v>
                </c:pt>
                <c:pt idx="6980">
                  <c:v>-0.25266471000000001</c:v>
                </c:pt>
                <c:pt idx="6981">
                  <c:v>-0.25287206000000001</c:v>
                </c:pt>
                <c:pt idx="6982">
                  <c:v>-0.25308006</c:v>
                </c:pt>
                <c:pt idx="6983">
                  <c:v>-0.25328634</c:v>
                </c:pt>
                <c:pt idx="6984">
                  <c:v>-0.25349492000000001</c:v>
                </c:pt>
                <c:pt idx="6985">
                  <c:v>-0.25370167999999998</c:v>
                </c:pt>
                <c:pt idx="6986">
                  <c:v>-0.25390937000000002</c:v>
                </c:pt>
                <c:pt idx="6987">
                  <c:v>-0.25411690999999997</c:v>
                </c:pt>
                <c:pt idx="6988">
                  <c:v>-0.25432327999999998</c:v>
                </c:pt>
                <c:pt idx="6989">
                  <c:v>-0.25453156999999998</c:v>
                </c:pt>
                <c:pt idx="6990">
                  <c:v>-0.25473982000000001</c:v>
                </c:pt>
                <c:pt idx="6991">
                  <c:v>-0.25494792999999999</c:v>
                </c:pt>
                <c:pt idx="6992">
                  <c:v>-0.25515632999999999</c:v>
                </c:pt>
                <c:pt idx="6993">
                  <c:v>-0.25536362000000001</c:v>
                </c:pt>
                <c:pt idx="6994">
                  <c:v>-0.2555733</c:v>
                </c:pt>
                <c:pt idx="6995">
                  <c:v>-0.25578044</c:v>
                </c:pt>
                <c:pt idx="6996">
                  <c:v>-0.25599116</c:v>
                </c:pt>
                <c:pt idx="6997">
                  <c:v>-0.25619916999999998</c:v>
                </c:pt>
                <c:pt idx="6998">
                  <c:v>-0.25640644000000001</c:v>
                </c:pt>
                <c:pt idx="6999">
                  <c:v>-0.25661677999999999</c:v>
                </c:pt>
                <c:pt idx="7000">
                  <c:v>-0.25682433999999998</c:v>
                </c:pt>
                <c:pt idx="7001">
                  <c:v>-0.25703467000000002</c:v>
                </c:pt>
                <c:pt idx="7002">
                  <c:v>-0.25724397999999998</c:v>
                </c:pt>
                <c:pt idx="7003">
                  <c:v>-0.25745372</c:v>
                </c:pt>
                <c:pt idx="7004">
                  <c:v>-0.25766265999999999</c:v>
                </c:pt>
                <c:pt idx="7005">
                  <c:v>-0.25787239000000001</c:v>
                </c:pt>
                <c:pt idx="7006">
                  <c:v>-0.25808139000000002</c:v>
                </c:pt>
                <c:pt idx="7007">
                  <c:v>-0.25829141</c:v>
                </c:pt>
                <c:pt idx="7008">
                  <c:v>-0.25850144000000003</c:v>
                </c:pt>
                <c:pt idx="7009">
                  <c:v>-0.25871108999999998</c:v>
                </c:pt>
                <c:pt idx="7010">
                  <c:v>-0.25892205000000001</c:v>
                </c:pt>
                <c:pt idx="7011">
                  <c:v>-0.25913176999999998</c:v>
                </c:pt>
                <c:pt idx="7012">
                  <c:v>-0.25934257999999999</c:v>
                </c:pt>
                <c:pt idx="7013">
                  <c:v>-0.25955155000000002</c:v>
                </c:pt>
                <c:pt idx="7014">
                  <c:v>-0.25976242999999999</c:v>
                </c:pt>
                <c:pt idx="7015">
                  <c:v>-0.25997337999999998</c:v>
                </c:pt>
                <c:pt idx="7016">
                  <c:v>-0.26018461999999998</c:v>
                </c:pt>
                <c:pt idx="7017">
                  <c:v>-0.26039562999999999</c:v>
                </c:pt>
                <c:pt idx="7018">
                  <c:v>-0.26060555000000002</c:v>
                </c:pt>
                <c:pt idx="7019">
                  <c:v>-0.26081714</c:v>
                </c:pt>
                <c:pt idx="7020">
                  <c:v>-0.26102916999999998</c:v>
                </c:pt>
                <c:pt idx="7021">
                  <c:v>-0.26123914999999998</c:v>
                </c:pt>
                <c:pt idx="7022">
                  <c:v>-0.26145037999999998</c:v>
                </c:pt>
                <c:pt idx="7023">
                  <c:v>-0.26166246999999998</c:v>
                </c:pt>
                <c:pt idx="7024">
                  <c:v>-0.26187427000000002</c:v>
                </c:pt>
                <c:pt idx="7025">
                  <c:v>-0.26208504999999999</c:v>
                </c:pt>
                <c:pt idx="7026">
                  <c:v>-0.26229751000000001</c:v>
                </c:pt>
                <c:pt idx="7027">
                  <c:v>-0.26250915000000002</c:v>
                </c:pt>
                <c:pt idx="7028">
                  <c:v>-0.26272168000000001</c:v>
                </c:pt>
                <c:pt idx="7029">
                  <c:v>-0.26293428000000002</c:v>
                </c:pt>
                <c:pt idx="7030">
                  <c:v>-0.26314609999999999</c:v>
                </c:pt>
                <c:pt idx="7031">
                  <c:v>-0.26335708000000002</c:v>
                </c:pt>
                <c:pt idx="7032">
                  <c:v>-0.26357054000000002</c:v>
                </c:pt>
                <c:pt idx="7033">
                  <c:v>-0.26378217999999998</c:v>
                </c:pt>
                <c:pt idx="7034">
                  <c:v>-0.26399471000000002</c:v>
                </c:pt>
                <c:pt idx="7035">
                  <c:v>-0.26420854999999999</c:v>
                </c:pt>
                <c:pt idx="7036">
                  <c:v>-0.26442135999999999</c:v>
                </c:pt>
                <c:pt idx="7037">
                  <c:v>-0.26463432999999997</c:v>
                </c:pt>
                <c:pt idx="7038">
                  <c:v>-0.26484661999999998</c:v>
                </c:pt>
                <c:pt idx="7039">
                  <c:v>-0.26506066</c:v>
                </c:pt>
                <c:pt idx="7040">
                  <c:v>-0.26527309999999998</c:v>
                </c:pt>
                <c:pt idx="7041">
                  <c:v>-0.26548741999999997</c:v>
                </c:pt>
                <c:pt idx="7042">
                  <c:v>-0.26570082</c:v>
                </c:pt>
                <c:pt idx="7043">
                  <c:v>-0.26591339000000003</c:v>
                </c:pt>
                <c:pt idx="7044">
                  <c:v>-0.26612920000000001</c:v>
                </c:pt>
                <c:pt idx="7045">
                  <c:v>-0.26634152999999999</c:v>
                </c:pt>
                <c:pt idx="7046">
                  <c:v>-0.26655585999999998</c:v>
                </c:pt>
                <c:pt idx="7047">
                  <c:v>-0.2667699</c:v>
                </c:pt>
                <c:pt idx="7048">
                  <c:v>-0.26698430000000001</c:v>
                </c:pt>
                <c:pt idx="7049">
                  <c:v>-0.2671984</c:v>
                </c:pt>
                <c:pt idx="7050">
                  <c:v>-0.2674125</c:v>
                </c:pt>
                <c:pt idx="7051">
                  <c:v>-0.26762703999999998</c:v>
                </c:pt>
                <c:pt idx="7052">
                  <c:v>-0.26784179000000002</c:v>
                </c:pt>
                <c:pt idx="7053">
                  <c:v>-0.26805630000000003</c:v>
                </c:pt>
                <c:pt idx="7054">
                  <c:v>-0.2682717</c:v>
                </c:pt>
                <c:pt idx="7055">
                  <c:v>-0.2684858</c:v>
                </c:pt>
                <c:pt idx="7056">
                  <c:v>-0.26870125</c:v>
                </c:pt>
                <c:pt idx="7057">
                  <c:v>-0.26891620999999999</c:v>
                </c:pt>
                <c:pt idx="7058">
                  <c:v>-0.26913090000000001</c:v>
                </c:pt>
                <c:pt idx="7059">
                  <c:v>-0.26934595</c:v>
                </c:pt>
                <c:pt idx="7060">
                  <c:v>-0.26956122999999999</c:v>
                </c:pt>
                <c:pt idx="7061">
                  <c:v>-0.26977746000000002</c:v>
                </c:pt>
                <c:pt idx="7062">
                  <c:v>-0.26999394999999998</c:v>
                </c:pt>
                <c:pt idx="7063">
                  <c:v>-0.27020826999999997</c:v>
                </c:pt>
                <c:pt idx="7064">
                  <c:v>-0.27042428000000002</c:v>
                </c:pt>
                <c:pt idx="7065">
                  <c:v>-0.27064058000000002</c:v>
                </c:pt>
                <c:pt idx="7066">
                  <c:v>-0.27085615000000002</c:v>
                </c:pt>
                <c:pt idx="7067">
                  <c:v>-0.27107252999999998</c:v>
                </c:pt>
                <c:pt idx="7068">
                  <c:v>-0.27128951000000001</c:v>
                </c:pt>
                <c:pt idx="7069">
                  <c:v>-0.27150564999999999</c:v>
                </c:pt>
                <c:pt idx="7070">
                  <c:v>-0.27172267999999999</c:v>
                </c:pt>
                <c:pt idx="7071">
                  <c:v>-0.27193890999999998</c:v>
                </c:pt>
                <c:pt idx="7072">
                  <c:v>-0.27215577000000002</c:v>
                </c:pt>
                <c:pt idx="7073">
                  <c:v>-0.27237211</c:v>
                </c:pt>
                <c:pt idx="7074">
                  <c:v>-0.27258927999999999</c:v>
                </c:pt>
                <c:pt idx="7075">
                  <c:v>-0.27280620999999999</c:v>
                </c:pt>
                <c:pt idx="7076">
                  <c:v>-0.27302365000000001</c:v>
                </c:pt>
                <c:pt idx="7077">
                  <c:v>-0.27324124999999999</c:v>
                </c:pt>
                <c:pt idx="7078">
                  <c:v>-0.27345794000000001</c:v>
                </c:pt>
                <c:pt idx="7079">
                  <c:v>-0.27367615000000001</c:v>
                </c:pt>
                <c:pt idx="7080">
                  <c:v>-0.27389373</c:v>
                </c:pt>
                <c:pt idx="7081">
                  <c:v>-0.27411089</c:v>
                </c:pt>
                <c:pt idx="7082">
                  <c:v>-0.27432825999999999</c:v>
                </c:pt>
                <c:pt idx="7083">
                  <c:v>-0.27454659999999997</c:v>
                </c:pt>
                <c:pt idx="7084">
                  <c:v>-0.27476595999999998</c:v>
                </c:pt>
                <c:pt idx="7085">
                  <c:v>-0.27498231000000001</c:v>
                </c:pt>
                <c:pt idx="7086">
                  <c:v>-0.27520185000000003</c:v>
                </c:pt>
                <c:pt idx="7087">
                  <c:v>-0.27542051000000001</c:v>
                </c:pt>
                <c:pt idx="7088">
                  <c:v>-0.27563871000000001</c:v>
                </c:pt>
                <c:pt idx="7089">
                  <c:v>-0.27585522000000001</c:v>
                </c:pt>
                <c:pt idx="7090">
                  <c:v>-0.27607454999999997</c:v>
                </c:pt>
                <c:pt idx="7091">
                  <c:v>-0.27629306999999997</c:v>
                </c:pt>
                <c:pt idx="7092">
                  <c:v>-0.27651211999999997</c:v>
                </c:pt>
                <c:pt idx="7093">
                  <c:v>-0.27673241999999998</c:v>
                </c:pt>
                <c:pt idx="7094">
                  <c:v>-0.27695183000000001</c:v>
                </c:pt>
                <c:pt idx="7095">
                  <c:v>-0.27717019999999998</c:v>
                </c:pt>
                <c:pt idx="7096">
                  <c:v>-0.27738913999999998</c:v>
                </c:pt>
                <c:pt idx="7097">
                  <c:v>-0.27760903999999997</c:v>
                </c:pt>
                <c:pt idx="7098">
                  <c:v>-0.27782823000000001</c:v>
                </c:pt>
                <c:pt idx="7099">
                  <c:v>-0.27804834</c:v>
                </c:pt>
                <c:pt idx="7100">
                  <c:v>-0.27826781</c:v>
                </c:pt>
                <c:pt idx="7101">
                  <c:v>-0.27848794999999998</c:v>
                </c:pt>
                <c:pt idx="7102">
                  <c:v>-0.27870838999999997</c:v>
                </c:pt>
                <c:pt idx="7103">
                  <c:v>-0.27892848999999997</c:v>
                </c:pt>
                <c:pt idx="7104">
                  <c:v>-0.27914815999999998</c:v>
                </c:pt>
                <c:pt idx="7105">
                  <c:v>-0.27936841000000001</c:v>
                </c:pt>
                <c:pt idx="7106">
                  <c:v>-0.27959009000000001</c:v>
                </c:pt>
                <c:pt idx="7107">
                  <c:v>-0.27981031000000001</c:v>
                </c:pt>
                <c:pt idx="7108">
                  <c:v>-0.28003175000000002</c:v>
                </c:pt>
                <c:pt idx="7109">
                  <c:v>-0.28025161999999998</c:v>
                </c:pt>
                <c:pt idx="7110">
                  <c:v>-0.28047228000000002</c:v>
                </c:pt>
                <c:pt idx="7111">
                  <c:v>-0.28069262</c:v>
                </c:pt>
                <c:pt idx="7112">
                  <c:v>-0.28091477999999998</c:v>
                </c:pt>
                <c:pt idx="7113">
                  <c:v>-0.28113526</c:v>
                </c:pt>
                <c:pt idx="7114">
                  <c:v>-0.28135661000000001</c:v>
                </c:pt>
                <c:pt idx="7115">
                  <c:v>-0.28157829000000001</c:v>
                </c:pt>
                <c:pt idx="7116">
                  <c:v>-0.28179935</c:v>
                </c:pt>
                <c:pt idx="7117">
                  <c:v>-0.28202106999999998</c:v>
                </c:pt>
                <c:pt idx="7118">
                  <c:v>-0.28224195000000002</c:v>
                </c:pt>
                <c:pt idx="7119">
                  <c:v>-0.28246484999999999</c:v>
                </c:pt>
                <c:pt idx="7120">
                  <c:v>-0.28268606000000002</c:v>
                </c:pt>
                <c:pt idx="7121">
                  <c:v>-0.28290848000000002</c:v>
                </c:pt>
                <c:pt idx="7122">
                  <c:v>-0.28313086999999998</c:v>
                </c:pt>
                <c:pt idx="7123">
                  <c:v>-0.28335355000000001</c:v>
                </c:pt>
                <c:pt idx="7124">
                  <c:v>-0.28357654999999998</c:v>
                </c:pt>
                <c:pt idx="7125">
                  <c:v>-0.28379794000000003</c:v>
                </c:pt>
                <c:pt idx="7126">
                  <c:v>-0.28402044999999998</c:v>
                </c:pt>
                <c:pt idx="7127">
                  <c:v>-0.28424326999999999</c:v>
                </c:pt>
                <c:pt idx="7128">
                  <c:v>-0.28446695999999999</c:v>
                </c:pt>
                <c:pt idx="7129">
                  <c:v>-0.28469009000000001</c:v>
                </c:pt>
                <c:pt idx="7130">
                  <c:v>-0.28491219000000001</c:v>
                </c:pt>
                <c:pt idx="7131">
                  <c:v>-0.28513568</c:v>
                </c:pt>
                <c:pt idx="7132">
                  <c:v>-0.28535997000000002</c:v>
                </c:pt>
                <c:pt idx="7133">
                  <c:v>-0.28558273000000001</c:v>
                </c:pt>
                <c:pt idx="7134">
                  <c:v>-0.28580654</c:v>
                </c:pt>
                <c:pt idx="7135">
                  <c:v>-0.28603011</c:v>
                </c:pt>
                <c:pt idx="7136">
                  <c:v>-0.28625347000000001</c:v>
                </c:pt>
                <c:pt idx="7137">
                  <c:v>-0.28647848999999997</c:v>
                </c:pt>
                <c:pt idx="7138">
                  <c:v>-0.28670082000000002</c:v>
                </c:pt>
                <c:pt idx="7139">
                  <c:v>-0.28692533999999997</c:v>
                </c:pt>
                <c:pt idx="7140">
                  <c:v>-0.28714906000000001</c:v>
                </c:pt>
                <c:pt idx="7141">
                  <c:v>-0.28737420000000002</c:v>
                </c:pt>
                <c:pt idx="7142">
                  <c:v>-0.28759827999999998</c:v>
                </c:pt>
                <c:pt idx="7143">
                  <c:v>-0.28782345999999998</c:v>
                </c:pt>
                <c:pt idx="7144">
                  <c:v>-0.28804782000000001</c:v>
                </c:pt>
                <c:pt idx="7145">
                  <c:v>-0.28827253000000003</c:v>
                </c:pt>
                <c:pt idx="7146">
                  <c:v>-0.28849669999999999</c:v>
                </c:pt>
                <c:pt idx="7147">
                  <c:v>-0.28872255000000002</c:v>
                </c:pt>
                <c:pt idx="7148">
                  <c:v>-0.28894679000000001</c:v>
                </c:pt>
                <c:pt idx="7149">
                  <c:v>-0.28917131000000001</c:v>
                </c:pt>
                <c:pt idx="7150">
                  <c:v>-0.28939777</c:v>
                </c:pt>
                <c:pt idx="7151">
                  <c:v>-0.28962264999999998</c:v>
                </c:pt>
                <c:pt idx="7152">
                  <c:v>-0.28984803999999997</c:v>
                </c:pt>
                <c:pt idx="7153">
                  <c:v>-0.29007375000000002</c:v>
                </c:pt>
                <c:pt idx="7154">
                  <c:v>-0.29030033</c:v>
                </c:pt>
                <c:pt idx="7155">
                  <c:v>-0.29052531999999998</c:v>
                </c:pt>
                <c:pt idx="7156">
                  <c:v>-0.29075194999999998</c:v>
                </c:pt>
                <c:pt idx="7157">
                  <c:v>-0.29097809000000002</c:v>
                </c:pt>
                <c:pt idx="7158">
                  <c:v>-0.29120393</c:v>
                </c:pt>
                <c:pt idx="7159">
                  <c:v>-0.29143005999999999</c:v>
                </c:pt>
                <c:pt idx="7160">
                  <c:v>-0.29165625000000001</c:v>
                </c:pt>
                <c:pt idx="7161">
                  <c:v>-0.29188303999999998</c:v>
                </c:pt>
                <c:pt idx="7162">
                  <c:v>-0.29210841999999998</c:v>
                </c:pt>
                <c:pt idx="7163">
                  <c:v>-0.29233579999999998</c:v>
                </c:pt>
                <c:pt idx="7164">
                  <c:v>-0.29256367</c:v>
                </c:pt>
                <c:pt idx="7165">
                  <c:v>-0.29279002999999998</c:v>
                </c:pt>
                <c:pt idx="7166">
                  <c:v>-0.29301747</c:v>
                </c:pt>
                <c:pt idx="7167">
                  <c:v>-0.29324411</c:v>
                </c:pt>
                <c:pt idx="7168">
                  <c:v>-0.29347209000000002</c:v>
                </c:pt>
                <c:pt idx="7169">
                  <c:v>-0.29369961999999999</c:v>
                </c:pt>
                <c:pt idx="7170">
                  <c:v>-0.29392718000000001</c:v>
                </c:pt>
                <c:pt idx="7171">
                  <c:v>-0.29415367999999997</c:v>
                </c:pt>
                <c:pt idx="7172">
                  <c:v>-0.29438304999999998</c:v>
                </c:pt>
                <c:pt idx="7173">
                  <c:v>-0.29460960000000003</c:v>
                </c:pt>
                <c:pt idx="7174">
                  <c:v>-0.29483837000000002</c:v>
                </c:pt>
                <c:pt idx="7175">
                  <c:v>-0.29506595000000002</c:v>
                </c:pt>
                <c:pt idx="7176">
                  <c:v>-0.29529531999999997</c:v>
                </c:pt>
                <c:pt idx="7177">
                  <c:v>-0.29552275</c:v>
                </c:pt>
                <c:pt idx="7178">
                  <c:v>-0.29575148000000001</c:v>
                </c:pt>
                <c:pt idx="7179">
                  <c:v>-0.29597931</c:v>
                </c:pt>
                <c:pt idx="7180">
                  <c:v>-0.29620822000000002</c:v>
                </c:pt>
                <c:pt idx="7181">
                  <c:v>-0.29643703999999998</c:v>
                </c:pt>
                <c:pt idx="7182">
                  <c:v>-0.29666571000000003</c:v>
                </c:pt>
                <c:pt idx="7183">
                  <c:v>-0.29689455999999997</c:v>
                </c:pt>
                <c:pt idx="7184">
                  <c:v>-0.29712307999999998</c:v>
                </c:pt>
                <c:pt idx="7185">
                  <c:v>-0.29735319999999998</c:v>
                </c:pt>
                <c:pt idx="7186">
                  <c:v>-0.29758266</c:v>
                </c:pt>
                <c:pt idx="7187">
                  <c:v>-0.29781147000000002</c:v>
                </c:pt>
                <c:pt idx="7188">
                  <c:v>-0.29804152</c:v>
                </c:pt>
                <c:pt idx="7189">
                  <c:v>-0.29827122</c:v>
                </c:pt>
                <c:pt idx="7190">
                  <c:v>-0.29850080000000001</c:v>
                </c:pt>
                <c:pt idx="7191">
                  <c:v>-0.29873024999999997</c:v>
                </c:pt>
                <c:pt idx="7192">
                  <c:v>-0.29895983999999998</c:v>
                </c:pt>
                <c:pt idx="7193">
                  <c:v>-0.29919075000000001</c:v>
                </c:pt>
                <c:pt idx="7194">
                  <c:v>-0.29942108000000001</c:v>
                </c:pt>
                <c:pt idx="7195">
                  <c:v>-0.29965023000000002</c:v>
                </c:pt>
                <c:pt idx="7196">
                  <c:v>-0.29988211999999997</c:v>
                </c:pt>
                <c:pt idx="7197">
                  <c:v>-0.30011116999999998</c:v>
                </c:pt>
                <c:pt idx="7198">
                  <c:v>-0.30034219000000001</c:v>
                </c:pt>
                <c:pt idx="7199">
                  <c:v>-0.30057305000000001</c:v>
                </c:pt>
                <c:pt idx="7200">
                  <c:v>-0.30080447999999999</c:v>
                </c:pt>
                <c:pt idx="7201">
                  <c:v>-0.30103503999999998</c:v>
                </c:pt>
                <c:pt idx="7202">
                  <c:v>-0.30126565</c:v>
                </c:pt>
                <c:pt idx="7203">
                  <c:v>-0.30149734</c:v>
                </c:pt>
                <c:pt idx="7204">
                  <c:v>-0.30172918999999998</c:v>
                </c:pt>
                <c:pt idx="7205">
                  <c:v>-0.30196148</c:v>
                </c:pt>
                <c:pt idx="7206">
                  <c:v>-0.30219215999999999</c:v>
                </c:pt>
                <c:pt idx="7207">
                  <c:v>-0.30242395</c:v>
                </c:pt>
                <c:pt idx="7208">
                  <c:v>-0.30265603000000002</c:v>
                </c:pt>
                <c:pt idx="7209">
                  <c:v>-0.30288720000000002</c:v>
                </c:pt>
                <c:pt idx="7210">
                  <c:v>-0.30311819000000001</c:v>
                </c:pt>
                <c:pt idx="7211">
                  <c:v>-0.30335149</c:v>
                </c:pt>
                <c:pt idx="7212">
                  <c:v>-0.30358363999999999</c:v>
                </c:pt>
                <c:pt idx="7213">
                  <c:v>-0.30381657000000001</c:v>
                </c:pt>
                <c:pt idx="7214">
                  <c:v>-0.30404987</c:v>
                </c:pt>
                <c:pt idx="7215">
                  <c:v>-0.30428061000000001</c:v>
                </c:pt>
                <c:pt idx="7216">
                  <c:v>-0.30451395999999997</c:v>
                </c:pt>
                <c:pt idx="7217">
                  <c:v>-0.30474639999999997</c:v>
                </c:pt>
                <c:pt idx="7218">
                  <c:v>-0.30497954999999999</c:v>
                </c:pt>
                <c:pt idx="7219">
                  <c:v>-0.3052126</c:v>
                </c:pt>
                <c:pt idx="7220">
                  <c:v>-0.30544568</c:v>
                </c:pt>
                <c:pt idx="7221">
                  <c:v>-0.30567855999999999</c:v>
                </c:pt>
                <c:pt idx="7222">
                  <c:v>-0.30591169000000001</c:v>
                </c:pt>
                <c:pt idx="7223">
                  <c:v>-0.30614573</c:v>
                </c:pt>
                <c:pt idx="7224">
                  <c:v>-0.30637996000000001</c:v>
                </c:pt>
                <c:pt idx="7225">
                  <c:v>-0.30661294</c:v>
                </c:pt>
                <c:pt idx="7226">
                  <c:v>-0.30684768000000001</c:v>
                </c:pt>
                <c:pt idx="7227">
                  <c:v>-0.30708175999999998</c:v>
                </c:pt>
                <c:pt idx="7228">
                  <c:v>-0.30731538000000003</c:v>
                </c:pt>
                <c:pt idx="7229">
                  <c:v>-0.30754851999999999</c:v>
                </c:pt>
                <c:pt idx="7230">
                  <c:v>-0.30778216000000003</c:v>
                </c:pt>
                <c:pt idx="7231">
                  <c:v>-0.30801787000000003</c:v>
                </c:pt>
                <c:pt idx="7232">
                  <c:v>-0.30825282999999998</c:v>
                </c:pt>
                <c:pt idx="7233">
                  <c:v>-0.30848640999999999</c:v>
                </c:pt>
                <c:pt idx="7234">
                  <c:v>-0.30872252</c:v>
                </c:pt>
                <c:pt idx="7235">
                  <c:v>-0.30895602</c:v>
                </c:pt>
                <c:pt idx="7236">
                  <c:v>-0.30919175999999998</c:v>
                </c:pt>
                <c:pt idx="7237">
                  <c:v>-0.30942583000000001</c:v>
                </c:pt>
                <c:pt idx="7238">
                  <c:v>-0.30966222999999998</c:v>
                </c:pt>
                <c:pt idx="7239">
                  <c:v>-0.30989735000000002</c:v>
                </c:pt>
                <c:pt idx="7240">
                  <c:v>-0.31013328000000001</c:v>
                </c:pt>
                <c:pt idx="7241">
                  <c:v>-0.31036775999999999</c:v>
                </c:pt>
                <c:pt idx="7242">
                  <c:v>-0.31060426000000002</c:v>
                </c:pt>
                <c:pt idx="7243">
                  <c:v>-0.31083880000000003</c:v>
                </c:pt>
                <c:pt idx="7244">
                  <c:v>-0.31107643000000001</c:v>
                </c:pt>
                <c:pt idx="7245">
                  <c:v>-0.31131223000000002</c:v>
                </c:pt>
                <c:pt idx="7246">
                  <c:v>-0.31154717999999998</c:v>
                </c:pt>
                <c:pt idx="7247">
                  <c:v>-0.31178345000000002</c:v>
                </c:pt>
                <c:pt idx="7248">
                  <c:v>-0.31202004999999999</c:v>
                </c:pt>
                <c:pt idx="7249">
                  <c:v>-0.31225639999999999</c:v>
                </c:pt>
                <c:pt idx="7250">
                  <c:v>-0.31249328999999998</c:v>
                </c:pt>
                <c:pt idx="7251">
                  <c:v>-0.31273051000000002</c:v>
                </c:pt>
                <c:pt idx="7252">
                  <c:v>-0.31296686000000001</c:v>
                </c:pt>
                <c:pt idx="7253">
                  <c:v>-0.31320357999999998</c:v>
                </c:pt>
                <c:pt idx="7254">
                  <c:v>-0.31344053999999999</c:v>
                </c:pt>
                <c:pt idx="7255">
                  <c:v>-0.31367771999999999</c:v>
                </c:pt>
                <c:pt idx="7256">
                  <c:v>-0.31391437999999999</c:v>
                </c:pt>
                <c:pt idx="7257">
                  <c:v>-0.31415169999999998</c:v>
                </c:pt>
                <c:pt idx="7258">
                  <c:v>-0.31438917</c:v>
                </c:pt>
                <c:pt idx="7259">
                  <c:v>-0.31462817999999998</c:v>
                </c:pt>
                <c:pt idx="7260">
                  <c:v>-0.31486619999999998</c:v>
                </c:pt>
                <c:pt idx="7261">
                  <c:v>-0.31510327999999999</c:v>
                </c:pt>
                <c:pt idx="7262">
                  <c:v>-0.31534190000000001</c:v>
                </c:pt>
                <c:pt idx="7263">
                  <c:v>-0.31557827999999999</c:v>
                </c:pt>
                <c:pt idx="7264">
                  <c:v>-0.31581745999999999</c:v>
                </c:pt>
                <c:pt idx="7265">
                  <c:v>-0.31605593999999998</c:v>
                </c:pt>
                <c:pt idx="7266">
                  <c:v>-0.31629383999999999</c:v>
                </c:pt>
                <c:pt idx="7267">
                  <c:v>-0.31653311000000001</c:v>
                </c:pt>
                <c:pt idx="7268">
                  <c:v>-0.31677126</c:v>
                </c:pt>
                <c:pt idx="7269">
                  <c:v>-0.31701017999999997</c:v>
                </c:pt>
                <c:pt idx="7270">
                  <c:v>-0.31724872999999998</c:v>
                </c:pt>
                <c:pt idx="7271">
                  <c:v>-0.31748643999999998</c:v>
                </c:pt>
                <c:pt idx="7272">
                  <c:v>-0.31772686</c:v>
                </c:pt>
                <c:pt idx="7273">
                  <c:v>-0.31796567999999997</c:v>
                </c:pt>
                <c:pt idx="7274">
                  <c:v>-0.31820542000000002</c:v>
                </c:pt>
                <c:pt idx="7275">
                  <c:v>-0.31844445999999998</c:v>
                </c:pt>
                <c:pt idx="7276">
                  <c:v>-0.31868473000000003</c:v>
                </c:pt>
                <c:pt idx="7277">
                  <c:v>-0.31892365</c:v>
                </c:pt>
                <c:pt idx="7278">
                  <c:v>-0.31916475</c:v>
                </c:pt>
                <c:pt idx="7279">
                  <c:v>-0.31940312999999998</c:v>
                </c:pt>
                <c:pt idx="7280">
                  <c:v>-0.31964428</c:v>
                </c:pt>
                <c:pt idx="7281">
                  <c:v>-0.31988433999999999</c:v>
                </c:pt>
                <c:pt idx="7282">
                  <c:v>-0.32012372</c:v>
                </c:pt>
                <c:pt idx="7283">
                  <c:v>-0.32036489000000001</c:v>
                </c:pt>
                <c:pt idx="7284">
                  <c:v>-0.32060498999999998</c:v>
                </c:pt>
                <c:pt idx="7285">
                  <c:v>-0.32084659999999998</c:v>
                </c:pt>
                <c:pt idx="7286">
                  <c:v>-0.32108622999999997</c:v>
                </c:pt>
                <c:pt idx="7287">
                  <c:v>-0.32132622999999999</c:v>
                </c:pt>
                <c:pt idx="7288">
                  <c:v>-0.32156859999999998</c:v>
                </c:pt>
                <c:pt idx="7289">
                  <c:v>-0.32180862999999998</c:v>
                </c:pt>
                <c:pt idx="7290">
                  <c:v>-0.32204997000000002</c:v>
                </c:pt>
                <c:pt idx="7291">
                  <c:v>-0.32229225</c:v>
                </c:pt>
                <c:pt idx="7292">
                  <c:v>-0.32253252999999998</c:v>
                </c:pt>
                <c:pt idx="7293">
                  <c:v>-0.32277425999999998</c:v>
                </c:pt>
                <c:pt idx="7294">
                  <c:v>-0.32301676000000001</c:v>
                </c:pt>
                <c:pt idx="7295">
                  <c:v>-0.32325853999999998</c:v>
                </c:pt>
                <c:pt idx="7296">
                  <c:v>-0.32349892000000002</c:v>
                </c:pt>
                <c:pt idx="7297">
                  <c:v>-0.32374235000000001</c:v>
                </c:pt>
                <c:pt idx="7298">
                  <c:v>-0.32398368999999999</c:v>
                </c:pt>
                <c:pt idx="7299">
                  <c:v>-0.32422608000000003</c:v>
                </c:pt>
                <c:pt idx="7300">
                  <c:v>-0.32446849999999999</c:v>
                </c:pt>
                <c:pt idx="7301">
                  <c:v>-0.32471148999999999</c:v>
                </c:pt>
                <c:pt idx="7302">
                  <c:v>-0.32495288999999999</c:v>
                </c:pt>
                <c:pt idx="7303">
                  <c:v>-0.32519554000000001</c:v>
                </c:pt>
                <c:pt idx="7304">
                  <c:v>-0.32543896999999999</c:v>
                </c:pt>
                <c:pt idx="7305">
                  <c:v>-0.32568274000000003</c:v>
                </c:pt>
                <c:pt idx="7306">
                  <c:v>-0.32592400999999999</c:v>
                </c:pt>
                <c:pt idx="7307">
                  <c:v>-0.32616890999999998</c:v>
                </c:pt>
                <c:pt idx="7308">
                  <c:v>-0.32641079000000001</c:v>
                </c:pt>
                <c:pt idx="7309">
                  <c:v>-0.32665464</c:v>
                </c:pt>
                <c:pt idx="7310">
                  <c:v>-0.32689906000000002</c:v>
                </c:pt>
                <c:pt idx="7311">
                  <c:v>-0.32714133000000001</c:v>
                </c:pt>
                <c:pt idx="7312">
                  <c:v>-0.32738525000000002</c:v>
                </c:pt>
                <c:pt idx="7313">
                  <c:v>-0.32763008999999998</c:v>
                </c:pt>
                <c:pt idx="7314">
                  <c:v>-0.32787369</c:v>
                </c:pt>
                <c:pt idx="7315">
                  <c:v>-0.32811750000000001</c:v>
                </c:pt>
                <c:pt idx="7316">
                  <c:v>-0.32836166999999999</c:v>
                </c:pt>
                <c:pt idx="7317">
                  <c:v>-0.32860655999999999</c:v>
                </c:pt>
                <c:pt idx="7318">
                  <c:v>-0.32885005</c:v>
                </c:pt>
                <c:pt idx="7319">
                  <c:v>-0.32909445999999998</c:v>
                </c:pt>
                <c:pt idx="7320">
                  <c:v>-0.32933976999999998</c:v>
                </c:pt>
                <c:pt idx="7321">
                  <c:v>-0.32958348999999998</c:v>
                </c:pt>
                <c:pt idx="7322">
                  <c:v>-0.32982847999999998</c:v>
                </c:pt>
                <c:pt idx="7323">
                  <c:v>-0.33007420999999998</c:v>
                </c:pt>
                <c:pt idx="7324">
                  <c:v>-0.33032053</c:v>
                </c:pt>
                <c:pt idx="7325">
                  <c:v>-0.33056486000000002</c:v>
                </c:pt>
                <c:pt idx="7326">
                  <c:v>-0.33080990999999998</c:v>
                </c:pt>
                <c:pt idx="7327">
                  <c:v>-0.33105717000000001</c:v>
                </c:pt>
                <c:pt idx="7328">
                  <c:v>-0.33130156999999999</c:v>
                </c:pt>
                <c:pt idx="7329">
                  <c:v>-0.33154706</c:v>
                </c:pt>
                <c:pt idx="7330">
                  <c:v>-0.33179329000000002</c:v>
                </c:pt>
                <c:pt idx="7331">
                  <c:v>-0.33203949999999999</c:v>
                </c:pt>
                <c:pt idx="7332">
                  <c:v>-0.33228505000000003</c:v>
                </c:pt>
                <c:pt idx="7333">
                  <c:v>-0.33253167</c:v>
                </c:pt>
                <c:pt idx="7334">
                  <c:v>-0.33277725000000002</c:v>
                </c:pt>
                <c:pt idx="7335">
                  <c:v>-0.33302387999999999</c:v>
                </c:pt>
                <c:pt idx="7336">
                  <c:v>-0.33327073000000002</c:v>
                </c:pt>
                <c:pt idx="7337">
                  <c:v>-0.33351745999999999</c:v>
                </c:pt>
                <c:pt idx="7338">
                  <c:v>-0.33376417000000003</c:v>
                </c:pt>
                <c:pt idx="7339">
                  <c:v>-0.33401109000000001</c:v>
                </c:pt>
                <c:pt idx="7340">
                  <c:v>-0.33425834999999998</c:v>
                </c:pt>
                <c:pt idx="7341">
                  <c:v>-0.33450551000000001</c:v>
                </c:pt>
                <c:pt idx="7342">
                  <c:v>-0.33475229000000001</c:v>
                </c:pt>
                <c:pt idx="7343">
                  <c:v>-0.33500015</c:v>
                </c:pt>
                <c:pt idx="7344">
                  <c:v>-0.33524822999999998</c:v>
                </c:pt>
                <c:pt idx="7345">
                  <c:v>-0.33549487</c:v>
                </c:pt>
                <c:pt idx="7346">
                  <c:v>-0.33574284999999998</c:v>
                </c:pt>
                <c:pt idx="7347">
                  <c:v>-0.33599129999999999</c:v>
                </c:pt>
                <c:pt idx="7348">
                  <c:v>-0.33623782000000002</c:v>
                </c:pt>
                <c:pt idx="7349">
                  <c:v>-0.33648633</c:v>
                </c:pt>
                <c:pt idx="7350">
                  <c:v>-0.33673359000000003</c:v>
                </c:pt>
                <c:pt idx="7351">
                  <c:v>-0.33698271000000002</c:v>
                </c:pt>
                <c:pt idx="7352">
                  <c:v>-0.33723127000000003</c:v>
                </c:pt>
                <c:pt idx="7353">
                  <c:v>-0.33748035999999998</c:v>
                </c:pt>
                <c:pt idx="7354">
                  <c:v>-0.33772901</c:v>
                </c:pt>
                <c:pt idx="7355">
                  <c:v>-0.33797798000000001</c:v>
                </c:pt>
                <c:pt idx="7356">
                  <c:v>-0.33822604000000001</c:v>
                </c:pt>
                <c:pt idx="7357">
                  <c:v>-0.33847575000000002</c:v>
                </c:pt>
                <c:pt idx="7358">
                  <c:v>-0.33872479999999999</c:v>
                </c:pt>
                <c:pt idx="7359">
                  <c:v>-0.33897328999999998</c:v>
                </c:pt>
                <c:pt idx="7360">
                  <c:v>-0.33922252000000003</c:v>
                </c:pt>
                <c:pt idx="7361">
                  <c:v>-0.3394723</c:v>
                </c:pt>
                <c:pt idx="7362">
                  <c:v>-0.33972303999999998</c:v>
                </c:pt>
                <c:pt idx="7363">
                  <c:v>-0.33997228000000002</c:v>
                </c:pt>
                <c:pt idx="7364">
                  <c:v>-0.34022195999999999</c:v>
                </c:pt>
                <c:pt idx="7365">
                  <c:v>-0.34047211999999999</c:v>
                </c:pt>
                <c:pt idx="7366">
                  <c:v>-0.34072254000000002</c:v>
                </c:pt>
                <c:pt idx="7367">
                  <c:v>-0.34097332000000002</c:v>
                </c:pt>
                <c:pt idx="7368">
                  <c:v>-0.34122200000000003</c:v>
                </c:pt>
                <c:pt idx="7369">
                  <c:v>-0.341474</c:v>
                </c:pt>
                <c:pt idx="7370">
                  <c:v>-0.34172339000000002</c:v>
                </c:pt>
                <c:pt idx="7371">
                  <c:v>-0.34197456999999998</c:v>
                </c:pt>
                <c:pt idx="7372">
                  <c:v>-0.34222492999999998</c:v>
                </c:pt>
                <c:pt idx="7373">
                  <c:v>-0.34247707999999999</c:v>
                </c:pt>
                <c:pt idx="7374">
                  <c:v>-0.34272680999999999</c:v>
                </c:pt>
                <c:pt idx="7375">
                  <c:v>-0.34297933000000003</c:v>
                </c:pt>
                <c:pt idx="7376">
                  <c:v>-0.34322918000000002</c:v>
                </c:pt>
                <c:pt idx="7377">
                  <c:v>-0.34348116000000001</c:v>
                </c:pt>
                <c:pt idx="7378">
                  <c:v>-0.34373341000000002</c:v>
                </c:pt>
                <c:pt idx="7379">
                  <c:v>-0.34398434</c:v>
                </c:pt>
                <c:pt idx="7380">
                  <c:v>-0.34423636000000002</c:v>
                </c:pt>
                <c:pt idx="7381">
                  <c:v>-0.34448877999999999</c:v>
                </c:pt>
                <c:pt idx="7382">
                  <c:v>-0.34474000999999999</c:v>
                </c:pt>
                <c:pt idx="7383">
                  <c:v>-0.34499152</c:v>
                </c:pt>
                <c:pt idx="7384">
                  <c:v>-0.34524363000000002</c:v>
                </c:pt>
                <c:pt idx="7385">
                  <c:v>-0.34549664000000002</c:v>
                </c:pt>
                <c:pt idx="7386">
                  <c:v>-0.34574932000000003</c:v>
                </c:pt>
                <c:pt idx="7387">
                  <c:v>-0.34600198999999998</c:v>
                </c:pt>
                <c:pt idx="7388">
                  <c:v>-0.34625414999999998</c:v>
                </c:pt>
                <c:pt idx="7389">
                  <c:v>-0.34650941000000002</c:v>
                </c:pt>
                <c:pt idx="7390">
                  <c:v>-0.34675996999999997</c:v>
                </c:pt>
                <c:pt idx="7391">
                  <c:v>-0.34701486999999998</c:v>
                </c:pt>
                <c:pt idx="7392">
                  <c:v>-0.34726630000000003</c:v>
                </c:pt>
                <c:pt idx="7393">
                  <c:v>-0.34752055999999998</c:v>
                </c:pt>
                <c:pt idx="7394">
                  <c:v>-0.34777280999999999</c:v>
                </c:pt>
                <c:pt idx="7395">
                  <c:v>-0.34802739999999999</c:v>
                </c:pt>
                <c:pt idx="7396">
                  <c:v>-0.34828156999999998</c:v>
                </c:pt>
                <c:pt idx="7397">
                  <c:v>-0.34853442000000001</c:v>
                </c:pt>
                <c:pt idx="7398">
                  <c:v>-0.34878873999999999</c:v>
                </c:pt>
                <c:pt idx="7399">
                  <c:v>-0.34904246</c:v>
                </c:pt>
                <c:pt idx="7400">
                  <c:v>-0.34929819000000001</c:v>
                </c:pt>
                <c:pt idx="7401">
                  <c:v>-0.34955123999999999</c:v>
                </c:pt>
                <c:pt idx="7402">
                  <c:v>-0.34980618000000002</c:v>
                </c:pt>
                <c:pt idx="7403">
                  <c:v>-0.35006008</c:v>
                </c:pt>
                <c:pt idx="7404">
                  <c:v>-0.35031466</c:v>
                </c:pt>
                <c:pt idx="7405">
                  <c:v>-0.35057007000000001</c:v>
                </c:pt>
                <c:pt idx="7406">
                  <c:v>-0.35082427999999999</c:v>
                </c:pt>
                <c:pt idx="7407">
                  <c:v>-0.35108065999999999</c:v>
                </c:pt>
                <c:pt idx="7408">
                  <c:v>-0.35133450999999999</c:v>
                </c:pt>
                <c:pt idx="7409">
                  <c:v>-0.35159119999999999</c:v>
                </c:pt>
                <c:pt idx="7410">
                  <c:v>-0.35184546999999999</c:v>
                </c:pt>
                <c:pt idx="7411">
                  <c:v>-0.35210099</c:v>
                </c:pt>
                <c:pt idx="7412">
                  <c:v>-0.35235652000000001</c:v>
                </c:pt>
                <c:pt idx="7413">
                  <c:v>-0.35261219999999999</c:v>
                </c:pt>
                <c:pt idx="7414">
                  <c:v>-0.35286814999999999</c:v>
                </c:pt>
                <c:pt idx="7415">
                  <c:v>-0.35312424999999997</c:v>
                </c:pt>
                <c:pt idx="7416">
                  <c:v>-0.35338090999999999</c:v>
                </c:pt>
                <c:pt idx="7417">
                  <c:v>-0.35363665999999999</c:v>
                </c:pt>
                <c:pt idx="7418">
                  <c:v>-0.35389213000000003</c:v>
                </c:pt>
                <c:pt idx="7419">
                  <c:v>-0.35414993</c:v>
                </c:pt>
                <c:pt idx="7420">
                  <c:v>-0.35440558999999999</c:v>
                </c:pt>
                <c:pt idx="7421">
                  <c:v>-0.35466354999999999</c:v>
                </c:pt>
                <c:pt idx="7422">
                  <c:v>-0.35491935000000002</c:v>
                </c:pt>
                <c:pt idx="7423">
                  <c:v>-0.35517778</c:v>
                </c:pt>
                <c:pt idx="7424">
                  <c:v>-0.35543292999999998</c:v>
                </c:pt>
                <c:pt idx="7425">
                  <c:v>-0.35569070000000003</c:v>
                </c:pt>
                <c:pt idx="7426">
                  <c:v>-0.35594873999999999</c:v>
                </c:pt>
                <c:pt idx="7427">
                  <c:v>-0.3562053</c:v>
                </c:pt>
                <c:pt idx="7428">
                  <c:v>-0.35646255999999998</c:v>
                </c:pt>
                <c:pt idx="7429">
                  <c:v>-0.35672146999999998</c:v>
                </c:pt>
                <c:pt idx="7430">
                  <c:v>-0.35697835</c:v>
                </c:pt>
                <c:pt idx="7431">
                  <c:v>-0.35723661000000001</c:v>
                </c:pt>
                <c:pt idx="7432">
                  <c:v>-0.35749405000000001</c:v>
                </c:pt>
                <c:pt idx="7433">
                  <c:v>-0.35775341999999999</c:v>
                </c:pt>
                <c:pt idx="7434">
                  <c:v>-0.35801076999999998</c:v>
                </c:pt>
                <c:pt idx="7435">
                  <c:v>-0.3582688</c:v>
                </c:pt>
                <c:pt idx="7436">
                  <c:v>-0.35852861000000003</c:v>
                </c:pt>
                <c:pt idx="7437">
                  <c:v>-0.35878708999999998</c:v>
                </c:pt>
                <c:pt idx="7438">
                  <c:v>-0.35904502999999999</c:v>
                </c:pt>
                <c:pt idx="7439">
                  <c:v>-0.35930446999999999</c:v>
                </c:pt>
                <c:pt idx="7440">
                  <c:v>-0.35956395000000002</c:v>
                </c:pt>
                <c:pt idx="7441">
                  <c:v>-0.35982343</c:v>
                </c:pt>
                <c:pt idx="7442">
                  <c:v>-0.36008251000000002</c:v>
                </c:pt>
                <c:pt idx="7443">
                  <c:v>-0.36034160999999998</c:v>
                </c:pt>
                <c:pt idx="7444">
                  <c:v>-0.36060046000000001</c:v>
                </c:pt>
                <c:pt idx="7445">
                  <c:v>-0.36086055</c:v>
                </c:pt>
                <c:pt idx="7446">
                  <c:v>-0.36112023999999998</c:v>
                </c:pt>
                <c:pt idx="7447">
                  <c:v>-0.36138047000000001</c:v>
                </c:pt>
                <c:pt idx="7448">
                  <c:v>-0.36163993</c:v>
                </c:pt>
                <c:pt idx="7449">
                  <c:v>-0.36190032999999999</c:v>
                </c:pt>
                <c:pt idx="7450">
                  <c:v>-0.36216060999999999</c:v>
                </c:pt>
                <c:pt idx="7451">
                  <c:v>-0.36242036999999999</c:v>
                </c:pt>
                <c:pt idx="7452">
                  <c:v>-0.36268081000000002</c:v>
                </c:pt>
                <c:pt idx="7453">
                  <c:v>-0.36294197</c:v>
                </c:pt>
                <c:pt idx="7454">
                  <c:v>-0.36320202000000001</c:v>
                </c:pt>
                <c:pt idx="7455">
                  <c:v>-0.36346508999999999</c:v>
                </c:pt>
                <c:pt idx="7456">
                  <c:v>-0.36372516999999999</c:v>
                </c:pt>
                <c:pt idx="7457">
                  <c:v>-0.36398488000000001</c:v>
                </c:pt>
                <c:pt idx="7458">
                  <c:v>-0.36424704000000002</c:v>
                </c:pt>
                <c:pt idx="7459">
                  <c:v>-0.36450853</c:v>
                </c:pt>
                <c:pt idx="7460">
                  <c:v>-0.36476976</c:v>
                </c:pt>
                <c:pt idx="7461">
                  <c:v>-0.36503248999999999</c:v>
                </c:pt>
                <c:pt idx="7462">
                  <c:v>-0.36529198000000002</c:v>
                </c:pt>
                <c:pt idx="7463">
                  <c:v>-0.36555613999999997</c:v>
                </c:pt>
                <c:pt idx="7464">
                  <c:v>-0.36581741000000001</c:v>
                </c:pt>
                <c:pt idx="7465">
                  <c:v>-0.36607749000000001</c:v>
                </c:pt>
                <c:pt idx="7466">
                  <c:v>-0.36634192999999998</c:v>
                </c:pt>
                <c:pt idx="7467">
                  <c:v>-0.36660433999999997</c:v>
                </c:pt>
                <c:pt idx="7468">
                  <c:v>-0.36686675000000002</c:v>
                </c:pt>
                <c:pt idx="7469">
                  <c:v>-0.36712906000000001</c:v>
                </c:pt>
                <c:pt idx="7470">
                  <c:v>-0.36739083</c:v>
                </c:pt>
                <c:pt idx="7471">
                  <c:v>-0.36765438</c:v>
                </c:pt>
                <c:pt idx="7472">
                  <c:v>-0.36791686000000001</c:v>
                </c:pt>
                <c:pt idx="7473">
                  <c:v>-0.36818042000000001</c:v>
                </c:pt>
                <c:pt idx="7474">
                  <c:v>-0.36844335</c:v>
                </c:pt>
                <c:pt idx="7475">
                  <c:v>-0.36870705999999998</c:v>
                </c:pt>
                <c:pt idx="7476">
                  <c:v>-0.36896905000000002</c:v>
                </c:pt>
                <c:pt idx="7477">
                  <c:v>-0.36923376000000002</c:v>
                </c:pt>
                <c:pt idx="7478">
                  <c:v>-0.36949674999999998</c:v>
                </c:pt>
                <c:pt idx="7479">
                  <c:v>-0.36976160000000002</c:v>
                </c:pt>
                <c:pt idx="7480">
                  <c:v>-0.37002539000000001</c:v>
                </c:pt>
                <c:pt idx="7481">
                  <c:v>-0.37028822</c:v>
                </c:pt>
                <c:pt idx="7482">
                  <c:v>-0.37055180999999998</c:v>
                </c:pt>
                <c:pt idx="7483">
                  <c:v>-0.37081724999999999</c:v>
                </c:pt>
                <c:pt idx="7484">
                  <c:v>-0.37108099</c:v>
                </c:pt>
                <c:pt idx="7485">
                  <c:v>-0.37134603999999999</c:v>
                </c:pt>
                <c:pt idx="7486">
                  <c:v>-0.37161112000000002</c:v>
                </c:pt>
                <c:pt idx="7487">
                  <c:v>-0.37187585000000001</c:v>
                </c:pt>
                <c:pt idx="7488">
                  <c:v>-0.37214149000000002</c:v>
                </c:pt>
                <c:pt idx="7489">
                  <c:v>-0.37240551999999999</c:v>
                </c:pt>
                <c:pt idx="7490">
                  <c:v>-0.37267149999999999</c:v>
                </c:pt>
                <c:pt idx="7491">
                  <c:v>-0.37293706999999998</c:v>
                </c:pt>
                <c:pt idx="7492">
                  <c:v>-0.37320101999999999</c:v>
                </c:pt>
                <c:pt idx="7493">
                  <c:v>-0.37346782000000001</c:v>
                </c:pt>
                <c:pt idx="7494">
                  <c:v>-0.37373364999999997</c:v>
                </c:pt>
                <c:pt idx="7495">
                  <c:v>-0.37399819000000001</c:v>
                </c:pt>
                <c:pt idx="7496">
                  <c:v>-0.37426437000000001</c:v>
                </c:pt>
                <c:pt idx="7497">
                  <c:v>-0.37453175999999999</c:v>
                </c:pt>
                <c:pt idx="7498">
                  <c:v>-0.37479820000000003</c:v>
                </c:pt>
                <c:pt idx="7499">
                  <c:v>-0.37506332999999997</c:v>
                </c:pt>
                <c:pt idx="7500">
                  <c:v>-0.37533011999999999</c:v>
                </c:pt>
                <c:pt idx="7501">
                  <c:v>-0.37559615000000002</c:v>
                </c:pt>
                <c:pt idx="7502">
                  <c:v>-0.37586318000000002</c:v>
                </c:pt>
                <c:pt idx="7503">
                  <c:v>-0.37612847999999999</c:v>
                </c:pt>
                <c:pt idx="7504">
                  <c:v>-0.37639532999999997</c:v>
                </c:pt>
                <c:pt idx="7505">
                  <c:v>-0.37666294</c:v>
                </c:pt>
                <c:pt idx="7506">
                  <c:v>-0.37693111000000001</c:v>
                </c:pt>
                <c:pt idx="7507">
                  <c:v>-0.37719722</c:v>
                </c:pt>
                <c:pt idx="7508">
                  <c:v>-0.37746412000000001</c:v>
                </c:pt>
                <c:pt idx="7509">
                  <c:v>-0.37773265</c:v>
                </c:pt>
                <c:pt idx="7510">
                  <c:v>-0.37800054999999999</c:v>
                </c:pt>
                <c:pt idx="7511">
                  <c:v>-0.37826833999999998</c:v>
                </c:pt>
                <c:pt idx="7512">
                  <c:v>-0.37853757999999998</c:v>
                </c:pt>
                <c:pt idx="7513">
                  <c:v>-0.37880422000000002</c:v>
                </c:pt>
                <c:pt idx="7514">
                  <c:v>-0.37907433000000001</c:v>
                </c:pt>
                <c:pt idx="7515">
                  <c:v>-0.37934141999999998</c:v>
                </c:pt>
                <c:pt idx="7516">
                  <c:v>-0.37960811</c:v>
                </c:pt>
                <c:pt idx="7517">
                  <c:v>-0.37987771999999997</c:v>
                </c:pt>
                <c:pt idx="7518">
                  <c:v>-0.38014713999999999</c:v>
                </c:pt>
                <c:pt idx="7519">
                  <c:v>-0.38041568999999997</c:v>
                </c:pt>
                <c:pt idx="7520">
                  <c:v>-0.38068448999999999</c:v>
                </c:pt>
                <c:pt idx="7521">
                  <c:v>-0.38095340999999999</c:v>
                </c:pt>
                <c:pt idx="7522">
                  <c:v>-0.38122298999999998</c:v>
                </c:pt>
                <c:pt idx="7523">
                  <c:v>-0.38149259000000002</c:v>
                </c:pt>
                <c:pt idx="7524">
                  <c:v>-0.38176011999999998</c:v>
                </c:pt>
                <c:pt idx="7525">
                  <c:v>-0.38203092</c:v>
                </c:pt>
                <c:pt idx="7526">
                  <c:v>-0.3823011</c:v>
                </c:pt>
                <c:pt idx="7527">
                  <c:v>-0.38257075000000001</c:v>
                </c:pt>
                <c:pt idx="7528">
                  <c:v>-0.38284051000000002</c:v>
                </c:pt>
                <c:pt idx="7529">
                  <c:v>-0.38311008000000002</c:v>
                </c:pt>
                <c:pt idx="7530">
                  <c:v>-0.38338052</c:v>
                </c:pt>
                <c:pt idx="7531">
                  <c:v>-0.38364967</c:v>
                </c:pt>
                <c:pt idx="7532">
                  <c:v>-0.38392219999999999</c:v>
                </c:pt>
                <c:pt idx="7533">
                  <c:v>-0.38419268000000001</c:v>
                </c:pt>
                <c:pt idx="7534">
                  <c:v>-0.38446187999999998</c:v>
                </c:pt>
                <c:pt idx="7535">
                  <c:v>-0.38473390000000002</c:v>
                </c:pt>
                <c:pt idx="7536">
                  <c:v>-0.38500377000000002</c:v>
                </c:pt>
                <c:pt idx="7537">
                  <c:v>-0.38527602</c:v>
                </c:pt>
                <c:pt idx="7538">
                  <c:v>-0.38554571999999998</c:v>
                </c:pt>
                <c:pt idx="7539">
                  <c:v>-0.38581682</c:v>
                </c:pt>
                <c:pt idx="7540">
                  <c:v>-0.38608847000000002</c:v>
                </c:pt>
                <c:pt idx="7541">
                  <c:v>-0.38636004000000002</c:v>
                </c:pt>
                <c:pt idx="7542">
                  <c:v>-0.3866328</c:v>
                </c:pt>
                <c:pt idx="7543">
                  <c:v>-0.38690439999999998</c:v>
                </c:pt>
                <c:pt idx="7544">
                  <c:v>-0.38717674000000002</c:v>
                </c:pt>
                <c:pt idx="7545">
                  <c:v>-0.38744800000000001</c:v>
                </c:pt>
                <c:pt idx="7546">
                  <c:v>-0.38772001</c:v>
                </c:pt>
                <c:pt idx="7547">
                  <c:v>-0.38799230000000001</c:v>
                </c:pt>
                <c:pt idx="7548">
                  <c:v>-0.38826514000000001</c:v>
                </c:pt>
                <c:pt idx="7549">
                  <c:v>-0.38853755000000001</c:v>
                </c:pt>
                <c:pt idx="7550">
                  <c:v>-0.38880997</c:v>
                </c:pt>
                <c:pt idx="7551">
                  <c:v>-0.38908385000000001</c:v>
                </c:pt>
                <c:pt idx="7552">
                  <c:v>-0.38935585</c:v>
                </c:pt>
                <c:pt idx="7553">
                  <c:v>-0.38962995</c:v>
                </c:pt>
                <c:pt idx="7554">
                  <c:v>-0.38990186999999998</c:v>
                </c:pt>
                <c:pt idx="7555">
                  <c:v>-0.39017582000000001</c:v>
                </c:pt>
                <c:pt idx="7556">
                  <c:v>-0.39044786999999997</c:v>
                </c:pt>
                <c:pt idx="7557">
                  <c:v>-0.39072202</c:v>
                </c:pt>
                <c:pt idx="7558">
                  <c:v>-0.39099672000000002</c:v>
                </c:pt>
                <c:pt idx="7559">
                  <c:v>-0.39127081000000002</c:v>
                </c:pt>
                <c:pt idx="7560">
                  <c:v>-0.39154391</c:v>
                </c:pt>
                <c:pt idx="7561">
                  <c:v>-0.39181712000000002</c:v>
                </c:pt>
                <c:pt idx="7562">
                  <c:v>-0.39209197000000001</c:v>
                </c:pt>
                <c:pt idx="7563">
                  <c:v>-0.39236673999999999</c:v>
                </c:pt>
                <c:pt idx="7564">
                  <c:v>-0.39264160999999997</c:v>
                </c:pt>
                <c:pt idx="7565">
                  <c:v>-0.39291578999999999</c:v>
                </c:pt>
                <c:pt idx="7566">
                  <c:v>-0.39319024000000002</c:v>
                </c:pt>
                <c:pt idx="7567">
                  <c:v>-0.39346569999999997</c:v>
                </c:pt>
                <c:pt idx="7568">
                  <c:v>-0.39374054000000003</c:v>
                </c:pt>
                <c:pt idx="7569">
                  <c:v>-0.39401394000000001</c:v>
                </c:pt>
                <c:pt idx="7570">
                  <c:v>-0.39429052999999997</c:v>
                </c:pt>
                <c:pt idx="7571">
                  <c:v>-0.39456496000000002</c:v>
                </c:pt>
                <c:pt idx="7572">
                  <c:v>-0.39484203000000001</c:v>
                </c:pt>
                <c:pt idx="7573">
                  <c:v>-0.39511648999999999</c:v>
                </c:pt>
                <c:pt idx="7574">
                  <c:v>-0.39539268</c:v>
                </c:pt>
                <c:pt idx="7575">
                  <c:v>-0.39566779000000002</c:v>
                </c:pt>
                <c:pt idx="7576">
                  <c:v>-0.39594337000000002</c:v>
                </c:pt>
                <c:pt idx="7577">
                  <c:v>-0.39622014</c:v>
                </c:pt>
                <c:pt idx="7578">
                  <c:v>-0.39649684000000002</c:v>
                </c:pt>
                <c:pt idx="7579">
                  <c:v>-0.39677372999999999</c:v>
                </c:pt>
                <c:pt idx="7580">
                  <c:v>-0.39705099999999999</c:v>
                </c:pt>
                <c:pt idx="7581">
                  <c:v>-0.39732619000000002</c:v>
                </c:pt>
                <c:pt idx="7582">
                  <c:v>-0.39760411000000001</c:v>
                </c:pt>
                <c:pt idx="7583">
                  <c:v>-0.39787995999999998</c:v>
                </c:pt>
                <c:pt idx="7584">
                  <c:v>-0.39815729999999999</c:v>
                </c:pt>
                <c:pt idx="7585">
                  <c:v>-0.39843479999999998</c:v>
                </c:pt>
                <c:pt idx="7586">
                  <c:v>-0.39871123000000003</c:v>
                </c:pt>
                <c:pt idx="7587">
                  <c:v>-0.39898921999999998</c:v>
                </c:pt>
                <c:pt idx="7588">
                  <c:v>-0.39926668999999998</c:v>
                </c:pt>
                <c:pt idx="7589">
                  <c:v>-0.39954316000000001</c:v>
                </c:pt>
                <c:pt idx="7590">
                  <c:v>-0.39982290999999998</c:v>
                </c:pt>
                <c:pt idx="7591">
                  <c:v>-0.40009988000000002</c:v>
                </c:pt>
                <c:pt idx="7592">
                  <c:v>-0.40037810000000001</c:v>
                </c:pt>
                <c:pt idx="7593">
                  <c:v>-0.40065563999999998</c:v>
                </c:pt>
                <c:pt idx="7594">
                  <c:v>-0.40093435999999999</c:v>
                </c:pt>
                <c:pt idx="7595">
                  <c:v>-0.40121308999999999</c:v>
                </c:pt>
                <c:pt idx="7596">
                  <c:v>-0.40149143999999998</c:v>
                </c:pt>
                <c:pt idx="7597">
                  <c:v>-0.40177013</c:v>
                </c:pt>
                <c:pt idx="7598">
                  <c:v>-0.40204843000000001</c:v>
                </c:pt>
                <c:pt idx="7599">
                  <c:v>-0.40232729</c:v>
                </c:pt>
                <c:pt idx="7600">
                  <c:v>-0.40260664000000002</c:v>
                </c:pt>
                <c:pt idx="7601">
                  <c:v>-0.40288655000000001</c:v>
                </c:pt>
                <c:pt idx="7602">
                  <c:v>-0.40316545999999998</c:v>
                </c:pt>
                <c:pt idx="7603">
                  <c:v>-0.40344499</c:v>
                </c:pt>
                <c:pt idx="7604">
                  <c:v>-0.40372493999999998</c:v>
                </c:pt>
                <c:pt idx="7605">
                  <c:v>-0.40400341000000001</c:v>
                </c:pt>
                <c:pt idx="7606">
                  <c:v>-0.40428448</c:v>
                </c:pt>
                <c:pt idx="7607">
                  <c:v>-0.40456453999999997</c:v>
                </c:pt>
                <c:pt idx="7608">
                  <c:v>-0.40484354</c:v>
                </c:pt>
                <c:pt idx="7609">
                  <c:v>-0.40512369999999998</c:v>
                </c:pt>
                <c:pt idx="7610">
                  <c:v>-0.40540380999999998</c:v>
                </c:pt>
                <c:pt idx="7611">
                  <c:v>-0.40568563000000002</c:v>
                </c:pt>
                <c:pt idx="7612">
                  <c:v>-0.40596577</c:v>
                </c:pt>
                <c:pt idx="7613">
                  <c:v>-0.40624715</c:v>
                </c:pt>
                <c:pt idx="7614">
                  <c:v>-0.40652684</c:v>
                </c:pt>
                <c:pt idx="7615">
                  <c:v>-0.40680864999999999</c:v>
                </c:pt>
                <c:pt idx="7616">
                  <c:v>-0.40708939</c:v>
                </c:pt>
                <c:pt idx="7617">
                  <c:v>-0.40737082000000002</c:v>
                </c:pt>
                <c:pt idx="7618">
                  <c:v>-0.40765220000000002</c:v>
                </c:pt>
                <c:pt idx="7619">
                  <c:v>-0.40793196999999998</c:v>
                </c:pt>
                <c:pt idx="7620">
                  <c:v>-0.40821562</c:v>
                </c:pt>
                <c:pt idx="7621">
                  <c:v>-0.40849759000000002</c:v>
                </c:pt>
                <c:pt idx="7622">
                  <c:v>-0.40877910000000001</c:v>
                </c:pt>
                <c:pt idx="7623">
                  <c:v>-0.40906000999999997</c:v>
                </c:pt>
                <c:pt idx="7624">
                  <c:v>-0.40934316999999998</c:v>
                </c:pt>
                <c:pt idx="7625">
                  <c:v>-0.40962465999999997</c:v>
                </c:pt>
                <c:pt idx="7626">
                  <c:v>-0.40990791999999998</c:v>
                </c:pt>
                <c:pt idx="7627">
                  <c:v>-0.41018943000000002</c:v>
                </c:pt>
                <c:pt idx="7628">
                  <c:v>-0.41047218000000002</c:v>
                </c:pt>
                <c:pt idx="7629">
                  <c:v>-0.41075481000000003</c:v>
                </c:pt>
                <c:pt idx="7630">
                  <c:v>-0.41103915000000002</c:v>
                </c:pt>
                <c:pt idx="7631">
                  <c:v>-0.41132247999999999</c:v>
                </c:pt>
                <c:pt idx="7632">
                  <c:v>-0.41160576999999998</c:v>
                </c:pt>
                <c:pt idx="7633">
                  <c:v>-0.41188858</c:v>
                </c:pt>
                <c:pt idx="7634">
                  <c:v>-0.41217243999999997</c:v>
                </c:pt>
                <c:pt idx="7635">
                  <c:v>-0.41245474999999998</c:v>
                </c:pt>
                <c:pt idx="7636">
                  <c:v>-0.41273971999999998</c:v>
                </c:pt>
                <c:pt idx="7637">
                  <c:v>-0.41302157</c:v>
                </c:pt>
                <c:pt idx="7638">
                  <c:v>-0.41330767000000002</c:v>
                </c:pt>
                <c:pt idx="7639">
                  <c:v>-0.41359063000000001</c:v>
                </c:pt>
                <c:pt idx="7640">
                  <c:v>-0.41387566999999997</c:v>
                </c:pt>
                <c:pt idx="7641">
                  <c:v>-0.41415921</c:v>
                </c:pt>
                <c:pt idx="7642">
                  <c:v>-0.41444373000000001</c:v>
                </c:pt>
                <c:pt idx="7643">
                  <c:v>-0.41472839</c:v>
                </c:pt>
                <c:pt idx="7644">
                  <c:v>-0.41501463999999999</c:v>
                </c:pt>
                <c:pt idx="7645">
                  <c:v>-0.41529877999999998</c:v>
                </c:pt>
                <c:pt idx="7646">
                  <c:v>-0.41558348000000001</c:v>
                </c:pt>
                <c:pt idx="7647">
                  <c:v>-0.41586922999999998</c:v>
                </c:pt>
                <c:pt idx="7648">
                  <c:v>-0.41615456000000001</c:v>
                </c:pt>
                <c:pt idx="7649">
                  <c:v>-0.41643870999999999</c:v>
                </c:pt>
                <c:pt idx="7650">
                  <c:v>-0.41672510000000001</c:v>
                </c:pt>
                <c:pt idx="7651">
                  <c:v>-0.41701091000000001</c:v>
                </c:pt>
                <c:pt idx="7652">
                  <c:v>-0.41729576000000002</c:v>
                </c:pt>
                <c:pt idx="7653">
                  <c:v>-0.41758214999999999</c:v>
                </c:pt>
                <c:pt idx="7654">
                  <c:v>-0.41786811000000001</c:v>
                </c:pt>
                <c:pt idx="7655">
                  <c:v>-0.41815464000000002</c:v>
                </c:pt>
                <c:pt idx="7656">
                  <c:v>-0.41844058000000001</c:v>
                </c:pt>
                <c:pt idx="7657">
                  <c:v>-0.41872763000000002</c:v>
                </c:pt>
                <c:pt idx="7658">
                  <c:v>-0.41901479000000003</c:v>
                </c:pt>
                <c:pt idx="7659">
                  <c:v>-0.41930128</c:v>
                </c:pt>
                <c:pt idx="7660">
                  <c:v>-0.41958793</c:v>
                </c:pt>
                <c:pt idx="7661">
                  <c:v>-0.41987509000000001</c:v>
                </c:pt>
                <c:pt idx="7662">
                  <c:v>-0.42016166999999999</c:v>
                </c:pt>
                <c:pt idx="7663">
                  <c:v>-0.42044886999999997</c:v>
                </c:pt>
                <c:pt idx="7664">
                  <c:v>-0.42073666999999998</c:v>
                </c:pt>
                <c:pt idx="7665">
                  <c:v>-0.42102339999999999</c:v>
                </c:pt>
                <c:pt idx="7666">
                  <c:v>-0.42131277</c:v>
                </c:pt>
                <c:pt idx="7667">
                  <c:v>-0.42160057000000001</c:v>
                </c:pt>
                <c:pt idx="7668">
                  <c:v>-0.42188626000000001</c:v>
                </c:pt>
                <c:pt idx="7669">
                  <c:v>-0.42217468000000002</c:v>
                </c:pt>
                <c:pt idx="7670">
                  <c:v>-0.42246307</c:v>
                </c:pt>
                <c:pt idx="7671">
                  <c:v>-0.42275206999999998</c:v>
                </c:pt>
                <c:pt idx="7672">
                  <c:v>-0.42304109000000001</c:v>
                </c:pt>
                <c:pt idx="7673">
                  <c:v>-0.42332849</c:v>
                </c:pt>
                <c:pt idx="7674">
                  <c:v>-0.42361754000000001</c:v>
                </c:pt>
                <c:pt idx="7675">
                  <c:v>-0.42390665</c:v>
                </c:pt>
                <c:pt idx="7676">
                  <c:v>-0.42419514000000003</c:v>
                </c:pt>
                <c:pt idx="7677">
                  <c:v>-0.42448481999999998</c:v>
                </c:pt>
                <c:pt idx="7678">
                  <c:v>-0.42477344</c:v>
                </c:pt>
                <c:pt idx="7679">
                  <c:v>-0.42506366000000001</c:v>
                </c:pt>
                <c:pt idx="7680">
                  <c:v>-0.42535279999999998</c:v>
                </c:pt>
                <c:pt idx="7681">
                  <c:v>-0.42564255000000001</c:v>
                </c:pt>
                <c:pt idx="7682">
                  <c:v>-0.42593286000000002</c:v>
                </c:pt>
                <c:pt idx="7683">
                  <c:v>-0.42622151000000003</c:v>
                </c:pt>
                <c:pt idx="7684">
                  <c:v>-0.42651186000000002</c:v>
                </c:pt>
                <c:pt idx="7685">
                  <c:v>-0.42680222000000001</c:v>
                </c:pt>
                <c:pt idx="7686">
                  <c:v>-0.42709313999999998</c:v>
                </c:pt>
                <c:pt idx="7687">
                  <c:v>-0.42738407</c:v>
                </c:pt>
                <c:pt idx="7688">
                  <c:v>-0.42767343000000002</c:v>
                </c:pt>
                <c:pt idx="7689">
                  <c:v>-0.42796385999999997</c:v>
                </c:pt>
                <c:pt idx="7690">
                  <c:v>-0.42825542999999999</c:v>
                </c:pt>
                <c:pt idx="7691">
                  <c:v>-0.42854588999999998</c:v>
                </c:pt>
                <c:pt idx="7692">
                  <c:v>-0.42883694999999999</c:v>
                </c:pt>
                <c:pt idx="7693">
                  <c:v>-0.42912856999999999</c:v>
                </c:pt>
                <c:pt idx="7694">
                  <c:v>-0.42941908000000001</c:v>
                </c:pt>
                <c:pt idx="7695">
                  <c:v>-0.42971123999999999</c:v>
                </c:pt>
                <c:pt idx="7696">
                  <c:v>-0.43000240000000001</c:v>
                </c:pt>
                <c:pt idx="7697">
                  <c:v>-0.43029518</c:v>
                </c:pt>
                <c:pt idx="7698">
                  <c:v>-0.43058689</c:v>
                </c:pt>
                <c:pt idx="7699">
                  <c:v>-0.43087809999999999</c:v>
                </c:pt>
                <c:pt idx="7700">
                  <c:v>-0.43117088999999997</c:v>
                </c:pt>
                <c:pt idx="7701">
                  <c:v>-0.43146322999999998</c:v>
                </c:pt>
                <c:pt idx="7702">
                  <c:v>-0.43175553999999999</c:v>
                </c:pt>
                <c:pt idx="7703">
                  <c:v>-0.43204790999999998</c:v>
                </c:pt>
                <c:pt idx="7704">
                  <c:v>-0.43234027000000003</c:v>
                </c:pt>
                <c:pt idx="7705">
                  <c:v>-0.43263269999999998</c:v>
                </c:pt>
                <c:pt idx="7706">
                  <c:v>-0.43292617999999999</c:v>
                </c:pt>
                <c:pt idx="7707">
                  <c:v>-0.43321920000000003</c:v>
                </c:pt>
                <c:pt idx="7708">
                  <c:v>-0.43351220000000001</c:v>
                </c:pt>
                <c:pt idx="7709">
                  <c:v>-0.43380626999999999</c:v>
                </c:pt>
                <c:pt idx="7710">
                  <c:v>-0.43409825000000002</c:v>
                </c:pt>
                <c:pt idx="7711">
                  <c:v>-0.43439129999999998</c:v>
                </c:pt>
                <c:pt idx="7712">
                  <c:v>-0.43468603</c:v>
                </c:pt>
                <c:pt idx="7713">
                  <c:v>-0.43498130000000002</c:v>
                </c:pt>
                <c:pt idx="7714">
                  <c:v>-0.43527443999999998</c:v>
                </c:pt>
                <c:pt idx="7715">
                  <c:v>-0.43556865</c:v>
                </c:pt>
                <c:pt idx="7716">
                  <c:v>-0.43586344999999999</c:v>
                </c:pt>
                <c:pt idx="7717">
                  <c:v>-0.43615661</c:v>
                </c:pt>
                <c:pt idx="7718">
                  <c:v>-0.43645148</c:v>
                </c:pt>
                <c:pt idx="7719">
                  <c:v>-0.43674740000000001</c:v>
                </c:pt>
                <c:pt idx="7720">
                  <c:v>-0.43704008999999999</c:v>
                </c:pt>
                <c:pt idx="7721">
                  <c:v>-0.43733662000000001</c:v>
                </c:pt>
                <c:pt idx="7722">
                  <c:v>-0.43763155999999998</c:v>
                </c:pt>
                <c:pt idx="7723">
                  <c:v>-0.43792594000000001</c:v>
                </c:pt>
                <c:pt idx="7724">
                  <c:v>-0.43822254999999999</c:v>
                </c:pt>
                <c:pt idx="7725">
                  <c:v>-0.43851753999999998</c:v>
                </c:pt>
                <c:pt idx="7726">
                  <c:v>-0.43881307000000003</c:v>
                </c:pt>
                <c:pt idx="7727">
                  <c:v>-0.43910862000000001</c:v>
                </c:pt>
                <c:pt idx="7728">
                  <c:v>-0.43940475000000001</c:v>
                </c:pt>
                <c:pt idx="7729">
                  <c:v>-0.43970092999999999</c:v>
                </c:pt>
                <c:pt idx="7730">
                  <c:v>-0.43999761999999998</c:v>
                </c:pt>
                <c:pt idx="7731">
                  <c:v>-0.44029272000000003</c:v>
                </c:pt>
                <c:pt idx="7732">
                  <c:v>-0.44058946999999998</c:v>
                </c:pt>
                <c:pt idx="7733">
                  <c:v>-0.44088572999999998</c:v>
                </c:pt>
                <c:pt idx="7734">
                  <c:v>-0.44118304000000003</c:v>
                </c:pt>
                <c:pt idx="7735">
                  <c:v>-0.44147988999999999</c:v>
                </c:pt>
                <c:pt idx="7736">
                  <c:v>-0.44177724000000002</c:v>
                </c:pt>
                <c:pt idx="7737">
                  <c:v>-0.44207303999999997</c:v>
                </c:pt>
                <c:pt idx="7738">
                  <c:v>-0.44237099000000002</c:v>
                </c:pt>
                <c:pt idx="7739">
                  <c:v>-0.44266846999999998</c:v>
                </c:pt>
                <c:pt idx="7740">
                  <c:v>-0.44296646000000001</c:v>
                </c:pt>
                <c:pt idx="7741">
                  <c:v>-0.44326449000000001</c:v>
                </c:pt>
                <c:pt idx="7742">
                  <c:v>-0.44356147000000001</c:v>
                </c:pt>
                <c:pt idx="7743">
                  <c:v>-0.44385952000000001</c:v>
                </c:pt>
                <c:pt idx="7744">
                  <c:v>-0.44415707999999998</c:v>
                </c:pt>
                <c:pt idx="7745">
                  <c:v>-0.44445679999999999</c:v>
                </c:pt>
                <c:pt idx="7746">
                  <c:v>-0.44475333</c:v>
                </c:pt>
                <c:pt idx="7747">
                  <c:v>-0.44505254999999999</c:v>
                </c:pt>
                <c:pt idx="7748">
                  <c:v>-0.44535130000000001</c:v>
                </c:pt>
                <c:pt idx="7749">
                  <c:v>-0.44565054999999998</c:v>
                </c:pt>
                <c:pt idx="7750">
                  <c:v>-0.44594824</c:v>
                </c:pt>
                <c:pt idx="7751">
                  <c:v>-0.44624701</c:v>
                </c:pt>
                <c:pt idx="7752">
                  <c:v>-0.44654747</c:v>
                </c:pt>
                <c:pt idx="7753">
                  <c:v>-0.44684681999999998</c:v>
                </c:pt>
                <c:pt idx="7754">
                  <c:v>-0.44714567999999999</c:v>
                </c:pt>
                <c:pt idx="7755">
                  <c:v>-0.44744507</c:v>
                </c:pt>
                <c:pt idx="7756">
                  <c:v>-0.44774450999999998</c:v>
                </c:pt>
                <c:pt idx="7757">
                  <c:v>-0.44804505999999999</c:v>
                </c:pt>
                <c:pt idx="7758">
                  <c:v>-0.44834343999999998</c:v>
                </c:pt>
                <c:pt idx="7759">
                  <c:v>-0.44864512000000001</c:v>
                </c:pt>
                <c:pt idx="7760">
                  <c:v>-0.44894518</c:v>
                </c:pt>
                <c:pt idx="7761">
                  <c:v>-0.44924579999999997</c:v>
                </c:pt>
                <c:pt idx="7762">
                  <c:v>-0.44954481000000002</c:v>
                </c:pt>
                <c:pt idx="7763">
                  <c:v>-0.44984657</c:v>
                </c:pt>
                <c:pt idx="7764">
                  <c:v>-0.45014670000000001</c:v>
                </c:pt>
                <c:pt idx="7765">
                  <c:v>-0.45044851000000002</c:v>
                </c:pt>
                <c:pt idx="7766">
                  <c:v>-0.45074813000000002</c:v>
                </c:pt>
                <c:pt idx="7767">
                  <c:v>-0.45105053000000001</c:v>
                </c:pt>
                <c:pt idx="7768">
                  <c:v>-0.45135131000000001</c:v>
                </c:pt>
                <c:pt idx="7769">
                  <c:v>-0.45165372999999998</c:v>
                </c:pt>
                <c:pt idx="7770">
                  <c:v>-0.45195399000000003</c:v>
                </c:pt>
                <c:pt idx="7771">
                  <c:v>-0.45225592999999997</c:v>
                </c:pt>
                <c:pt idx="7772">
                  <c:v>-0.45255786999999997</c:v>
                </c:pt>
                <c:pt idx="7773">
                  <c:v>-0.45286092999999999</c:v>
                </c:pt>
                <c:pt idx="7774">
                  <c:v>-0.45316182999999999</c:v>
                </c:pt>
                <c:pt idx="7775">
                  <c:v>-0.45346438999999999</c:v>
                </c:pt>
                <c:pt idx="7776">
                  <c:v>-0.45376588000000001</c:v>
                </c:pt>
                <c:pt idx="7777">
                  <c:v>-0.45406901</c:v>
                </c:pt>
                <c:pt idx="7778">
                  <c:v>-0.45437164000000002</c:v>
                </c:pt>
                <c:pt idx="7779">
                  <c:v>-0.45467373</c:v>
                </c:pt>
                <c:pt idx="7780">
                  <c:v>-0.45497802999999998</c:v>
                </c:pt>
                <c:pt idx="7781">
                  <c:v>-0.45528070999999998</c:v>
                </c:pt>
                <c:pt idx="7782">
                  <c:v>-0.45558396000000001</c:v>
                </c:pt>
                <c:pt idx="7783">
                  <c:v>-0.45588722999999998</c:v>
                </c:pt>
                <c:pt idx="7784">
                  <c:v>-0.45619106999999998</c:v>
                </c:pt>
                <c:pt idx="7785">
                  <c:v>-0.45649437999999998</c:v>
                </c:pt>
                <c:pt idx="7786">
                  <c:v>-0.45679826000000001</c:v>
                </c:pt>
                <c:pt idx="7787">
                  <c:v>-0.45710271000000002</c:v>
                </c:pt>
                <c:pt idx="7788">
                  <c:v>-0.45740608999999999</c:v>
                </c:pt>
                <c:pt idx="7789">
                  <c:v>-0.45771003999999998</c:v>
                </c:pt>
                <c:pt idx="7790">
                  <c:v>-0.45801454000000003</c:v>
                </c:pt>
                <c:pt idx="7791">
                  <c:v>-0.45831907999999999</c:v>
                </c:pt>
                <c:pt idx="7792">
                  <c:v>-0.45862363</c:v>
                </c:pt>
                <c:pt idx="7793">
                  <c:v>-0.45892875</c:v>
                </c:pt>
                <c:pt idx="7794">
                  <c:v>-0.45923334999999998</c:v>
                </c:pt>
                <c:pt idx="7795">
                  <c:v>-0.45953797000000002</c:v>
                </c:pt>
                <c:pt idx="7796">
                  <c:v>-0.45984314999999998</c:v>
                </c:pt>
                <c:pt idx="7797">
                  <c:v>-0.46014945000000002</c:v>
                </c:pt>
                <c:pt idx="7798">
                  <c:v>-0.46045468000000001</c:v>
                </c:pt>
                <c:pt idx="7799">
                  <c:v>-0.46075938999999999</c:v>
                </c:pt>
                <c:pt idx="7800">
                  <c:v>-0.46106521</c:v>
                </c:pt>
                <c:pt idx="7801">
                  <c:v>-0.46137159</c:v>
                </c:pt>
                <c:pt idx="7802">
                  <c:v>-0.46167691</c:v>
                </c:pt>
                <c:pt idx="7803">
                  <c:v>-0.46198278999999998</c:v>
                </c:pt>
                <c:pt idx="7804">
                  <c:v>-0.46228978999999998</c:v>
                </c:pt>
                <c:pt idx="7805">
                  <c:v>-0.46259517</c:v>
                </c:pt>
                <c:pt idx="7806">
                  <c:v>-0.46290276000000002</c:v>
                </c:pt>
                <c:pt idx="7807">
                  <c:v>-0.46320928</c:v>
                </c:pt>
                <c:pt idx="7808">
                  <c:v>-0.46351636000000002</c:v>
                </c:pt>
                <c:pt idx="7809">
                  <c:v>-0.46382292000000003</c:v>
                </c:pt>
                <c:pt idx="7810">
                  <c:v>-0.46412951000000002</c:v>
                </c:pt>
                <c:pt idx="7811">
                  <c:v>-0.46443774999999998</c:v>
                </c:pt>
                <c:pt idx="7812">
                  <c:v>-0.46474437000000002</c:v>
                </c:pt>
                <c:pt idx="7813">
                  <c:v>-0.46505157000000003</c:v>
                </c:pt>
                <c:pt idx="7814">
                  <c:v>-0.46536042999999999</c:v>
                </c:pt>
                <c:pt idx="7815">
                  <c:v>-0.46566711999999999</c:v>
                </c:pt>
                <c:pt idx="7816">
                  <c:v>-0.46597493000000001</c:v>
                </c:pt>
                <c:pt idx="7817">
                  <c:v>-0.46628330000000001</c:v>
                </c:pt>
                <c:pt idx="7818">
                  <c:v>-0.46659115000000001</c:v>
                </c:pt>
                <c:pt idx="7819">
                  <c:v>-0.46690010999999998</c:v>
                </c:pt>
                <c:pt idx="7820">
                  <c:v>-0.46720855999999999</c:v>
                </c:pt>
                <c:pt idx="7821">
                  <c:v>-0.46751756999999999</c:v>
                </c:pt>
                <c:pt idx="7822">
                  <c:v>-0.46782551999999999</c:v>
                </c:pt>
                <c:pt idx="7823">
                  <c:v>-0.46813457000000003</c:v>
                </c:pt>
                <c:pt idx="7824">
                  <c:v>-0.46844363999999999</c:v>
                </c:pt>
                <c:pt idx="7825">
                  <c:v>-0.46875274</c:v>
                </c:pt>
                <c:pt idx="7826">
                  <c:v>-0.46906241999999998</c:v>
                </c:pt>
                <c:pt idx="7827">
                  <c:v>-0.46937211000000001</c:v>
                </c:pt>
                <c:pt idx="7828">
                  <c:v>-0.46968126999999998</c:v>
                </c:pt>
                <c:pt idx="7829">
                  <c:v>-0.46999100999999999</c:v>
                </c:pt>
                <c:pt idx="7830">
                  <c:v>-0.47030021999999999</c:v>
                </c:pt>
                <c:pt idx="7831">
                  <c:v>-0.47060999999999997</c:v>
                </c:pt>
                <c:pt idx="7832">
                  <c:v>-0.47092035999999998</c:v>
                </c:pt>
                <c:pt idx="7833">
                  <c:v>-0.47123071999999999</c:v>
                </c:pt>
                <c:pt idx="7834">
                  <c:v>-0.47154167000000002</c:v>
                </c:pt>
                <c:pt idx="7835">
                  <c:v>-0.47185262</c:v>
                </c:pt>
                <c:pt idx="7836">
                  <c:v>-0.47216306000000002</c:v>
                </c:pt>
                <c:pt idx="7837">
                  <c:v>-0.47247299999999998</c:v>
                </c:pt>
                <c:pt idx="7838">
                  <c:v>-0.47278346999999998</c:v>
                </c:pt>
                <c:pt idx="7839">
                  <c:v>-0.47309562999999999</c:v>
                </c:pt>
                <c:pt idx="7840">
                  <c:v>-0.47340616000000002</c:v>
                </c:pt>
                <c:pt idx="7841">
                  <c:v>-0.47371725999999997</c:v>
                </c:pt>
                <c:pt idx="7842">
                  <c:v>-0.47402893000000001</c:v>
                </c:pt>
                <c:pt idx="7843">
                  <c:v>-0.47434061</c:v>
                </c:pt>
                <c:pt idx="7844">
                  <c:v>-0.47465233000000001</c:v>
                </c:pt>
                <c:pt idx="7845">
                  <c:v>-0.4749641</c:v>
                </c:pt>
                <c:pt idx="7846">
                  <c:v>-0.47527692999999999</c:v>
                </c:pt>
                <c:pt idx="7847">
                  <c:v>-0.47558927000000001</c:v>
                </c:pt>
                <c:pt idx="7848">
                  <c:v>-0.47590106999999998</c:v>
                </c:pt>
                <c:pt idx="7849">
                  <c:v>-0.47621401000000002</c:v>
                </c:pt>
                <c:pt idx="7850">
                  <c:v>-0.47652694000000001</c:v>
                </c:pt>
                <c:pt idx="7851">
                  <c:v>-0.47683882</c:v>
                </c:pt>
                <c:pt idx="7852">
                  <c:v>-0.47715181000000001</c:v>
                </c:pt>
                <c:pt idx="7853">
                  <c:v>-0.47746483000000001</c:v>
                </c:pt>
                <c:pt idx="7854">
                  <c:v>-0.47777842999999998</c:v>
                </c:pt>
                <c:pt idx="7855">
                  <c:v>-0.47809204999999999</c:v>
                </c:pt>
                <c:pt idx="7856">
                  <c:v>-0.47840512000000002</c:v>
                </c:pt>
                <c:pt idx="7857">
                  <c:v>-0.47871879000000001</c:v>
                </c:pt>
                <c:pt idx="7858">
                  <c:v>-0.47903300999999998</c:v>
                </c:pt>
                <c:pt idx="7859">
                  <c:v>-0.47934618000000001</c:v>
                </c:pt>
                <c:pt idx="7860">
                  <c:v>-0.47966046000000001</c:v>
                </c:pt>
                <c:pt idx="7861">
                  <c:v>-0.47997473000000002</c:v>
                </c:pt>
                <c:pt idx="7862">
                  <c:v>-0.48028854999999998</c:v>
                </c:pt>
                <c:pt idx="7863">
                  <c:v>-0.48060342</c:v>
                </c:pt>
                <c:pt idx="7864">
                  <c:v>-0.48091834999999999</c:v>
                </c:pt>
                <c:pt idx="7865">
                  <c:v>-0.48123274999999999</c:v>
                </c:pt>
                <c:pt idx="7866">
                  <c:v>-0.48154824000000002</c:v>
                </c:pt>
                <c:pt idx="7867">
                  <c:v>-0.48186379000000001</c:v>
                </c:pt>
                <c:pt idx="7868">
                  <c:v>-0.48217715</c:v>
                </c:pt>
                <c:pt idx="7869">
                  <c:v>-0.48249330000000001</c:v>
                </c:pt>
                <c:pt idx="7870">
                  <c:v>-0.48280889999999999</c:v>
                </c:pt>
                <c:pt idx="7871">
                  <c:v>-0.48312398000000001</c:v>
                </c:pt>
                <c:pt idx="7872">
                  <c:v>-0.48344018</c:v>
                </c:pt>
                <c:pt idx="7873">
                  <c:v>-0.48375698</c:v>
                </c:pt>
                <c:pt idx="7874">
                  <c:v>-0.48407156000000001</c:v>
                </c:pt>
                <c:pt idx="7875">
                  <c:v>-0.48438839</c:v>
                </c:pt>
                <c:pt idx="7876">
                  <c:v>-0.48470467</c:v>
                </c:pt>
                <c:pt idx="7877">
                  <c:v>-0.48502047999999998</c:v>
                </c:pt>
                <c:pt idx="7878">
                  <c:v>-0.48533736</c:v>
                </c:pt>
                <c:pt idx="7879">
                  <c:v>-0.48565372000000001</c:v>
                </c:pt>
                <c:pt idx="7880">
                  <c:v>-0.48597070999999997</c:v>
                </c:pt>
                <c:pt idx="7881">
                  <c:v>-0.48628764000000002</c:v>
                </c:pt>
                <c:pt idx="7882">
                  <c:v>-0.48660575</c:v>
                </c:pt>
                <c:pt idx="7883">
                  <c:v>-0.48692218999999998</c:v>
                </c:pt>
                <c:pt idx="7884">
                  <c:v>-0.48723978000000001</c:v>
                </c:pt>
                <c:pt idx="7885">
                  <c:v>-0.48755798</c:v>
                </c:pt>
                <c:pt idx="7886">
                  <c:v>-0.48787452999999997</c:v>
                </c:pt>
                <c:pt idx="7887">
                  <c:v>-0.48819381000000001</c:v>
                </c:pt>
                <c:pt idx="7888">
                  <c:v>-0.48851206000000003</c:v>
                </c:pt>
                <c:pt idx="7889">
                  <c:v>-0.48882866000000003</c:v>
                </c:pt>
                <c:pt idx="7890">
                  <c:v>-0.48914751000000001</c:v>
                </c:pt>
                <c:pt idx="7891">
                  <c:v>-0.48946638999999997</c:v>
                </c:pt>
                <c:pt idx="7892">
                  <c:v>-0.48978471000000001</c:v>
                </c:pt>
                <c:pt idx="7893">
                  <c:v>-0.49010416000000001</c:v>
                </c:pt>
                <c:pt idx="7894">
                  <c:v>-0.49042254000000002</c:v>
                </c:pt>
                <c:pt idx="7895">
                  <c:v>-0.4907415</c:v>
                </c:pt>
                <c:pt idx="7896">
                  <c:v>-0.49106104</c:v>
                </c:pt>
                <c:pt idx="7897">
                  <c:v>-0.49138056000000002</c:v>
                </c:pt>
                <c:pt idx="7898">
                  <c:v>-0.49169906000000002</c:v>
                </c:pt>
                <c:pt idx="7899">
                  <c:v>-0.49201867999999999</c:v>
                </c:pt>
                <c:pt idx="7900">
                  <c:v>-0.49233829000000001</c:v>
                </c:pt>
                <c:pt idx="7901">
                  <c:v>-0.49265797</c:v>
                </c:pt>
                <c:pt idx="7902">
                  <c:v>-0.49297872999999998</c:v>
                </c:pt>
                <c:pt idx="7903">
                  <c:v>-0.49329898</c:v>
                </c:pt>
                <c:pt idx="7904">
                  <c:v>-0.49361870000000002</c:v>
                </c:pt>
                <c:pt idx="7905">
                  <c:v>-0.49393958999999998</c:v>
                </c:pt>
                <c:pt idx="7906">
                  <c:v>-0.49425988999999998</c:v>
                </c:pt>
                <c:pt idx="7907">
                  <c:v>-0.49458028999999998</c:v>
                </c:pt>
                <c:pt idx="7908">
                  <c:v>-0.49490118999999999</c:v>
                </c:pt>
                <c:pt idx="7909">
                  <c:v>-0.49522265999999998</c:v>
                </c:pt>
                <c:pt idx="7910">
                  <c:v>-0.49554366</c:v>
                </c:pt>
                <c:pt idx="7911">
                  <c:v>-0.49586578999999997</c:v>
                </c:pt>
                <c:pt idx="7912">
                  <c:v>-0.49618625</c:v>
                </c:pt>
                <c:pt idx="7913">
                  <c:v>-0.49650729999999998</c:v>
                </c:pt>
                <c:pt idx="7914">
                  <c:v>-0.49682952000000002</c:v>
                </c:pt>
                <c:pt idx="7915">
                  <c:v>-0.49715172000000002</c:v>
                </c:pt>
                <c:pt idx="7916">
                  <c:v>-0.49747289</c:v>
                </c:pt>
                <c:pt idx="7917">
                  <c:v>-0.49779561999999999</c:v>
                </c:pt>
                <c:pt idx="7918">
                  <c:v>-0.49811740999999998</c:v>
                </c:pt>
                <c:pt idx="7919">
                  <c:v>-0.49844022999999998</c:v>
                </c:pt>
                <c:pt idx="7920">
                  <c:v>-0.49876262999999998</c:v>
                </c:pt>
                <c:pt idx="7921">
                  <c:v>-0.49908606999999999</c:v>
                </c:pt>
                <c:pt idx="7922">
                  <c:v>-0.49940847999999999</c:v>
                </c:pt>
                <c:pt idx="7923">
                  <c:v>-0.49973138</c:v>
                </c:pt>
                <c:pt idx="7924">
                  <c:v>-0.50005491000000002</c:v>
                </c:pt>
                <c:pt idx="7925">
                  <c:v>-0.50037796000000001</c:v>
                </c:pt>
                <c:pt idx="7926">
                  <c:v>-0.50070104999999998</c:v>
                </c:pt>
                <c:pt idx="7927">
                  <c:v>-0.50102466999999995</c:v>
                </c:pt>
                <c:pt idx="7928">
                  <c:v>-0.50134877</c:v>
                </c:pt>
                <c:pt idx="7929">
                  <c:v>-0.50167304999999995</c:v>
                </c:pt>
                <c:pt idx="7930">
                  <c:v>-0.50199671000000001</c:v>
                </c:pt>
                <c:pt idx="7931">
                  <c:v>-0.50232051</c:v>
                </c:pt>
                <c:pt idx="7932">
                  <c:v>-0.50264472999999998</c:v>
                </c:pt>
                <c:pt idx="7933">
                  <c:v>-0.50296909000000001</c:v>
                </c:pt>
                <c:pt idx="7934">
                  <c:v>-0.50329402000000001</c:v>
                </c:pt>
                <c:pt idx="7935">
                  <c:v>-0.50361953999999998</c:v>
                </c:pt>
                <c:pt idx="7936">
                  <c:v>-0.50394388999999995</c:v>
                </c:pt>
                <c:pt idx="7937">
                  <c:v>-0.50426888000000003</c:v>
                </c:pt>
                <c:pt idx="7938">
                  <c:v>-0.50459443999999998</c:v>
                </c:pt>
                <c:pt idx="7939">
                  <c:v>-0.50491947999999998</c:v>
                </c:pt>
                <c:pt idx="7940">
                  <c:v>-0.50524511000000005</c:v>
                </c:pt>
                <c:pt idx="7941">
                  <c:v>-0.50557076999999995</c:v>
                </c:pt>
                <c:pt idx="7942">
                  <c:v>-0.50589585999999998</c:v>
                </c:pt>
                <c:pt idx="7943">
                  <c:v>-0.50622157999999995</c:v>
                </c:pt>
                <c:pt idx="7944">
                  <c:v>-0.50654728999999998</c:v>
                </c:pt>
                <c:pt idx="7945">
                  <c:v>-0.50687411999999998</c:v>
                </c:pt>
                <c:pt idx="7946">
                  <c:v>-0.50719994000000002</c:v>
                </c:pt>
                <c:pt idx="7947">
                  <c:v>-0.50752677999999996</c:v>
                </c:pt>
                <c:pt idx="7948">
                  <c:v>-0.50785321999999999</c:v>
                </c:pt>
                <c:pt idx="7949">
                  <c:v>-0.50818012999999995</c:v>
                </c:pt>
                <c:pt idx="7950">
                  <c:v>-0.50850773000000005</c:v>
                </c:pt>
                <c:pt idx="7951">
                  <c:v>-0.50883409999999996</c:v>
                </c:pt>
                <c:pt idx="7952">
                  <c:v>-0.50916121999999997</c:v>
                </c:pt>
                <c:pt idx="7953">
                  <c:v>-0.50948936</c:v>
                </c:pt>
                <c:pt idx="7954">
                  <c:v>-0.50981648999999996</c:v>
                </c:pt>
                <c:pt idx="7955">
                  <c:v>-0.51014420999999999</c:v>
                </c:pt>
                <c:pt idx="7956">
                  <c:v>-0.51047244000000003</c:v>
                </c:pt>
                <c:pt idx="7957">
                  <c:v>-0.51080066000000002</c:v>
                </c:pt>
                <c:pt idx="7958">
                  <c:v>-0.51112787000000004</c:v>
                </c:pt>
                <c:pt idx="7959">
                  <c:v>-0.51145620999999997</c:v>
                </c:pt>
                <c:pt idx="7960">
                  <c:v>-0.51178464000000001</c:v>
                </c:pt>
                <c:pt idx="7961">
                  <c:v>-0.51211298999999999</c:v>
                </c:pt>
                <c:pt idx="7962">
                  <c:v>-0.51244142999999998</c:v>
                </c:pt>
                <c:pt idx="7963">
                  <c:v>-0.51277046000000004</c:v>
                </c:pt>
                <c:pt idx="7964">
                  <c:v>-0.51309939999999998</c:v>
                </c:pt>
                <c:pt idx="7965">
                  <c:v>-0.51342909999999997</c:v>
                </c:pt>
                <c:pt idx="7966">
                  <c:v>-0.51375755999999995</c:v>
                </c:pt>
                <c:pt idx="7967">
                  <c:v>-0.51408788999999999</c:v>
                </c:pt>
                <c:pt idx="7968">
                  <c:v>-0.51441696999999997</c:v>
                </c:pt>
                <c:pt idx="7969">
                  <c:v>-0.51474607999999999</c:v>
                </c:pt>
                <c:pt idx="7970">
                  <c:v>-0.51507645000000002</c:v>
                </c:pt>
                <c:pt idx="7971">
                  <c:v>-0.51540679</c:v>
                </c:pt>
                <c:pt idx="7972">
                  <c:v>-0.51573599999999997</c:v>
                </c:pt>
                <c:pt idx="7973">
                  <c:v>-0.51606695999999996</c:v>
                </c:pt>
                <c:pt idx="7974">
                  <c:v>-0.51639740999999995</c:v>
                </c:pt>
                <c:pt idx="7975">
                  <c:v>-0.51672741</c:v>
                </c:pt>
                <c:pt idx="7976">
                  <c:v>-0.51705889999999999</c:v>
                </c:pt>
                <c:pt idx="7977">
                  <c:v>-0.51738883999999996</c:v>
                </c:pt>
                <c:pt idx="7978">
                  <c:v>-0.51771990999999995</c:v>
                </c:pt>
                <c:pt idx="7979">
                  <c:v>-0.51805053999999995</c:v>
                </c:pt>
                <c:pt idx="7980">
                  <c:v>-0.51838278000000004</c:v>
                </c:pt>
                <c:pt idx="7981">
                  <c:v>-0.51871334999999996</c:v>
                </c:pt>
                <c:pt idx="7982">
                  <c:v>-0.51904567000000001</c:v>
                </c:pt>
                <c:pt idx="7983">
                  <c:v>-0.51937741000000004</c:v>
                </c:pt>
                <c:pt idx="7984">
                  <c:v>-0.51970925000000001</c:v>
                </c:pt>
                <c:pt idx="7985">
                  <c:v>-0.52004112999999996</c:v>
                </c:pt>
                <c:pt idx="7986">
                  <c:v>-0.52037414000000004</c:v>
                </c:pt>
                <c:pt idx="7987">
                  <c:v>-0.52070596000000002</c:v>
                </c:pt>
                <c:pt idx="7988">
                  <c:v>-0.52103794000000003</c:v>
                </c:pt>
                <c:pt idx="7989">
                  <c:v>-0.52137155000000002</c:v>
                </c:pt>
                <c:pt idx="7990">
                  <c:v>-0.52170472000000001</c:v>
                </c:pt>
                <c:pt idx="7991">
                  <c:v>-0.52203666999999998</c:v>
                </c:pt>
                <c:pt idx="7992">
                  <c:v>-0.52236983999999997</c:v>
                </c:pt>
                <c:pt idx="7993">
                  <c:v>-0.52270296999999999</c:v>
                </c:pt>
                <c:pt idx="7994">
                  <c:v>-0.52303622000000005</c:v>
                </c:pt>
                <c:pt idx="7995">
                  <c:v>-0.52337053</c:v>
                </c:pt>
                <c:pt idx="7996">
                  <c:v>-0.52370384000000003</c:v>
                </c:pt>
                <c:pt idx="7997">
                  <c:v>-0.52403774999999997</c:v>
                </c:pt>
                <c:pt idx="7998">
                  <c:v>-0.52437162000000004</c:v>
                </c:pt>
                <c:pt idx="7999">
                  <c:v>-0.52470497000000005</c:v>
                </c:pt>
                <c:pt idx="8000">
                  <c:v>-0.52503955000000002</c:v>
                </c:pt>
                <c:pt idx="8001">
                  <c:v>-0.52537456000000005</c:v>
                </c:pt>
                <c:pt idx="8002">
                  <c:v>-0.52570857999999998</c:v>
                </c:pt>
                <c:pt idx="8003">
                  <c:v>-0.52604318000000005</c:v>
                </c:pt>
                <c:pt idx="8004">
                  <c:v>-0.52637831000000002</c:v>
                </c:pt>
                <c:pt idx="8005">
                  <c:v>-0.52671354999999997</c:v>
                </c:pt>
                <c:pt idx="8006">
                  <c:v>-0.52704828000000004</c:v>
                </c:pt>
                <c:pt idx="8007">
                  <c:v>-0.52738297000000001</c:v>
                </c:pt>
                <c:pt idx="8008">
                  <c:v>-0.52771933999999998</c:v>
                </c:pt>
                <c:pt idx="8009">
                  <c:v>-0.52805418999999998</c:v>
                </c:pt>
                <c:pt idx="8010">
                  <c:v>-0.52838954000000005</c:v>
                </c:pt>
                <c:pt idx="8011">
                  <c:v>-0.52872659</c:v>
                </c:pt>
                <c:pt idx="8012">
                  <c:v>-0.52906202999999996</c:v>
                </c:pt>
                <c:pt idx="8013">
                  <c:v>-0.52939742000000001</c:v>
                </c:pt>
                <c:pt idx="8014">
                  <c:v>-0.52973506000000004</c:v>
                </c:pt>
                <c:pt idx="8015">
                  <c:v>-0.53007068999999996</c:v>
                </c:pt>
                <c:pt idx="8016">
                  <c:v>-0.53040785999999995</c:v>
                </c:pt>
                <c:pt idx="8017">
                  <c:v>-0.53074451</c:v>
                </c:pt>
                <c:pt idx="8018">
                  <c:v>-0.53108184000000003</c:v>
                </c:pt>
                <c:pt idx="8019">
                  <c:v>-0.53141864999999999</c:v>
                </c:pt>
                <c:pt idx="8020">
                  <c:v>-0.53175653000000001</c:v>
                </c:pt>
                <c:pt idx="8021">
                  <c:v>-0.53209326000000001</c:v>
                </c:pt>
                <c:pt idx="8022">
                  <c:v>-0.53243066999999999</c:v>
                </c:pt>
                <c:pt idx="8023">
                  <c:v>-0.53276811000000002</c:v>
                </c:pt>
                <c:pt idx="8024">
                  <c:v>-0.53310670000000004</c:v>
                </c:pt>
                <c:pt idx="8025">
                  <c:v>-0.53344367999999998</c:v>
                </c:pt>
                <c:pt idx="8026">
                  <c:v>-0.53378124000000005</c:v>
                </c:pt>
                <c:pt idx="8027">
                  <c:v>-0.53412097000000003</c:v>
                </c:pt>
                <c:pt idx="8028">
                  <c:v>-0.53445854000000004</c:v>
                </c:pt>
                <c:pt idx="8029">
                  <c:v>-0.53479670000000001</c:v>
                </c:pt>
                <c:pt idx="8030">
                  <c:v>-0.53513553000000003</c:v>
                </c:pt>
                <c:pt idx="8031">
                  <c:v>-0.53547487000000005</c:v>
                </c:pt>
                <c:pt idx="8032">
                  <c:v>-0.53581425999999999</c:v>
                </c:pt>
                <c:pt idx="8033">
                  <c:v>-0.53615314000000003</c:v>
                </c:pt>
                <c:pt idx="8034">
                  <c:v>-0.53649268000000006</c:v>
                </c:pt>
                <c:pt idx="8035">
                  <c:v>-0.53683148000000003</c:v>
                </c:pt>
                <c:pt idx="8036">
                  <c:v>-0.53717221000000004</c:v>
                </c:pt>
                <c:pt idx="8037">
                  <c:v>-0.53751117000000004</c:v>
                </c:pt>
                <c:pt idx="8038">
                  <c:v>-0.53785126999999999</c:v>
                </c:pt>
                <c:pt idx="8039">
                  <c:v>-0.53819086000000005</c:v>
                </c:pt>
                <c:pt idx="8040">
                  <c:v>-0.53853112999999997</c:v>
                </c:pt>
                <c:pt idx="8041">
                  <c:v>-0.53887191000000001</c:v>
                </c:pt>
                <c:pt idx="8042">
                  <c:v>-0.53921218000000004</c:v>
                </c:pt>
                <c:pt idx="8043">
                  <c:v>-0.53955350999999996</c:v>
                </c:pt>
                <c:pt idx="8044">
                  <c:v>-0.53989339999999997</c:v>
                </c:pt>
                <c:pt idx="8045">
                  <c:v>-0.54023489999999996</c:v>
                </c:pt>
                <c:pt idx="8046">
                  <c:v>-0.54057580999999999</c:v>
                </c:pt>
                <c:pt idx="8047">
                  <c:v>-0.54091739000000005</c:v>
                </c:pt>
                <c:pt idx="8048">
                  <c:v>-0.54125838000000004</c:v>
                </c:pt>
                <c:pt idx="8049">
                  <c:v>-0.54160005</c:v>
                </c:pt>
                <c:pt idx="8050">
                  <c:v>-0.54194112000000005</c:v>
                </c:pt>
                <c:pt idx="8051">
                  <c:v>-0.54228390000000004</c:v>
                </c:pt>
                <c:pt idx="8052">
                  <c:v>-0.54262451</c:v>
                </c:pt>
                <c:pt idx="8053">
                  <c:v>-0.54296792000000005</c:v>
                </c:pt>
                <c:pt idx="8054">
                  <c:v>-0.54331083000000002</c:v>
                </c:pt>
                <c:pt idx="8055">
                  <c:v>-0.54365313999999998</c:v>
                </c:pt>
                <c:pt idx="8056">
                  <c:v>-0.54399456000000002</c:v>
                </c:pt>
                <c:pt idx="8057">
                  <c:v>-0.54433805999999996</c:v>
                </c:pt>
                <c:pt idx="8058">
                  <c:v>-0.54468114000000001</c:v>
                </c:pt>
                <c:pt idx="8059">
                  <c:v>-0.54502353000000003</c:v>
                </c:pt>
                <c:pt idx="8060">
                  <c:v>-0.54536671000000003</c:v>
                </c:pt>
                <c:pt idx="8061">
                  <c:v>-0.54570982000000001</c:v>
                </c:pt>
                <c:pt idx="8062">
                  <c:v>-0.54605409000000005</c:v>
                </c:pt>
                <c:pt idx="8063">
                  <c:v>-0.54639795999999996</c:v>
                </c:pt>
                <c:pt idx="8064">
                  <c:v>-0.54674166999999996</c:v>
                </c:pt>
                <c:pt idx="8065">
                  <c:v>-0.54708652999999996</c:v>
                </c:pt>
                <c:pt idx="8066">
                  <c:v>-0.54743052000000003</c:v>
                </c:pt>
                <c:pt idx="8067">
                  <c:v>-0.54777438000000001</c:v>
                </c:pt>
                <c:pt idx="8068">
                  <c:v>-0.54811790999999999</c:v>
                </c:pt>
                <c:pt idx="8069">
                  <c:v>-0.54846349999999999</c:v>
                </c:pt>
                <c:pt idx="8070">
                  <c:v>-0.54880739000000001</c:v>
                </c:pt>
                <c:pt idx="8071">
                  <c:v>-0.54915318000000002</c:v>
                </c:pt>
                <c:pt idx="8072">
                  <c:v>-0.54949780000000004</c:v>
                </c:pt>
                <c:pt idx="8073">
                  <c:v>-0.54984237999999996</c:v>
                </c:pt>
                <c:pt idx="8074">
                  <c:v>-0.55018774999999998</c:v>
                </c:pt>
                <c:pt idx="8075">
                  <c:v>-0.55053308000000001</c:v>
                </c:pt>
                <c:pt idx="8076">
                  <c:v>-0.55087944</c:v>
                </c:pt>
                <c:pt idx="8077">
                  <c:v>-0.55122530999999997</c:v>
                </c:pt>
                <c:pt idx="8078">
                  <c:v>-0.55157087000000005</c:v>
                </c:pt>
                <c:pt idx="8079">
                  <c:v>-0.55191628000000004</c:v>
                </c:pt>
                <c:pt idx="8080">
                  <c:v>-0.55226394000000001</c:v>
                </c:pt>
                <c:pt idx="8081">
                  <c:v>-0.55261020000000005</c:v>
                </c:pt>
                <c:pt idx="8082">
                  <c:v>-0.55295618999999996</c:v>
                </c:pt>
                <c:pt idx="8083">
                  <c:v>-0.55330234</c:v>
                </c:pt>
                <c:pt idx="8084">
                  <c:v>-0.55365019999999998</c:v>
                </c:pt>
                <c:pt idx="8085">
                  <c:v>-0.55399799000000005</c:v>
                </c:pt>
                <c:pt idx="8086">
                  <c:v>-0.55434428000000002</c:v>
                </c:pt>
                <c:pt idx="8087">
                  <c:v>-0.55469071999999997</c:v>
                </c:pt>
                <c:pt idx="8088">
                  <c:v>-0.55503811000000003</c:v>
                </c:pt>
                <c:pt idx="8089">
                  <c:v>-0.55538664999999998</c:v>
                </c:pt>
                <c:pt idx="8090">
                  <c:v>-0.55573357999999995</c:v>
                </c:pt>
                <c:pt idx="8091">
                  <c:v>-0.55608221999999996</c:v>
                </c:pt>
                <c:pt idx="8092">
                  <c:v>-0.55642979999999997</c:v>
                </c:pt>
                <c:pt idx="8093">
                  <c:v>-0.55677798000000001</c:v>
                </c:pt>
                <c:pt idx="8094">
                  <c:v>-0.55712687999999999</c:v>
                </c:pt>
                <c:pt idx="8095">
                  <c:v>-0.55747515000000003</c:v>
                </c:pt>
                <c:pt idx="8096">
                  <c:v>-0.55782458000000001</c:v>
                </c:pt>
                <c:pt idx="8097">
                  <c:v>-0.55817296999999999</c:v>
                </c:pt>
                <c:pt idx="8098">
                  <c:v>-0.55852082999999997</c:v>
                </c:pt>
                <c:pt idx="8099">
                  <c:v>-0.55887142000000001</c:v>
                </c:pt>
                <c:pt idx="8100">
                  <c:v>-0.55922039000000001</c:v>
                </c:pt>
                <c:pt idx="8101">
                  <c:v>-0.55956996000000003</c:v>
                </c:pt>
                <c:pt idx="8102">
                  <c:v>-0.55991959000000002</c:v>
                </c:pt>
                <c:pt idx="8103">
                  <c:v>-0.56026936999999999</c:v>
                </c:pt>
                <c:pt idx="8104">
                  <c:v>-0.56061897999999999</c:v>
                </c:pt>
                <c:pt idx="8105">
                  <c:v>-0.56096886999999995</c:v>
                </c:pt>
                <c:pt idx="8106">
                  <c:v>-0.56131856999999996</c:v>
                </c:pt>
                <c:pt idx="8107">
                  <c:v>-0.56166901000000002</c:v>
                </c:pt>
                <c:pt idx="8108">
                  <c:v>-0.56202004000000005</c:v>
                </c:pt>
                <c:pt idx="8109">
                  <c:v>-0.56237157000000004</c:v>
                </c:pt>
                <c:pt idx="8110">
                  <c:v>-0.56272149000000005</c:v>
                </c:pt>
                <c:pt idx="8111">
                  <c:v>-0.56307267000000005</c:v>
                </c:pt>
                <c:pt idx="8112">
                  <c:v>-0.56342391000000003</c:v>
                </c:pt>
                <c:pt idx="8113">
                  <c:v>-0.56377564000000002</c:v>
                </c:pt>
                <c:pt idx="8114">
                  <c:v>-0.56412675000000001</c:v>
                </c:pt>
                <c:pt idx="8115">
                  <c:v>-0.56447802999999996</c:v>
                </c:pt>
                <c:pt idx="8116">
                  <c:v>-0.56482991000000005</c:v>
                </c:pt>
                <c:pt idx="8117">
                  <c:v>-0.56518241000000002</c:v>
                </c:pt>
                <c:pt idx="8118">
                  <c:v>-0.56553427999999994</c:v>
                </c:pt>
                <c:pt idx="8119">
                  <c:v>-0.56588687000000004</c:v>
                </c:pt>
                <c:pt idx="8120">
                  <c:v>-0.56623871999999997</c:v>
                </c:pt>
                <c:pt idx="8121">
                  <c:v>-0.56659086999999997</c:v>
                </c:pt>
                <c:pt idx="8122">
                  <c:v>-0.56694418000000002</c:v>
                </c:pt>
                <c:pt idx="8123">
                  <c:v>-0.56729631999999997</c:v>
                </c:pt>
                <c:pt idx="8124">
                  <c:v>-0.56764904999999999</c:v>
                </c:pt>
                <c:pt idx="8125">
                  <c:v>-0.56800240000000002</c:v>
                </c:pt>
                <c:pt idx="8126">
                  <c:v>-0.56835623999999996</c:v>
                </c:pt>
                <c:pt idx="8127">
                  <c:v>-0.56871037000000002</c:v>
                </c:pt>
                <c:pt idx="8128">
                  <c:v>-0.56906374999999998</c:v>
                </c:pt>
                <c:pt idx="8129">
                  <c:v>-0.56941675999999997</c:v>
                </c:pt>
                <c:pt idx="8130">
                  <c:v>-0.56977025999999997</c:v>
                </c:pt>
                <c:pt idx="8131">
                  <c:v>-0.57012602000000001</c:v>
                </c:pt>
                <c:pt idx="8132">
                  <c:v>-0.57047906999999998</c:v>
                </c:pt>
                <c:pt idx="8133">
                  <c:v>-0.57083326999999995</c:v>
                </c:pt>
                <c:pt idx="8134">
                  <c:v>-0.57118820999999997</c:v>
                </c:pt>
                <c:pt idx="8135">
                  <c:v>-0.57154309000000003</c:v>
                </c:pt>
                <c:pt idx="8136">
                  <c:v>-0.57189789999999996</c:v>
                </c:pt>
                <c:pt idx="8137">
                  <c:v>-0.57225287999999996</c:v>
                </c:pt>
                <c:pt idx="8138">
                  <c:v>-0.57260847000000004</c:v>
                </c:pt>
                <c:pt idx="8139">
                  <c:v>-0.57296398999999998</c:v>
                </c:pt>
                <c:pt idx="8140">
                  <c:v>-0.57331913999999995</c:v>
                </c:pt>
                <c:pt idx="8141">
                  <c:v>-0.57367489999999999</c:v>
                </c:pt>
                <c:pt idx="8142">
                  <c:v>-0.57403059000000001</c:v>
                </c:pt>
                <c:pt idx="8143">
                  <c:v>-0.57438688999999998</c:v>
                </c:pt>
                <c:pt idx="8144">
                  <c:v>-0.57474199000000004</c:v>
                </c:pt>
                <c:pt idx="8145">
                  <c:v>-0.57509798000000001</c:v>
                </c:pt>
                <c:pt idx="8146">
                  <c:v>-0.57545475000000001</c:v>
                </c:pt>
                <c:pt idx="8147">
                  <c:v>-0.57581194999999996</c:v>
                </c:pt>
                <c:pt idx="8148">
                  <c:v>-0.57616853999999995</c:v>
                </c:pt>
                <c:pt idx="8149">
                  <c:v>-0.57652559000000003</c:v>
                </c:pt>
                <c:pt idx="8150">
                  <c:v>-0.57688172999999998</c:v>
                </c:pt>
                <c:pt idx="8151">
                  <c:v>-0.57723946000000004</c:v>
                </c:pt>
                <c:pt idx="8152">
                  <c:v>-0.57759724999999995</c:v>
                </c:pt>
                <c:pt idx="8153">
                  <c:v>-0.57795465999999995</c:v>
                </c:pt>
                <c:pt idx="8154">
                  <c:v>-0.57831146</c:v>
                </c:pt>
                <c:pt idx="8155">
                  <c:v>-0.57866872000000003</c:v>
                </c:pt>
                <c:pt idx="8156">
                  <c:v>-0.57902798</c:v>
                </c:pt>
                <c:pt idx="8157">
                  <c:v>-0.57938593000000005</c:v>
                </c:pt>
                <c:pt idx="8158">
                  <c:v>-0.57974418000000005</c:v>
                </c:pt>
                <c:pt idx="8159">
                  <c:v>-0.58010280000000003</c:v>
                </c:pt>
                <c:pt idx="8160">
                  <c:v>-0.58046076999999996</c:v>
                </c:pt>
                <c:pt idx="8161">
                  <c:v>-0.58081963999999997</c:v>
                </c:pt>
                <c:pt idx="8162">
                  <c:v>-0.58117898999999995</c:v>
                </c:pt>
                <c:pt idx="8163">
                  <c:v>-0.58153783000000003</c:v>
                </c:pt>
                <c:pt idx="8164">
                  <c:v>-0.58189729000000001</c:v>
                </c:pt>
                <c:pt idx="8165">
                  <c:v>-0.58225625000000003</c:v>
                </c:pt>
                <c:pt idx="8166">
                  <c:v>-0.58261540000000001</c:v>
                </c:pt>
                <c:pt idx="8167">
                  <c:v>-0.58297546</c:v>
                </c:pt>
                <c:pt idx="8168">
                  <c:v>-0.58333557000000003</c:v>
                </c:pt>
                <c:pt idx="8169">
                  <c:v>-0.58369601999999998</c:v>
                </c:pt>
                <c:pt idx="8170">
                  <c:v>-0.58405569000000002</c:v>
                </c:pt>
                <c:pt idx="8171">
                  <c:v>-0.58441655000000003</c:v>
                </c:pt>
                <c:pt idx="8172">
                  <c:v>-0.58477690000000004</c:v>
                </c:pt>
                <c:pt idx="8173">
                  <c:v>-0.58513857000000002</c:v>
                </c:pt>
                <c:pt idx="8174">
                  <c:v>-0.58549790999999995</c:v>
                </c:pt>
                <c:pt idx="8175">
                  <c:v>-0.58585830999999999</c:v>
                </c:pt>
                <c:pt idx="8176">
                  <c:v>-0.58622015000000005</c:v>
                </c:pt>
                <c:pt idx="8177">
                  <c:v>-0.58658178000000005</c:v>
                </c:pt>
                <c:pt idx="8178">
                  <c:v>-0.58694305000000002</c:v>
                </c:pt>
                <c:pt idx="8179">
                  <c:v>-0.58730481999999995</c:v>
                </c:pt>
                <c:pt idx="8180">
                  <c:v>-0.58766673999999997</c:v>
                </c:pt>
                <c:pt idx="8181">
                  <c:v>-0.58802876000000004</c:v>
                </c:pt>
                <c:pt idx="8182">
                  <c:v>-0.58839068999999999</c:v>
                </c:pt>
                <c:pt idx="8183">
                  <c:v>-0.58875270000000002</c:v>
                </c:pt>
                <c:pt idx="8184">
                  <c:v>-0.58911473999999997</c:v>
                </c:pt>
                <c:pt idx="8185">
                  <c:v>-0.58947742000000003</c:v>
                </c:pt>
                <c:pt idx="8186">
                  <c:v>-0.58984055999999996</c:v>
                </c:pt>
                <c:pt idx="8187">
                  <c:v>-0.59020238000000003</c:v>
                </c:pt>
                <c:pt idx="8188">
                  <c:v>-0.59056620000000004</c:v>
                </c:pt>
                <c:pt idx="8189">
                  <c:v>-0.59092913000000002</c:v>
                </c:pt>
                <c:pt idx="8190">
                  <c:v>-0.59129308000000003</c:v>
                </c:pt>
                <c:pt idx="8191">
                  <c:v>-0.59165544000000003</c:v>
                </c:pt>
                <c:pt idx="8192">
                  <c:v>-0.59201965000000001</c:v>
                </c:pt>
                <c:pt idx="8193">
                  <c:v>-0.59238418999999998</c:v>
                </c:pt>
                <c:pt idx="8194">
                  <c:v>-0.59274742999999996</c:v>
                </c:pt>
                <c:pt idx="8195">
                  <c:v>-0.59311267999999995</c:v>
                </c:pt>
                <c:pt idx="8196">
                  <c:v>-0.59347603000000004</c:v>
                </c:pt>
                <c:pt idx="8197">
                  <c:v>-0.59384028</c:v>
                </c:pt>
                <c:pt idx="8198">
                  <c:v>-0.59420404999999998</c:v>
                </c:pt>
                <c:pt idx="8199">
                  <c:v>-0.59456967999999999</c:v>
                </c:pt>
                <c:pt idx="8200">
                  <c:v>-0.59493483000000003</c:v>
                </c:pt>
                <c:pt idx="8201">
                  <c:v>-0.59529986999999995</c:v>
                </c:pt>
                <c:pt idx="8202">
                  <c:v>-0.59566611999999997</c:v>
                </c:pt>
                <c:pt idx="8203">
                  <c:v>-0.59602979</c:v>
                </c:pt>
                <c:pt idx="8204">
                  <c:v>-0.59639598999999999</c:v>
                </c:pt>
                <c:pt idx="8205">
                  <c:v>-0.59676189000000002</c:v>
                </c:pt>
                <c:pt idx="8206">
                  <c:v>-0.59712726000000005</c:v>
                </c:pt>
                <c:pt idx="8207">
                  <c:v>-0.59749437000000005</c:v>
                </c:pt>
                <c:pt idx="8208">
                  <c:v>-0.59785933999999996</c:v>
                </c:pt>
                <c:pt idx="8209">
                  <c:v>-0.59822604000000001</c:v>
                </c:pt>
                <c:pt idx="8210">
                  <c:v>-0.59859319</c:v>
                </c:pt>
                <c:pt idx="8211">
                  <c:v>-0.59895931999999996</c:v>
                </c:pt>
                <c:pt idx="8212">
                  <c:v>-0.59932662000000003</c:v>
                </c:pt>
                <c:pt idx="8213">
                  <c:v>-0.59969285999999999</c:v>
                </c:pt>
                <c:pt idx="8214">
                  <c:v>-0.60006084999999998</c:v>
                </c:pt>
                <c:pt idx="8215">
                  <c:v>-0.60042793000000005</c:v>
                </c:pt>
                <c:pt idx="8216">
                  <c:v>-0.60079552000000003</c:v>
                </c:pt>
                <c:pt idx="8217">
                  <c:v>-0.60116316000000003</c:v>
                </c:pt>
                <c:pt idx="8218">
                  <c:v>-0.60153108</c:v>
                </c:pt>
                <c:pt idx="8219">
                  <c:v>-0.60189886000000004</c:v>
                </c:pt>
                <c:pt idx="8220">
                  <c:v>-0.60226667</c:v>
                </c:pt>
                <c:pt idx="8221">
                  <c:v>-0.60263443999999999</c:v>
                </c:pt>
                <c:pt idx="8222">
                  <c:v>-0.60300264999999997</c:v>
                </c:pt>
                <c:pt idx="8223">
                  <c:v>-0.60337236000000005</c:v>
                </c:pt>
                <c:pt idx="8224">
                  <c:v>-0.60374085</c:v>
                </c:pt>
                <c:pt idx="8225">
                  <c:v>-0.60411015999999995</c:v>
                </c:pt>
                <c:pt idx="8226">
                  <c:v>-0.60447877999999999</c:v>
                </c:pt>
                <c:pt idx="8227">
                  <c:v>-0.60484791000000004</c:v>
                </c:pt>
                <c:pt idx="8228">
                  <c:v>-0.60521723000000005</c:v>
                </c:pt>
                <c:pt idx="8229">
                  <c:v>-0.60558719999999999</c:v>
                </c:pt>
                <c:pt idx="8230">
                  <c:v>-0.60595692999999995</c:v>
                </c:pt>
                <c:pt idx="8231">
                  <c:v>-0.60632702999999999</c:v>
                </c:pt>
                <c:pt idx="8232">
                  <c:v>-0.60669647999999998</c:v>
                </c:pt>
                <c:pt idx="8233">
                  <c:v>-0.60706656999999997</c:v>
                </c:pt>
                <c:pt idx="8234">
                  <c:v>-0.60743670000000005</c:v>
                </c:pt>
                <c:pt idx="8235">
                  <c:v>-0.60780789000000002</c:v>
                </c:pt>
                <c:pt idx="8236">
                  <c:v>-0.60817776999999995</c:v>
                </c:pt>
                <c:pt idx="8237">
                  <c:v>-0.60854927999999997</c:v>
                </c:pt>
                <c:pt idx="8238">
                  <c:v>-0.60891954000000004</c:v>
                </c:pt>
                <c:pt idx="8239">
                  <c:v>-0.60929096999999999</c:v>
                </c:pt>
                <c:pt idx="8240">
                  <c:v>-0.60966339999999997</c:v>
                </c:pt>
                <c:pt idx="8241">
                  <c:v>-0.61003428000000004</c:v>
                </c:pt>
                <c:pt idx="8242">
                  <c:v>-0.61040612000000005</c:v>
                </c:pt>
                <c:pt idx="8243">
                  <c:v>-0.61077784999999996</c:v>
                </c:pt>
                <c:pt idx="8244">
                  <c:v>-0.6111491</c:v>
                </c:pt>
                <c:pt idx="8245">
                  <c:v>-0.61152138</c:v>
                </c:pt>
                <c:pt idx="8246">
                  <c:v>-0.61189351000000003</c:v>
                </c:pt>
                <c:pt idx="8247">
                  <c:v>-0.61226758999999997</c:v>
                </c:pt>
                <c:pt idx="8248">
                  <c:v>-0.61263898000000006</c:v>
                </c:pt>
                <c:pt idx="8249">
                  <c:v>-0.61301172000000004</c:v>
                </c:pt>
                <c:pt idx="8250">
                  <c:v>-0.61338490000000001</c:v>
                </c:pt>
                <c:pt idx="8251">
                  <c:v>-0.61375760000000001</c:v>
                </c:pt>
                <c:pt idx="8252">
                  <c:v>-0.61413041999999995</c:v>
                </c:pt>
                <c:pt idx="8253">
                  <c:v>-0.61450455000000004</c:v>
                </c:pt>
                <c:pt idx="8254">
                  <c:v>-0.61487747000000004</c:v>
                </c:pt>
                <c:pt idx="8255">
                  <c:v>-0.61525156000000003</c:v>
                </c:pt>
                <c:pt idx="8256">
                  <c:v>-0.6156256</c:v>
                </c:pt>
                <c:pt idx="8257">
                  <c:v>-0.61599946999999999</c:v>
                </c:pt>
                <c:pt idx="8258">
                  <c:v>-0.61637361999999996</c:v>
                </c:pt>
                <c:pt idx="8259">
                  <c:v>-0.61674788999999997</c:v>
                </c:pt>
                <c:pt idx="8260">
                  <c:v>-0.61712292999999996</c:v>
                </c:pt>
                <c:pt idx="8261">
                  <c:v>-0.61749790000000004</c:v>
                </c:pt>
                <c:pt idx="8262">
                  <c:v>-0.61787274999999997</c:v>
                </c:pt>
                <c:pt idx="8263">
                  <c:v>-0.61824745000000003</c:v>
                </c:pt>
                <c:pt idx="8264">
                  <c:v>-0.61862318999999999</c:v>
                </c:pt>
                <c:pt idx="8265">
                  <c:v>-0.61899769999999998</c:v>
                </c:pt>
                <c:pt idx="8266">
                  <c:v>-0.61937376</c:v>
                </c:pt>
                <c:pt idx="8267">
                  <c:v>-0.61974954000000004</c:v>
                </c:pt>
                <c:pt idx="8268">
                  <c:v>-0.62012502999999997</c:v>
                </c:pt>
                <c:pt idx="8269">
                  <c:v>-0.62050095000000005</c:v>
                </c:pt>
                <c:pt idx="8270">
                  <c:v>-0.62087658000000001</c:v>
                </c:pt>
                <c:pt idx="8271">
                  <c:v>-0.62125379999999997</c:v>
                </c:pt>
                <c:pt idx="8272">
                  <c:v>-0.62163051999999996</c:v>
                </c:pt>
                <c:pt idx="8273">
                  <c:v>-0.62200619000000001</c:v>
                </c:pt>
                <c:pt idx="8274">
                  <c:v>-0.62238437000000002</c:v>
                </c:pt>
                <c:pt idx="8275">
                  <c:v>-0.62276114999999999</c:v>
                </c:pt>
                <c:pt idx="8276">
                  <c:v>-0.62313819000000004</c:v>
                </c:pt>
                <c:pt idx="8277">
                  <c:v>-0.62351566000000003</c:v>
                </c:pt>
                <c:pt idx="8278">
                  <c:v>-0.62389214999999998</c:v>
                </c:pt>
                <c:pt idx="8279">
                  <c:v>-0.62427089000000002</c:v>
                </c:pt>
                <c:pt idx="8280">
                  <c:v>-0.62464841999999998</c:v>
                </c:pt>
                <c:pt idx="8281">
                  <c:v>-0.62502566000000004</c:v>
                </c:pt>
                <c:pt idx="8282">
                  <c:v>-0.62540353999999998</c:v>
                </c:pt>
                <c:pt idx="8283">
                  <c:v>-0.62578244000000005</c:v>
                </c:pt>
                <c:pt idx="8284">
                  <c:v>-0.62616064999999999</c:v>
                </c:pt>
                <c:pt idx="8285">
                  <c:v>-0.62653917000000003</c:v>
                </c:pt>
                <c:pt idx="8286">
                  <c:v>-0.62691903999999998</c:v>
                </c:pt>
                <c:pt idx="8287">
                  <c:v>-0.62729880999999998</c:v>
                </c:pt>
                <c:pt idx="8288">
                  <c:v>-0.62767717999999995</c:v>
                </c:pt>
                <c:pt idx="8289">
                  <c:v>-0.62805652000000001</c:v>
                </c:pt>
                <c:pt idx="8290">
                  <c:v>-0.62843596999999995</c:v>
                </c:pt>
                <c:pt idx="8291">
                  <c:v>-0.62881551999999996</c:v>
                </c:pt>
                <c:pt idx="8292">
                  <c:v>-0.62919566000000005</c:v>
                </c:pt>
                <c:pt idx="8293">
                  <c:v>-0.62957538000000002</c:v>
                </c:pt>
                <c:pt idx="8294">
                  <c:v>-0.62995458999999998</c:v>
                </c:pt>
                <c:pt idx="8295">
                  <c:v>-0.63033552999999998</c:v>
                </c:pt>
                <c:pt idx="8296">
                  <c:v>-0.63071602999999998</c:v>
                </c:pt>
                <c:pt idx="8297">
                  <c:v>-0.63109698999999997</c:v>
                </c:pt>
                <c:pt idx="8298">
                  <c:v>-0.63147819999999999</c:v>
                </c:pt>
                <c:pt idx="8299">
                  <c:v>-0.63185818999999999</c:v>
                </c:pt>
                <c:pt idx="8300">
                  <c:v>-0.63224013000000001</c:v>
                </c:pt>
                <c:pt idx="8301">
                  <c:v>-0.6326214</c:v>
                </c:pt>
                <c:pt idx="8302">
                  <c:v>-0.63300221000000001</c:v>
                </c:pt>
                <c:pt idx="8303">
                  <c:v>-0.63338364999999996</c:v>
                </c:pt>
                <c:pt idx="8304">
                  <c:v>-0.63376573000000003</c:v>
                </c:pt>
                <c:pt idx="8305">
                  <c:v>-0.63414733000000001</c:v>
                </c:pt>
                <c:pt idx="8306">
                  <c:v>-0.63452956999999999</c:v>
                </c:pt>
                <c:pt idx="8307">
                  <c:v>-0.63491207999999999</c:v>
                </c:pt>
                <c:pt idx="8308">
                  <c:v>-0.63529504000000003</c:v>
                </c:pt>
                <c:pt idx="8309">
                  <c:v>-0.63567733999999998</c:v>
                </c:pt>
                <c:pt idx="8310">
                  <c:v>-0.63606050999999997</c:v>
                </c:pt>
                <c:pt idx="8311">
                  <c:v>-0.63644296</c:v>
                </c:pt>
                <c:pt idx="8312">
                  <c:v>-0.63682645000000004</c:v>
                </c:pt>
                <c:pt idx="8313">
                  <c:v>-0.63720853</c:v>
                </c:pt>
                <c:pt idx="8314">
                  <c:v>-0.63759295999999999</c:v>
                </c:pt>
                <c:pt idx="8315">
                  <c:v>-0.63797630999999999</c:v>
                </c:pt>
                <c:pt idx="8316">
                  <c:v>-0.63835976000000005</c:v>
                </c:pt>
                <c:pt idx="8317">
                  <c:v>-0.63874421999999997</c:v>
                </c:pt>
                <c:pt idx="8318">
                  <c:v>-0.63912935999999998</c:v>
                </c:pt>
                <c:pt idx="8319">
                  <c:v>-0.63951195000000005</c:v>
                </c:pt>
                <c:pt idx="8320">
                  <c:v>-0.63989759000000002</c:v>
                </c:pt>
                <c:pt idx="8321">
                  <c:v>-0.64028147000000002</c:v>
                </c:pt>
                <c:pt idx="8322">
                  <c:v>-0.64066694000000002</c:v>
                </c:pt>
                <c:pt idx="8323">
                  <c:v>-0.64105097</c:v>
                </c:pt>
                <c:pt idx="8324">
                  <c:v>-0.64143640000000002</c:v>
                </c:pt>
                <c:pt idx="8325">
                  <c:v>-0.64182216000000003</c:v>
                </c:pt>
                <c:pt idx="8326">
                  <c:v>-0.64220739000000004</c:v>
                </c:pt>
                <c:pt idx="8327">
                  <c:v>-0.64259284999999999</c:v>
                </c:pt>
                <c:pt idx="8328">
                  <c:v>-0.64297937999999999</c:v>
                </c:pt>
                <c:pt idx="8329">
                  <c:v>-0.64336508999999997</c:v>
                </c:pt>
                <c:pt idx="8330">
                  <c:v>-0.64375009000000005</c:v>
                </c:pt>
                <c:pt idx="8331">
                  <c:v>-0.64413670000000001</c:v>
                </c:pt>
                <c:pt idx="8332">
                  <c:v>-0.64452282999999999</c:v>
                </c:pt>
                <c:pt idx="8333">
                  <c:v>-0.64490961000000002</c:v>
                </c:pt>
                <c:pt idx="8334">
                  <c:v>-0.64529645999999996</c:v>
                </c:pt>
                <c:pt idx="8335">
                  <c:v>-0.64568323000000005</c:v>
                </c:pt>
                <c:pt idx="8336">
                  <c:v>-0.64607028</c:v>
                </c:pt>
                <c:pt idx="8337">
                  <c:v>-0.64645719000000001</c:v>
                </c:pt>
                <c:pt idx="8338">
                  <c:v>-0.64684516999999997</c:v>
                </c:pt>
                <c:pt idx="8339">
                  <c:v>-0.64723321</c:v>
                </c:pt>
                <c:pt idx="8340">
                  <c:v>-0.64762096999999996</c:v>
                </c:pt>
                <c:pt idx="8341">
                  <c:v>-0.64800824000000001</c:v>
                </c:pt>
                <c:pt idx="8342">
                  <c:v>-0.64839656000000001</c:v>
                </c:pt>
                <c:pt idx="8343">
                  <c:v>-0.64878533999999999</c:v>
                </c:pt>
                <c:pt idx="8344">
                  <c:v>-0.64917380000000002</c:v>
                </c:pt>
                <c:pt idx="8345">
                  <c:v>-0.64956203000000001</c:v>
                </c:pt>
                <c:pt idx="8346">
                  <c:v>-0.64995126000000003</c:v>
                </c:pt>
                <c:pt idx="8347">
                  <c:v>-0.65034020000000003</c:v>
                </c:pt>
                <c:pt idx="8348">
                  <c:v>-0.65072848000000005</c:v>
                </c:pt>
                <c:pt idx="8349">
                  <c:v>-0.65111796</c:v>
                </c:pt>
                <c:pt idx="8350">
                  <c:v>-0.65150755999999999</c:v>
                </c:pt>
                <c:pt idx="8351">
                  <c:v>-0.65189724000000004</c:v>
                </c:pt>
                <c:pt idx="8352">
                  <c:v>-0.65228735000000004</c:v>
                </c:pt>
                <c:pt idx="8353">
                  <c:v>-0.65267796</c:v>
                </c:pt>
                <c:pt idx="8354">
                  <c:v>-0.65306602999999996</c:v>
                </c:pt>
                <c:pt idx="8355">
                  <c:v>-0.65345799999999998</c:v>
                </c:pt>
                <c:pt idx="8356">
                  <c:v>-0.65384847999999995</c:v>
                </c:pt>
                <c:pt idx="8357">
                  <c:v>-0.65423883999999999</c:v>
                </c:pt>
                <c:pt idx="8358">
                  <c:v>-0.65462914000000005</c:v>
                </c:pt>
                <c:pt idx="8359">
                  <c:v>-0.65502050000000001</c:v>
                </c:pt>
                <c:pt idx="8360">
                  <c:v>-0.65541190000000005</c:v>
                </c:pt>
                <c:pt idx="8361">
                  <c:v>-0.65580322000000002</c:v>
                </c:pt>
                <c:pt idx="8362">
                  <c:v>-0.65619369999999999</c:v>
                </c:pt>
                <c:pt idx="8363">
                  <c:v>-0.65658596000000002</c:v>
                </c:pt>
                <c:pt idx="8364">
                  <c:v>-0.65697833999999999</c:v>
                </c:pt>
                <c:pt idx="8365">
                  <c:v>-0.65736945999999996</c:v>
                </c:pt>
                <c:pt idx="8366">
                  <c:v>-0.65776144999999997</c:v>
                </c:pt>
                <c:pt idx="8367">
                  <c:v>-0.65815330999999999</c:v>
                </c:pt>
                <c:pt idx="8368">
                  <c:v>-0.65854663000000002</c:v>
                </c:pt>
                <c:pt idx="8369">
                  <c:v>-0.65893904999999997</c:v>
                </c:pt>
                <c:pt idx="8370">
                  <c:v>-0.65933118999999996</c:v>
                </c:pt>
                <c:pt idx="8371">
                  <c:v>-0.65972571000000002</c:v>
                </c:pt>
                <c:pt idx="8372">
                  <c:v>-0.66011898000000002</c:v>
                </c:pt>
                <c:pt idx="8373">
                  <c:v>-0.66051163000000002</c:v>
                </c:pt>
                <c:pt idx="8374">
                  <c:v>-0.66090623999999998</c:v>
                </c:pt>
                <c:pt idx="8375">
                  <c:v>-0.66129941000000003</c:v>
                </c:pt>
                <c:pt idx="8376">
                  <c:v>-0.66169248999999997</c:v>
                </c:pt>
                <c:pt idx="8377">
                  <c:v>-0.66208738</c:v>
                </c:pt>
                <c:pt idx="8378">
                  <c:v>-0.66248121000000004</c:v>
                </c:pt>
                <c:pt idx="8379">
                  <c:v>-0.66287457000000005</c:v>
                </c:pt>
                <c:pt idx="8380">
                  <c:v>-0.66326976000000004</c:v>
                </c:pt>
                <c:pt idx="8381">
                  <c:v>-0.66366387999999998</c:v>
                </c:pt>
                <c:pt idx="8382">
                  <c:v>-0.66406014000000002</c:v>
                </c:pt>
                <c:pt idx="8383">
                  <c:v>-0.66445504</c:v>
                </c:pt>
                <c:pt idx="8384">
                  <c:v>-0.66484980999999999</c:v>
                </c:pt>
                <c:pt idx="8385">
                  <c:v>-0.66524523000000002</c:v>
                </c:pt>
                <c:pt idx="8386">
                  <c:v>-0.66564098999999999</c:v>
                </c:pt>
                <c:pt idx="8387">
                  <c:v>-0.66603604999999999</c:v>
                </c:pt>
                <c:pt idx="8388">
                  <c:v>-0.66643293000000003</c:v>
                </c:pt>
                <c:pt idx="8389">
                  <c:v>-0.66682817000000005</c:v>
                </c:pt>
                <c:pt idx="8390">
                  <c:v>-0.66722413999999997</c:v>
                </c:pt>
                <c:pt idx="8391">
                  <c:v>-0.66762127999999998</c:v>
                </c:pt>
                <c:pt idx="8392">
                  <c:v>-0.66801741000000003</c:v>
                </c:pt>
                <c:pt idx="8393">
                  <c:v>-0.66841452000000001</c:v>
                </c:pt>
                <c:pt idx="8394">
                  <c:v>-0.66881201000000001</c:v>
                </c:pt>
                <c:pt idx="8395">
                  <c:v>-0.66920879</c:v>
                </c:pt>
                <c:pt idx="8396">
                  <c:v>-0.66960529999999996</c:v>
                </c:pt>
                <c:pt idx="8397">
                  <c:v>-0.6700026</c:v>
                </c:pt>
                <c:pt idx="8398">
                  <c:v>-0.67040082000000001</c:v>
                </c:pt>
                <c:pt idx="8399">
                  <c:v>-0.67079854000000005</c:v>
                </c:pt>
                <c:pt idx="8400">
                  <c:v>-0.67119697</c:v>
                </c:pt>
                <c:pt idx="8401">
                  <c:v>-0.67159489999999999</c:v>
                </c:pt>
                <c:pt idx="8402">
                  <c:v>-0.67199193999999995</c:v>
                </c:pt>
                <c:pt idx="8403">
                  <c:v>-0.67239201999999998</c:v>
                </c:pt>
                <c:pt idx="8404">
                  <c:v>-0.67278948000000005</c:v>
                </c:pt>
                <c:pt idx="8405">
                  <c:v>-0.67318840999999996</c:v>
                </c:pt>
                <c:pt idx="8406">
                  <c:v>-0.67358720999999999</c:v>
                </c:pt>
                <c:pt idx="8407">
                  <c:v>-0.67398701999999999</c:v>
                </c:pt>
                <c:pt idx="8408">
                  <c:v>-0.67438545999999999</c:v>
                </c:pt>
                <c:pt idx="8409">
                  <c:v>-0.67478532999999996</c:v>
                </c:pt>
                <c:pt idx="8410">
                  <c:v>-0.67518546000000002</c:v>
                </c:pt>
                <c:pt idx="8411">
                  <c:v>-0.67558421000000002</c:v>
                </c:pt>
                <c:pt idx="8412">
                  <c:v>-0.67598513999999998</c:v>
                </c:pt>
                <c:pt idx="8413">
                  <c:v>-0.67638494999999998</c:v>
                </c:pt>
                <c:pt idx="8414">
                  <c:v>-0.67678572999999997</c:v>
                </c:pt>
                <c:pt idx="8415">
                  <c:v>-0.67718632999999995</c:v>
                </c:pt>
                <c:pt idx="8416">
                  <c:v>-0.67758678000000006</c:v>
                </c:pt>
                <c:pt idx="8417">
                  <c:v>-0.67798681000000005</c:v>
                </c:pt>
                <c:pt idx="8418">
                  <c:v>-0.67838891999999995</c:v>
                </c:pt>
                <c:pt idx="8419">
                  <c:v>-0.67878992000000005</c:v>
                </c:pt>
                <c:pt idx="8420">
                  <c:v>-0.67919054999999995</c:v>
                </c:pt>
                <c:pt idx="8421">
                  <c:v>-0.67959214000000001</c:v>
                </c:pt>
                <c:pt idx="8422">
                  <c:v>-0.67999493</c:v>
                </c:pt>
                <c:pt idx="8423">
                  <c:v>-0.68039590000000005</c:v>
                </c:pt>
                <c:pt idx="8424">
                  <c:v>-0.68079866</c:v>
                </c:pt>
                <c:pt idx="8425">
                  <c:v>-0.68120046000000001</c:v>
                </c:pt>
                <c:pt idx="8426">
                  <c:v>-0.68160312999999995</c:v>
                </c:pt>
                <c:pt idx="8427">
                  <c:v>-0.68200541999999997</c:v>
                </c:pt>
                <c:pt idx="8428">
                  <c:v>-0.68240833000000001</c:v>
                </c:pt>
                <c:pt idx="8429">
                  <c:v>-0.68281190000000003</c:v>
                </c:pt>
                <c:pt idx="8430">
                  <c:v>-0.68321427000000001</c:v>
                </c:pt>
                <c:pt idx="8431">
                  <c:v>-0.68361864000000006</c:v>
                </c:pt>
                <c:pt idx="8432">
                  <c:v>-0.68402061000000003</c:v>
                </c:pt>
                <c:pt idx="8433">
                  <c:v>-0.68442523</c:v>
                </c:pt>
                <c:pt idx="8434">
                  <c:v>-0.68482854000000004</c:v>
                </c:pt>
                <c:pt idx="8435">
                  <c:v>-0.68523255000000005</c:v>
                </c:pt>
                <c:pt idx="8436">
                  <c:v>-0.68563759999999996</c:v>
                </c:pt>
                <c:pt idx="8437">
                  <c:v>-0.68604204000000002</c:v>
                </c:pt>
                <c:pt idx="8438">
                  <c:v>-0.68644614999999998</c:v>
                </c:pt>
                <c:pt idx="8439">
                  <c:v>-0.68685023999999995</c:v>
                </c:pt>
                <c:pt idx="8440">
                  <c:v>-0.68725575000000005</c:v>
                </c:pt>
                <c:pt idx="8441">
                  <c:v>-0.68765936000000005</c:v>
                </c:pt>
                <c:pt idx="8442">
                  <c:v>-0.68806608999999996</c:v>
                </c:pt>
                <c:pt idx="8443">
                  <c:v>-0.68846993999999995</c:v>
                </c:pt>
                <c:pt idx="8444">
                  <c:v>-0.68887640999999999</c:v>
                </c:pt>
                <c:pt idx="8445">
                  <c:v>-0.68928208999999996</c:v>
                </c:pt>
                <c:pt idx="8446">
                  <c:v>-0.68968708000000001</c:v>
                </c:pt>
                <c:pt idx="8447">
                  <c:v>-0.69009480999999995</c:v>
                </c:pt>
                <c:pt idx="8448">
                  <c:v>-0.69049970000000005</c:v>
                </c:pt>
                <c:pt idx="8449">
                  <c:v>-0.69090790999999996</c:v>
                </c:pt>
                <c:pt idx="8450">
                  <c:v>-0.69131390999999998</c:v>
                </c:pt>
                <c:pt idx="8451">
                  <c:v>-0.69172060999999996</c:v>
                </c:pt>
                <c:pt idx="8452">
                  <c:v>-0.69212658000000005</c:v>
                </c:pt>
                <c:pt idx="8453">
                  <c:v>-0.69253443000000003</c:v>
                </c:pt>
                <c:pt idx="8454">
                  <c:v>-0.69294210000000001</c:v>
                </c:pt>
                <c:pt idx="8455">
                  <c:v>-0.69334956000000003</c:v>
                </c:pt>
                <c:pt idx="8456">
                  <c:v>-0.69375597</c:v>
                </c:pt>
                <c:pt idx="8457">
                  <c:v>-0.69416449000000002</c:v>
                </c:pt>
                <c:pt idx="8458">
                  <c:v>-0.69457148000000002</c:v>
                </c:pt>
                <c:pt idx="8459">
                  <c:v>-0.69498086000000003</c:v>
                </c:pt>
                <c:pt idx="8460">
                  <c:v>-0.69538867999999998</c:v>
                </c:pt>
                <c:pt idx="8461">
                  <c:v>-0.69579762000000001</c:v>
                </c:pt>
                <c:pt idx="8462">
                  <c:v>-0.69620656000000003</c:v>
                </c:pt>
                <c:pt idx="8463">
                  <c:v>-0.69661435999999999</c:v>
                </c:pt>
                <c:pt idx="8464">
                  <c:v>-0.69702407</c:v>
                </c:pt>
                <c:pt idx="8465">
                  <c:v>-0.69743213000000004</c:v>
                </c:pt>
                <c:pt idx="8466">
                  <c:v>-0.69784321999999999</c:v>
                </c:pt>
                <c:pt idx="8467">
                  <c:v>-0.69825272000000005</c:v>
                </c:pt>
                <c:pt idx="8468">
                  <c:v>-0.69866143000000003</c:v>
                </c:pt>
                <c:pt idx="8469">
                  <c:v>-0.69907118999999995</c:v>
                </c:pt>
                <c:pt idx="8470">
                  <c:v>-0.69948151999999997</c:v>
                </c:pt>
                <c:pt idx="8471">
                  <c:v>-0.69989266999999999</c:v>
                </c:pt>
                <c:pt idx="8472">
                  <c:v>-0.70030267999999996</c:v>
                </c:pt>
                <c:pt idx="8473">
                  <c:v>-0.70071238000000002</c:v>
                </c:pt>
                <c:pt idx="8474">
                  <c:v>-0.70112494000000003</c:v>
                </c:pt>
                <c:pt idx="8475">
                  <c:v>-0.70153599</c:v>
                </c:pt>
                <c:pt idx="8476">
                  <c:v>-0.70194679999999998</c:v>
                </c:pt>
                <c:pt idx="8477">
                  <c:v>-0.70235802999999997</c:v>
                </c:pt>
                <c:pt idx="8478">
                  <c:v>-0.70276941999999998</c:v>
                </c:pt>
                <c:pt idx="8479">
                  <c:v>-0.70318126000000003</c:v>
                </c:pt>
                <c:pt idx="8480">
                  <c:v>-0.70359284</c:v>
                </c:pt>
                <c:pt idx="8481">
                  <c:v>-0.70400490000000004</c:v>
                </c:pt>
                <c:pt idx="8482">
                  <c:v>-0.70441704999999999</c:v>
                </c:pt>
                <c:pt idx="8483">
                  <c:v>-0.70482937000000001</c:v>
                </c:pt>
                <c:pt idx="8484">
                  <c:v>-0.70524229000000005</c:v>
                </c:pt>
                <c:pt idx="8485">
                  <c:v>-0.70565480999999997</c:v>
                </c:pt>
                <c:pt idx="8486">
                  <c:v>-0.70606716999999997</c:v>
                </c:pt>
                <c:pt idx="8487">
                  <c:v>-0.70648053</c:v>
                </c:pt>
                <c:pt idx="8488">
                  <c:v>-0.70689376999999998</c:v>
                </c:pt>
                <c:pt idx="8489">
                  <c:v>-0.70730844999999998</c:v>
                </c:pt>
                <c:pt idx="8490">
                  <c:v>-0.70772102999999997</c:v>
                </c:pt>
                <c:pt idx="8491">
                  <c:v>-0.70813484999999998</c:v>
                </c:pt>
                <c:pt idx="8492">
                  <c:v>-0.70854912000000003</c:v>
                </c:pt>
                <c:pt idx="8493">
                  <c:v>-0.70896327000000003</c:v>
                </c:pt>
                <c:pt idx="8494">
                  <c:v>-0.70937835000000005</c:v>
                </c:pt>
                <c:pt idx="8495">
                  <c:v>-0.70979214999999996</c:v>
                </c:pt>
                <c:pt idx="8496">
                  <c:v>-0.71020596999999996</c:v>
                </c:pt>
                <c:pt idx="8497">
                  <c:v>-0.71062206999999999</c:v>
                </c:pt>
                <c:pt idx="8498">
                  <c:v>-0.71103649000000002</c:v>
                </c:pt>
                <c:pt idx="8499">
                  <c:v>-0.71145077999999995</c:v>
                </c:pt>
                <c:pt idx="8500">
                  <c:v>-0.71186777999999995</c:v>
                </c:pt>
                <c:pt idx="8501">
                  <c:v>-0.71228259999999999</c:v>
                </c:pt>
                <c:pt idx="8502">
                  <c:v>-0.71269784999999997</c:v>
                </c:pt>
                <c:pt idx="8503">
                  <c:v>-0.71311491999999999</c:v>
                </c:pt>
                <c:pt idx="8504">
                  <c:v>-0.71353071000000001</c:v>
                </c:pt>
                <c:pt idx="8505">
                  <c:v>-0.71394745999999998</c:v>
                </c:pt>
                <c:pt idx="8506">
                  <c:v>-0.71436321000000003</c:v>
                </c:pt>
                <c:pt idx="8507">
                  <c:v>-0.71477968000000003</c:v>
                </c:pt>
                <c:pt idx="8508">
                  <c:v>-0.71519739999999998</c:v>
                </c:pt>
                <c:pt idx="8509">
                  <c:v>-0.71561465999999996</c:v>
                </c:pt>
                <c:pt idx="8510">
                  <c:v>-0.71603121999999997</c:v>
                </c:pt>
                <c:pt idx="8511">
                  <c:v>-0.71644936000000004</c:v>
                </c:pt>
                <c:pt idx="8512">
                  <c:v>-0.71686589000000001</c:v>
                </c:pt>
                <c:pt idx="8513">
                  <c:v>-0.71728484999999997</c:v>
                </c:pt>
                <c:pt idx="8514">
                  <c:v>-0.71770133000000003</c:v>
                </c:pt>
                <c:pt idx="8515">
                  <c:v>-0.71811994000000001</c:v>
                </c:pt>
                <c:pt idx="8516">
                  <c:v>-0.71853849999999997</c:v>
                </c:pt>
                <c:pt idx="8517">
                  <c:v>-0.71895655000000003</c:v>
                </c:pt>
                <c:pt idx="8518">
                  <c:v>-0.71937527000000001</c:v>
                </c:pt>
                <c:pt idx="8519">
                  <c:v>-0.71979322000000001</c:v>
                </c:pt>
                <c:pt idx="8520">
                  <c:v>-0.72021257999999999</c:v>
                </c:pt>
                <c:pt idx="8521">
                  <c:v>-0.72063228999999995</c:v>
                </c:pt>
                <c:pt idx="8522">
                  <c:v>-0.72105092999999998</c:v>
                </c:pt>
                <c:pt idx="8523">
                  <c:v>-0.72147178999999995</c:v>
                </c:pt>
                <c:pt idx="8524">
                  <c:v>-0.72189073999999998</c:v>
                </c:pt>
                <c:pt idx="8525">
                  <c:v>-0.72231009999999995</c:v>
                </c:pt>
                <c:pt idx="8526">
                  <c:v>-0.72273164000000001</c:v>
                </c:pt>
                <c:pt idx="8527">
                  <c:v>-0.72315017999999998</c:v>
                </c:pt>
                <c:pt idx="8528">
                  <c:v>-0.72357132999999996</c:v>
                </c:pt>
                <c:pt idx="8529">
                  <c:v>-0.72399325999999997</c:v>
                </c:pt>
                <c:pt idx="8530">
                  <c:v>-0.72441328000000005</c:v>
                </c:pt>
                <c:pt idx="8531">
                  <c:v>-0.72483432000000003</c:v>
                </c:pt>
                <c:pt idx="8532">
                  <c:v>-0.72525406999999997</c:v>
                </c:pt>
                <c:pt idx="8533">
                  <c:v>-0.72567541999999996</c:v>
                </c:pt>
                <c:pt idx="8534">
                  <c:v>-0.72609794000000005</c:v>
                </c:pt>
                <c:pt idx="8535">
                  <c:v>-0.72651955999999995</c:v>
                </c:pt>
                <c:pt idx="8536">
                  <c:v>-0.72694159000000003</c:v>
                </c:pt>
                <c:pt idx="8537">
                  <c:v>-0.72736334000000002</c:v>
                </c:pt>
                <c:pt idx="8538">
                  <c:v>-0.72778536000000005</c:v>
                </c:pt>
                <c:pt idx="8539">
                  <c:v>-0.72820836</c:v>
                </c:pt>
                <c:pt idx="8540">
                  <c:v>-0.72863087000000004</c:v>
                </c:pt>
                <c:pt idx="8541">
                  <c:v>-0.72905297999999996</c:v>
                </c:pt>
                <c:pt idx="8542">
                  <c:v>-0.72947667000000005</c:v>
                </c:pt>
                <c:pt idx="8543">
                  <c:v>-0.72989992999999997</c:v>
                </c:pt>
                <c:pt idx="8544">
                  <c:v>-0.73032297999999995</c:v>
                </c:pt>
                <c:pt idx="8545">
                  <c:v>-0.73074709999999998</c:v>
                </c:pt>
                <c:pt idx="8546">
                  <c:v>-0.73117012999999997</c:v>
                </c:pt>
                <c:pt idx="8547">
                  <c:v>-0.73159335999999997</c:v>
                </c:pt>
                <c:pt idx="8548">
                  <c:v>-0.73201899999999998</c:v>
                </c:pt>
                <c:pt idx="8549">
                  <c:v>-0.73244191000000003</c:v>
                </c:pt>
                <c:pt idx="8550">
                  <c:v>-0.73286578999999996</c:v>
                </c:pt>
                <c:pt idx="8551">
                  <c:v>-0.73329069999999996</c:v>
                </c:pt>
                <c:pt idx="8552">
                  <c:v>-0.73371604000000001</c:v>
                </c:pt>
                <c:pt idx="8553">
                  <c:v>-0.73414100000000004</c:v>
                </c:pt>
                <c:pt idx="8554">
                  <c:v>-0.73456513999999995</c:v>
                </c:pt>
                <c:pt idx="8555">
                  <c:v>-0.73499121000000001</c:v>
                </c:pt>
                <c:pt idx="8556">
                  <c:v>-0.73541683000000002</c:v>
                </c:pt>
                <c:pt idx="8557">
                  <c:v>-0.73584141999999997</c:v>
                </c:pt>
                <c:pt idx="8558">
                  <c:v>-0.73626698000000002</c:v>
                </c:pt>
                <c:pt idx="8559">
                  <c:v>-0.73669304999999996</c:v>
                </c:pt>
                <c:pt idx="8560">
                  <c:v>-0.73712005000000003</c:v>
                </c:pt>
                <c:pt idx="8561">
                  <c:v>-0.73754752999999995</c:v>
                </c:pt>
                <c:pt idx="8562">
                  <c:v>-0.73797307000000001</c:v>
                </c:pt>
                <c:pt idx="8563">
                  <c:v>-0.73839973000000003</c:v>
                </c:pt>
                <c:pt idx="8564">
                  <c:v>-0.73882672000000005</c:v>
                </c:pt>
                <c:pt idx="8565">
                  <c:v>-0.73925381999999995</c:v>
                </c:pt>
                <c:pt idx="8566">
                  <c:v>-0.73968175000000003</c:v>
                </c:pt>
                <c:pt idx="8567">
                  <c:v>-0.74010920999999996</c:v>
                </c:pt>
                <c:pt idx="8568">
                  <c:v>-0.74053621000000003</c:v>
                </c:pt>
                <c:pt idx="8569">
                  <c:v>-0.74096419000000002</c:v>
                </c:pt>
                <c:pt idx="8570">
                  <c:v>-0.74139208999999995</c:v>
                </c:pt>
                <c:pt idx="8571">
                  <c:v>-0.74182101</c:v>
                </c:pt>
                <c:pt idx="8572">
                  <c:v>-0.74224860999999998</c:v>
                </c:pt>
                <c:pt idx="8573">
                  <c:v>-0.7426777</c:v>
                </c:pt>
                <c:pt idx="8574">
                  <c:v>-0.74310790999999998</c:v>
                </c:pt>
                <c:pt idx="8575">
                  <c:v>-0.74353561000000001</c:v>
                </c:pt>
                <c:pt idx="8576">
                  <c:v>-0.74396412999999995</c:v>
                </c:pt>
                <c:pt idx="8577">
                  <c:v>-0.74439416000000003</c:v>
                </c:pt>
                <c:pt idx="8578">
                  <c:v>-0.74482254000000003</c:v>
                </c:pt>
                <c:pt idx="8579">
                  <c:v>-0.74525313000000004</c:v>
                </c:pt>
                <c:pt idx="8580">
                  <c:v>-0.74568445999999999</c:v>
                </c:pt>
                <c:pt idx="8581">
                  <c:v>-0.74611249999999996</c:v>
                </c:pt>
                <c:pt idx="8582">
                  <c:v>-0.74654268000000001</c:v>
                </c:pt>
                <c:pt idx="8583">
                  <c:v>-0.74697267000000001</c:v>
                </c:pt>
                <c:pt idx="8584">
                  <c:v>-0.74740317000000001</c:v>
                </c:pt>
                <c:pt idx="8585">
                  <c:v>-0.74783465000000005</c:v>
                </c:pt>
                <c:pt idx="8586">
                  <c:v>-0.74826687000000003</c:v>
                </c:pt>
                <c:pt idx="8587">
                  <c:v>-0.74869688999999995</c:v>
                </c:pt>
                <c:pt idx="8588">
                  <c:v>-0.74912913000000003</c:v>
                </c:pt>
                <c:pt idx="8589">
                  <c:v>-0.74955976999999996</c:v>
                </c:pt>
                <c:pt idx="8590">
                  <c:v>-0.74999225000000003</c:v>
                </c:pt>
                <c:pt idx="8591">
                  <c:v>-0.75042368999999998</c:v>
                </c:pt>
                <c:pt idx="8592">
                  <c:v>-0.75085541</c:v>
                </c:pt>
                <c:pt idx="8593">
                  <c:v>-0.75128803</c:v>
                </c:pt>
                <c:pt idx="8594">
                  <c:v>-0.75172030000000001</c:v>
                </c:pt>
                <c:pt idx="8595">
                  <c:v>-0.75215301000000001</c:v>
                </c:pt>
                <c:pt idx="8596">
                  <c:v>-0.75258669</c:v>
                </c:pt>
                <c:pt idx="8597">
                  <c:v>-0.75301901999999998</c:v>
                </c:pt>
                <c:pt idx="8598">
                  <c:v>-0.75345240000000002</c:v>
                </c:pt>
                <c:pt idx="8599">
                  <c:v>-0.75388661000000001</c:v>
                </c:pt>
                <c:pt idx="8600">
                  <c:v>-0.75431908000000003</c:v>
                </c:pt>
                <c:pt idx="8601">
                  <c:v>-0.75475384999999995</c:v>
                </c:pt>
                <c:pt idx="8602">
                  <c:v>-0.75518556999999997</c:v>
                </c:pt>
                <c:pt idx="8603">
                  <c:v>-0.75562024999999999</c:v>
                </c:pt>
                <c:pt idx="8604">
                  <c:v>-0.75605431999999995</c:v>
                </c:pt>
                <c:pt idx="8605">
                  <c:v>-0.75648841</c:v>
                </c:pt>
                <c:pt idx="8606">
                  <c:v>-0.75692364000000001</c:v>
                </c:pt>
                <c:pt idx="8607">
                  <c:v>-0.75735898000000001</c:v>
                </c:pt>
                <c:pt idx="8608">
                  <c:v>-0.75779300000000005</c:v>
                </c:pt>
                <c:pt idx="8609">
                  <c:v>-0.75822875000000001</c:v>
                </c:pt>
                <c:pt idx="8610">
                  <c:v>-0.75866394999999998</c:v>
                </c:pt>
                <c:pt idx="8611">
                  <c:v>-0.75910040999999995</c:v>
                </c:pt>
                <c:pt idx="8612">
                  <c:v>-0.75953484999999998</c:v>
                </c:pt>
                <c:pt idx="8613">
                  <c:v>-0.75997247999999995</c:v>
                </c:pt>
                <c:pt idx="8614">
                  <c:v>-0.76040808999999998</c:v>
                </c:pt>
                <c:pt idx="8615">
                  <c:v>-0.76084545000000003</c:v>
                </c:pt>
                <c:pt idx="8616">
                  <c:v>-0.76128107</c:v>
                </c:pt>
                <c:pt idx="8617">
                  <c:v>-0.76171818999999996</c:v>
                </c:pt>
                <c:pt idx="8618">
                  <c:v>-0.76215431</c:v>
                </c:pt>
                <c:pt idx="8619">
                  <c:v>-0.76259155000000001</c:v>
                </c:pt>
                <c:pt idx="8620">
                  <c:v>-0.76302966999999999</c:v>
                </c:pt>
                <c:pt idx="8621">
                  <c:v>-0.76346577999999998</c:v>
                </c:pt>
                <c:pt idx="8622">
                  <c:v>-0.76390369000000002</c:v>
                </c:pt>
                <c:pt idx="8623">
                  <c:v>-0.76434237999999999</c:v>
                </c:pt>
                <c:pt idx="8624">
                  <c:v>-0.76478009000000002</c:v>
                </c:pt>
                <c:pt idx="8625">
                  <c:v>-0.76521790999999995</c:v>
                </c:pt>
                <c:pt idx="8626">
                  <c:v>-0.76565587000000002</c:v>
                </c:pt>
                <c:pt idx="8627">
                  <c:v>-0.76609543999999996</c:v>
                </c:pt>
                <c:pt idx="8628">
                  <c:v>-0.76653347999999999</c:v>
                </c:pt>
                <c:pt idx="8629">
                  <c:v>-0.76697252000000005</c:v>
                </c:pt>
                <c:pt idx="8630">
                  <c:v>-0.76741188999999999</c:v>
                </c:pt>
                <c:pt idx="8631">
                  <c:v>-0.76785102000000005</c:v>
                </c:pt>
                <c:pt idx="8632">
                  <c:v>-0.76829075999999996</c:v>
                </c:pt>
                <c:pt idx="8633">
                  <c:v>-0.76873130999999995</c:v>
                </c:pt>
                <c:pt idx="8634">
                  <c:v>-0.76917005999999999</c:v>
                </c:pt>
                <c:pt idx="8635">
                  <c:v>-0.76960998000000003</c:v>
                </c:pt>
                <c:pt idx="8636">
                  <c:v>-0.77005131000000004</c:v>
                </c:pt>
                <c:pt idx="8637">
                  <c:v>-0.77049148000000001</c:v>
                </c:pt>
                <c:pt idx="8638">
                  <c:v>-0.7709317</c:v>
                </c:pt>
                <c:pt idx="8639">
                  <c:v>-0.77137292000000002</c:v>
                </c:pt>
                <c:pt idx="8640">
                  <c:v>-0.77181372000000004</c:v>
                </c:pt>
                <c:pt idx="8641">
                  <c:v>-0.77225465000000004</c:v>
                </c:pt>
                <c:pt idx="8642">
                  <c:v>-0.77269582999999997</c:v>
                </c:pt>
                <c:pt idx="8643">
                  <c:v>-0.77313847000000002</c:v>
                </c:pt>
                <c:pt idx="8644">
                  <c:v>-0.77358048000000001</c:v>
                </c:pt>
                <c:pt idx="8645">
                  <c:v>-0.77402117000000004</c:v>
                </c:pt>
                <c:pt idx="8646">
                  <c:v>-0.77446311000000001</c:v>
                </c:pt>
                <c:pt idx="8647">
                  <c:v>-0.77490484999999998</c:v>
                </c:pt>
                <c:pt idx="8648">
                  <c:v>-0.77534795000000001</c:v>
                </c:pt>
                <c:pt idx="8649">
                  <c:v>-0.77579111000000001</c:v>
                </c:pt>
                <c:pt idx="8650">
                  <c:v>-0.77623434000000002</c:v>
                </c:pt>
                <c:pt idx="8651">
                  <c:v>-0.77667750000000002</c:v>
                </c:pt>
                <c:pt idx="8652">
                  <c:v>-0.77712082000000005</c:v>
                </c:pt>
                <c:pt idx="8653">
                  <c:v>-0.77756369999999997</c:v>
                </c:pt>
                <c:pt idx="8654">
                  <c:v>-0.77800760999999996</c:v>
                </c:pt>
                <c:pt idx="8655">
                  <c:v>-0.77845103000000004</c:v>
                </c:pt>
                <c:pt idx="8656">
                  <c:v>-0.77889556999999998</c:v>
                </c:pt>
                <c:pt idx="8657">
                  <c:v>-0.77933942</c:v>
                </c:pt>
                <c:pt idx="8658">
                  <c:v>-0.77978420999999998</c:v>
                </c:pt>
                <c:pt idx="8659">
                  <c:v>-0.78022893999999998</c:v>
                </c:pt>
                <c:pt idx="8660">
                  <c:v>-0.78067341999999995</c:v>
                </c:pt>
                <c:pt idx="8661">
                  <c:v>-0.78111805999999995</c:v>
                </c:pt>
                <c:pt idx="8662">
                  <c:v>-0.78156281000000005</c:v>
                </c:pt>
                <c:pt idx="8663">
                  <c:v>-0.78200780999999997</c:v>
                </c:pt>
                <c:pt idx="8664">
                  <c:v>-0.78245522999999995</c:v>
                </c:pt>
                <c:pt idx="8665">
                  <c:v>-0.78290092</c:v>
                </c:pt>
                <c:pt idx="8666">
                  <c:v>-0.78334680000000001</c:v>
                </c:pt>
                <c:pt idx="8667">
                  <c:v>-0.78379167000000005</c:v>
                </c:pt>
                <c:pt idx="8668">
                  <c:v>-0.78423763999999996</c:v>
                </c:pt>
                <c:pt idx="8669">
                  <c:v>-0.78468455999999998</c:v>
                </c:pt>
                <c:pt idx="8670">
                  <c:v>-0.78513231999999999</c:v>
                </c:pt>
                <c:pt idx="8671">
                  <c:v>-0.78557821999999999</c:v>
                </c:pt>
                <c:pt idx="8672">
                  <c:v>-0.78602543999999996</c:v>
                </c:pt>
                <c:pt idx="8673">
                  <c:v>-0.78647330999999998</c:v>
                </c:pt>
                <c:pt idx="8674">
                  <c:v>-0.78692024000000005</c:v>
                </c:pt>
                <c:pt idx="8675">
                  <c:v>-0.78736828000000003</c:v>
                </c:pt>
                <c:pt idx="8676">
                  <c:v>-0.78781610000000002</c:v>
                </c:pt>
                <c:pt idx="8677">
                  <c:v>-0.78826421000000002</c:v>
                </c:pt>
                <c:pt idx="8678">
                  <c:v>-0.78871203000000001</c:v>
                </c:pt>
                <c:pt idx="8679">
                  <c:v>-0.78915959999999996</c:v>
                </c:pt>
                <c:pt idx="8680">
                  <c:v>-0.78960872999999998</c:v>
                </c:pt>
                <c:pt idx="8681">
                  <c:v>-0.79005800000000004</c:v>
                </c:pt>
                <c:pt idx="8682">
                  <c:v>-0.79050631999999998</c:v>
                </c:pt>
                <c:pt idx="8683">
                  <c:v>-0.79095504999999999</c:v>
                </c:pt>
                <c:pt idx="8684">
                  <c:v>-0.79140604999999997</c:v>
                </c:pt>
                <c:pt idx="8685">
                  <c:v>-0.79185492999999996</c:v>
                </c:pt>
                <c:pt idx="8686">
                  <c:v>-0.79230529999999999</c:v>
                </c:pt>
                <c:pt idx="8687">
                  <c:v>-0.79275337000000001</c:v>
                </c:pt>
                <c:pt idx="8688">
                  <c:v>-0.79320354999999998</c:v>
                </c:pt>
                <c:pt idx="8689">
                  <c:v>-0.79365421000000003</c:v>
                </c:pt>
                <c:pt idx="8690">
                  <c:v>-0.79410537000000003</c:v>
                </c:pt>
                <c:pt idx="8691">
                  <c:v>-0.79455593000000002</c:v>
                </c:pt>
                <c:pt idx="8692">
                  <c:v>-0.79500733999999995</c:v>
                </c:pt>
                <c:pt idx="8693">
                  <c:v>-0.79545745000000001</c:v>
                </c:pt>
                <c:pt idx="8694">
                  <c:v>-0.79590994000000004</c:v>
                </c:pt>
                <c:pt idx="8695">
                  <c:v>-0.79636013000000005</c:v>
                </c:pt>
                <c:pt idx="8696">
                  <c:v>-0.79681376999999998</c:v>
                </c:pt>
                <c:pt idx="8697">
                  <c:v>-0.79726512000000005</c:v>
                </c:pt>
                <c:pt idx="8698">
                  <c:v>-0.79771669000000001</c:v>
                </c:pt>
                <c:pt idx="8699">
                  <c:v>-0.79816830000000005</c:v>
                </c:pt>
                <c:pt idx="8700">
                  <c:v>-0.7986221</c:v>
                </c:pt>
                <c:pt idx="8701">
                  <c:v>-0.79907450999999996</c:v>
                </c:pt>
                <c:pt idx="8702">
                  <c:v>-0.79952597000000003</c:v>
                </c:pt>
                <c:pt idx="8703">
                  <c:v>-0.79997872999999997</c:v>
                </c:pt>
                <c:pt idx="8704">
                  <c:v>-0.80043217</c:v>
                </c:pt>
                <c:pt idx="8705">
                  <c:v>-0.80088645000000003</c:v>
                </c:pt>
                <c:pt idx="8706">
                  <c:v>-0.80133986999999995</c:v>
                </c:pt>
                <c:pt idx="8707">
                  <c:v>-0.80179316</c:v>
                </c:pt>
                <c:pt idx="8708">
                  <c:v>-0.80224684999999996</c:v>
                </c:pt>
                <c:pt idx="8709">
                  <c:v>-0.80270182999999995</c:v>
                </c:pt>
                <c:pt idx="8710">
                  <c:v>-0.80315515999999998</c:v>
                </c:pt>
                <c:pt idx="8711">
                  <c:v>-0.80360942000000002</c:v>
                </c:pt>
                <c:pt idx="8712">
                  <c:v>-0.80406445000000004</c:v>
                </c:pt>
                <c:pt idx="8713">
                  <c:v>-0.80452022000000001</c:v>
                </c:pt>
                <c:pt idx="8714">
                  <c:v>-0.80497479999999999</c:v>
                </c:pt>
                <c:pt idx="8715">
                  <c:v>-0.80542966999999999</c:v>
                </c:pt>
                <c:pt idx="8716">
                  <c:v>-0.80588550000000003</c:v>
                </c:pt>
                <c:pt idx="8717">
                  <c:v>-0.80634253</c:v>
                </c:pt>
                <c:pt idx="8718">
                  <c:v>-0.80679716999999995</c:v>
                </c:pt>
                <c:pt idx="8719">
                  <c:v>-0.80725464000000002</c:v>
                </c:pt>
                <c:pt idx="8720">
                  <c:v>-0.80771002000000003</c:v>
                </c:pt>
                <c:pt idx="8721">
                  <c:v>-0.80816604999999997</c:v>
                </c:pt>
                <c:pt idx="8722">
                  <c:v>-0.80862338</c:v>
                </c:pt>
                <c:pt idx="8723">
                  <c:v>-0.80907994999999999</c:v>
                </c:pt>
                <c:pt idx="8724">
                  <c:v>-0.80953816999999995</c:v>
                </c:pt>
                <c:pt idx="8725">
                  <c:v>-0.80999383999999996</c:v>
                </c:pt>
                <c:pt idx="8726">
                  <c:v>-0.81045206000000003</c:v>
                </c:pt>
                <c:pt idx="8727">
                  <c:v>-0.81091033000000001</c:v>
                </c:pt>
                <c:pt idx="8728">
                  <c:v>-0.81136567000000004</c:v>
                </c:pt>
                <c:pt idx="8729">
                  <c:v>-0.81182555999999995</c:v>
                </c:pt>
                <c:pt idx="8730">
                  <c:v>-0.81228422</c:v>
                </c:pt>
                <c:pt idx="8731">
                  <c:v>-0.81274267</c:v>
                </c:pt>
                <c:pt idx="8732">
                  <c:v>-0.81320068999999995</c:v>
                </c:pt>
                <c:pt idx="8733">
                  <c:v>-0.81365958999999999</c:v>
                </c:pt>
                <c:pt idx="8734">
                  <c:v>-0.81411796999999997</c:v>
                </c:pt>
                <c:pt idx="8735">
                  <c:v>-0.81457685999999996</c:v>
                </c:pt>
                <c:pt idx="8736">
                  <c:v>-0.81503605999999995</c:v>
                </c:pt>
                <c:pt idx="8737">
                  <c:v>-0.81549618999999995</c:v>
                </c:pt>
                <c:pt idx="8738">
                  <c:v>-0.81595667000000005</c:v>
                </c:pt>
                <c:pt idx="8739">
                  <c:v>-0.81641671999999998</c:v>
                </c:pt>
                <c:pt idx="8740">
                  <c:v>-0.81687670999999995</c:v>
                </c:pt>
                <c:pt idx="8741">
                  <c:v>-0.81733765999999997</c:v>
                </c:pt>
                <c:pt idx="8742">
                  <c:v>-0.81779804</c:v>
                </c:pt>
                <c:pt idx="8743">
                  <c:v>-0.81825859999999995</c:v>
                </c:pt>
                <c:pt idx="8744">
                  <c:v>-0.81871996999999996</c:v>
                </c:pt>
                <c:pt idx="8745">
                  <c:v>-0.81917956000000003</c:v>
                </c:pt>
                <c:pt idx="8746">
                  <c:v>-0.81964121000000001</c:v>
                </c:pt>
                <c:pt idx="8747">
                  <c:v>-0.82010349000000005</c:v>
                </c:pt>
                <c:pt idx="8748">
                  <c:v>-0.82056547000000002</c:v>
                </c:pt>
                <c:pt idx="8749">
                  <c:v>-0.82102704000000004</c:v>
                </c:pt>
                <c:pt idx="8750">
                  <c:v>-0.82148938000000005</c:v>
                </c:pt>
                <c:pt idx="8751">
                  <c:v>-0.82195116000000001</c:v>
                </c:pt>
                <c:pt idx="8752">
                  <c:v>-0.82241527999999997</c:v>
                </c:pt>
                <c:pt idx="8753">
                  <c:v>-0.82287741999999997</c:v>
                </c:pt>
                <c:pt idx="8754">
                  <c:v>-0.82333981999999994</c:v>
                </c:pt>
                <c:pt idx="8755">
                  <c:v>-0.82380403000000002</c:v>
                </c:pt>
                <c:pt idx="8756">
                  <c:v>-0.82426493999999995</c:v>
                </c:pt>
                <c:pt idx="8757">
                  <c:v>-0.82472937999999996</c:v>
                </c:pt>
                <c:pt idx="8758">
                  <c:v>-0.82519297999999996</c:v>
                </c:pt>
                <c:pt idx="8759">
                  <c:v>-0.82565719999999998</c:v>
                </c:pt>
                <c:pt idx="8760">
                  <c:v>-0.82612132000000005</c:v>
                </c:pt>
                <c:pt idx="8761">
                  <c:v>-0.82658604999999996</c:v>
                </c:pt>
                <c:pt idx="8762">
                  <c:v>-0.82705048000000003</c:v>
                </c:pt>
                <c:pt idx="8763">
                  <c:v>-0.82751529000000001</c:v>
                </c:pt>
                <c:pt idx="8764">
                  <c:v>-0.82798008999999995</c:v>
                </c:pt>
                <c:pt idx="8765">
                  <c:v>-0.82844565000000003</c:v>
                </c:pt>
                <c:pt idx="8766">
                  <c:v>-0.82890925999999998</c:v>
                </c:pt>
                <c:pt idx="8767">
                  <c:v>-0.82937552999999997</c:v>
                </c:pt>
                <c:pt idx="8768">
                  <c:v>-0.8298413</c:v>
                </c:pt>
                <c:pt idx="8769">
                  <c:v>-0.83030740000000003</c:v>
                </c:pt>
                <c:pt idx="8770">
                  <c:v>-0.83077301000000003</c:v>
                </c:pt>
                <c:pt idx="8771">
                  <c:v>-0.83123972000000002</c:v>
                </c:pt>
                <c:pt idx="8772">
                  <c:v>-0.83170633000000005</c:v>
                </c:pt>
                <c:pt idx="8773">
                  <c:v>-0.83217277999999995</c:v>
                </c:pt>
                <c:pt idx="8774">
                  <c:v>-0.83263829</c:v>
                </c:pt>
                <c:pt idx="8775">
                  <c:v>-0.83310675999999995</c:v>
                </c:pt>
                <c:pt idx="8776">
                  <c:v>-0.83357298000000002</c:v>
                </c:pt>
                <c:pt idx="8777">
                  <c:v>-0.83404212</c:v>
                </c:pt>
                <c:pt idx="8778">
                  <c:v>-0.83450988000000004</c:v>
                </c:pt>
                <c:pt idx="8779">
                  <c:v>-0.83497699000000003</c:v>
                </c:pt>
                <c:pt idx="8780">
                  <c:v>-0.83544574999999999</c:v>
                </c:pt>
                <c:pt idx="8781">
                  <c:v>-0.83591318999999997</c:v>
                </c:pt>
                <c:pt idx="8782">
                  <c:v>-0.83638129999999999</c:v>
                </c:pt>
                <c:pt idx="8783">
                  <c:v>-0.83685041999999998</c:v>
                </c:pt>
                <c:pt idx="8784">
                  <c:v>-0.83731937999999995</c:v>
                </c:pt>
                <c:pt idx="8785">
                  <c:v>-0.83778920999999995</c:v>
                </c:pt>
                <c:pt idx="8786">
                  <c:v>-0.83825738000000005</c:v>
                </c:pt>
                <c:pt idx="8787">
                  <c:v>-0.83872727999999996</c:v>
                </c:pt>
                <c:pt idx="8788">
                  <c:v>-0.83919655000000004</c:v>
                </c:pt>
                <c:pt idx="8789">
                  <c:v>-0.83966596000000004</c:v>
                </c:pt>
                <c:pt idx="8790">
                  <c:v>-0.84013685999999999</c:v>
                </c:pt>
                <c:pt idx="8791">
                  <c:v>-0.84060623999999995</c:v>
                </c:pt>
                <c:pt idx="8792">
                  <c:v>-0.84107635000000003</c:v>
                </c:pt>
                <c:pt idx="8793">
                  <c:v>-0.84154761</c:v>
                </c:pt>
                <c:pt idx="8794">
                  <c:v>-0.84201883</c:v>
                </c:pt>
                <c:pt idx="8795">
                  <c:v>-0.84248977999999997</c:v>
                </c:pt>
                <c:pt idx="8796">
                  <c:v>-0.84295993999999996</c:v>
                </c:pt>
                <c:pt idx="8797">
                  <c:v>-0.84343277000000005</c:v>
                </c:pt>
                <c:pt idx="8798">
                  <c:v>-0.84390387</c:v>
                </c:pt>
                <c:pt idx="8799">
                  <c:v>-0.84437667999999999</c:v>
                </c:pt>
                <c:pt idx="8800">
                  <c:v>-0.84484767999999999</c:v>
                </c:pt>
                <c:pt idx="8801">
                  <c:v>-0.84532048999999998</c:v>
                </c:pt>
                <c:pt idx="8802">
                  <c:v>-0.84579283999999999</c:v>
                </c:pt>
                <c:pt idx="8803">
                  <c:v>-0.84626508</c:v>
                </c:pt>
                <c:pt idx="8804">
                  <c:v>-0.84673854000000004</c:v>
                </c:pt>
                <c:pt idx="8805">
                  <c:v>-0.84721115999999996</c:v>
                </c:pt>
                <c:pt idx="8806">
                  <c:v>-0.84768505999999999</c:v>
                </c:pt>
                <c:pt idx="8807">
                  <c:v>-0.84815879999999999</c:v>
                </c:pt>
                <c:pt idx="8808">
                  <c:v>-0.84863142999999996</c:v>
                </c:pt>
                <c:pt idx="8809">
                  <c:v>-0.84910563999999999</c:v>
                </c:pt>
                <c:pt idx="8810">
                  <c:v>-0.84957967999999995</c:v>
                </c:pt>
                <c:pt idx="8811">
                  <c:v>-0.85005396</c:v>
                </c:pt>
                <c:pt idx="8812">
                  <c:v>-0.85052775000000003</c:v>
                </c:pt>
                <c:pt idx="8813">
                  <c:v>-0.85100209999999998</c:v>
                </c:pt>
                <c:pt idx="8814">
                  <c:v>-0.85147764000000004</c:v>
                </c:pt>
                <c:pt idx="8815">
                  <c:v>-0.85195180999999998</c:v>
                </c:pt>
                <c:pt idx="8816">
                  <c:v>-0.85242804999999999</c:v>
                </c:pt>
                <c:pt idx="8817">
                  <c:v>-0.85290379000000005</c:v>
                </c:pt>
                <c:pt idx="8818">
                  <c:v>-0.85337976999999998</c:v>
                </c:pt>
                <c:pt idx="8819">
                  <c:v>-0.85385513000000002</c:v>
                </c:pt>
                <c:pt idx="8820">
                  <c:v>-0.85433002000000002</c:v>
                </c:pt>
                <c:pt idx="8821">
                  <c:v>-0.85480789000000001</c:v>
                </c:pt>
                <c:pt idx="8822">
                  <c:v>-0.85528366</c:v>
                </c:pt>
                <c:pt idx="8823">
                  <c:v>-0.85575988000000003</c:v>
                </c:pt>
                <c:pt idx="8824">
                  <c:v>-0.85623711999999996</c:v>
                </c:pt>
                <c:pt idx="8825">
                  <c:v>-0.85671427</c:v>
                </c:pt>
                <c:pt idx="8826">
                  <c:v>-0.85719111999999997</c:v>
                </c:pt>
                <c:pt idx="8827">
                  <c:v>-0.85766865000000003</c:v>
                </c:pt>
                <c:pt idx="8828">
                  <c:v>-0.85814670999999998</c:v>
                </c:pt>
                <c:pt idx="8829">
                  <c:v>-0.85862441</c:v>
                </c:pt>
                <c:pt idx="8830">
                  <c:v>-0.85910352999999995</c:v>
                </c:pt>
                <c:pt idx="8831">
                  <c:v>-0.85958084999999995</c:v>
                </c:pt>
                <c:pt idx="8832">
                  <c:v>-0.86005883000000005</c:v>
                </c:pt>
                <c:pt idx="8833">
                  <c:v>-0.8605391</c:v>
                </c:pt>
                <c:pt idx="8834">
                  <c:v>-0.86101695</c:v>
                </c:pt>
                <c:pt idx="8835">
                  <c:v>-0.86149609999999999</c:v>
                </c:pt>
                <c:pt idx="8836">
                  <c:v>-0.86197548000000002</c:v>
                </c:pt>
                <c:pt idx="8837">
                  <c:v>-0.86245554999999996</c:v>
                </c:pt>
                <c:pt idx="8838">
                  <c:v>-0.86293553999999995</c:v>
                </c:pt>
                <c:pt idx="8839">
                  <c:v>-0.86341577999999997</c:v>
                </c:pt>
                <c:pt idx="8840">
                  <c:v>-0.86389435000000003</c:v>
                </c:pt>
                <c:pt idx="8841">
                  <c:v>-0.86437377000000004</c:v>
                </c:pt>
                <c:pt idx="8842">
                  <c:v>-0.86485528</c:v>
                </c:pt>
                <c:pt idx="8843">
                  <c:v>-0.86533638999999996</c:v>
                </c:pt>
                <c:pt idx="8844">
                  <c:v>-0.86581719999999995</c:v>
                </c:pt>
                <c:pt idx="8845">
                  <c:v>-0.86629911000000004</c:v>
                </c:pt>
                <c:pt idx="8846">
                  <c:v>-0.86678009</c:v>
                </c:pt>
                <c:pt idx="8847">
                  <c:v>-0.86726122000000005</c:v>
                </c:pt>
                <c:pt idx="8848">
                  <c:v>-0.86774322999999998</c:v>
                </c:pt>
                <c:pt idx="8849">
                  <c:v>-0.86822484</c:v>
                </c:pt>
                <c:pt idx="8850">
                  <c:v>-0.86870753999999994</c:v>
                </c:pt>
                <c:pt idx="8851">
                  <c:v>-0.86918976000000003</c:v>
                </c:pt>
                <c:pt idx="8852">
                  <c:v>-0.869672</c:v>
                </c:pt>
                <c:pt idx="8853">
                  <c:v>-0.87015640000000005</c:v>
                </c:pt>
                <c:pt idx="8854">
                  <c:v>-0.87063732000000005</c:v>
                </c:pt>
                <c:pt idx="8855">
                  <c:v>-0.87112137000000001</c:v>
                </c:pt>
                <c:pt idx="8856">
                  <c:v>-0.87160353000000002</c:v>
                </c:pt>
                <c:pt idx="8857">
                  <c:v>-0.87208838</c:v>
                </c:pt>
                <c:pt idx="8858">
                  <c:v>-0.87257240999999997</c:v>
                </c:pt>
                <c:pt idx="8859">
                  <c:v>-0.87305520000000003</c:v>
                </c:pt>
                <c:pt idx="8860">
                  <c:v>-0.87353950999999996</c:v>
                </c:pt>
                <c:pt idx="8861">
                  <c:v>-0.87402460000000004</c:v>
                </c:pt>
                <c:pt idx="8862">
                  <c:v>-0.87450941000000004</c:v>
                </c:pt>
                <c:pt idx="8863">
                  <c:v>-0.87499360999999998</c:v>
                </c:pt>
                <c:pt idx="8864">
                  <c:v>-0.8754788</c:v>
                </c:pt>
                <c:pt idx="8865">
                  <c:v>-0.87596390999999996</c:v>
                </c:pt>
                <c:pt idx="8866">
                  <c:v>-0.87644937999999994</c:v>
                </c:pt>
                <c:pt idx="8867">
                  <c:v>-0.87693553000000002</c:v>
                </c:pt>
                <c:pt idx="8868">
                  <c:v>-0.87742074999999997</c:v>
                </c:pt>
                <c:pt idx="8869">
                  <c:v>-0.87790747999999996</c:v>
                </c:pt>
                <c:pt idx="8870">
                  <c:v>-0.87839277000000004</c:v>
                </c:pt>
                <c:pt idx="8871">
                  <c:v>-0.87887873999999999</c:v>
                </c:pt>
                <c:pt idx="8872">
                  <c:v>-0.87936738999999997</c:v>
                </c:pt>
                <c:pt idx="8873">
                  <c:v>-0.87985287999999995</c:v>
                </c:pt>
                <c:pt idx="8874">
                  <c:v>-0.88034075000000001</c:v>
                </c:pt>
                <c:pt idx="8875">
                  <c:v>-0.88082726</c:v>
                </c:pt>
                <c:pt idx="8876">
                  <c:v>-0.88131490000000001</c:v>
                </c:pt>
                <c:pt idx="8877">
                  <c:v>-0.88180243999999997</c:v>
                </c:pt>
                <c:pt idx="8878">
                  <c:v>-0.88229088</c:v>
                </c:pt>
                <c:pt idx="8879">
                  <c:v>-0.88277839000000002</c:v>
                </c:pt>
                <c:pt idx="8880">
                  <c:v>-0.88326753999999996</c:v>
                </c:pt>
                <c:pt idx="8881">
                  <c:v>-0.88375510999999995</c:v>
                </c:pt>
                <c:pt idx="8882">
                  <c:v>-0.88424358000000003</c:v>
                </c:pt>
                <c:pt idx="8883">
                  <c:v>-0.88473270999999998</c:v>
                </c:pt>
                <c:pt idx="8884">
                  <c:v>-0.88522223</c:v>
                </c:pt>
                <c:pt idx="8885">
                  <c:v>-0.88571197999999995</c:v>
                </c:pt>
                <c:pt idx="8886">
                  <c:v>-0.88620089000000002</c:v>
                </c:pt>
                <c:pt idx="8887">
                  <c:v>-0.88669049</c:v>
                </c:pt>
                <c:pt idx="8888">
                  <c:v>-0.88718054999999996</c:v>
                </c:pt>
                <c:pt idx="8889">
                  <c:v>-0.88767109</c:v>
                </c:pt>
                <c:pt idx="8890">
                  <c:v>-0.88816143999999997</c:v>
                </c:pt>
                <c:pt idx="8891">
                  <c:v>-0.88865159999999999</c:v>
                </c:pt>
                <c:pt idx="8892">
                  <c:v>-0.88914212999999997</c:v>
                </c:pt>
                <c:pt idx="8893">
                  <c:v>-0.88963314000000004</c:v>
                </c:pt>
                <c:pt idx="8894">
                  <c:v>-0.89012479</c:v>
                </c:pt>
                <c:pt idx="8895">
                  <c:v>-0.89061712000000004</c:v>
                </c:pt>
                <c:pt idx="8896">
                  <c:v>-0.89110811999999995</c:v>
                </c:pt>
                <c:pt idx="8897">
                  <c:v>-0.89159959</c:v>
                </c:pt>
                <c:pt idx="8898">
                  <c:v>-0.89209234999999998</c:v>
                </c:pt>
                <c:pt idx="8899">
                  <c:v>-0.89258451999999999</c:v>
                </c:pt>
                <c:pt idx="8900">
                  <c:v>-0.89307650000000005</c:v>
                </c:pt>
                <c:pt idx="8901">
                  <c:v>-0.89356884000000003</c:v>
                </c:pt>
                <c:pt idx="8902">
                  <c:v>-0.89406167999999997</c:v>
                </c:pt>
                <c:pt idx="8903">
                  <c:v>-0.89455505999999996</c:v>
                </c:pt>
                <c:pt idx="8904">
                  <c:v>-0.89504824000000005</c:v>
                </c:pt>
                <c:pt idx="8905">
                  <c:v>-0.89554212</c:v>
                </c:pt>
                <c:pt idx="8906">
                  <c:v>-0.89603500000000003</c:v>
                </c:pt>
                <c:pt idx="8907">
                  <c:v>-0.89653011000000005</c:v>
                </c:pt>
                <c:pt idx="8908">
                  <c:v>-0.89702388</c:v>
                </c:pt>
                <c:pt idx="8909">
                  <c:v>-0.89751844000000003</c:v>
                </c:pt>
                <c:pt idx="8910">
                  <c:v>-0.89801275000000003</c:v>
                </c:pt>
                <c:pt idx="8911">
                  <c:v>-0.89850781000000002</c:v>
                </c:pt>
                <c:pt idx="8912">
                  <c:v>-0.89900268000000005</c:v>
                </c:pt>
                <c:pt idx="8913">
                  <c:v>-0.89949760999999995</c:v>
                </c:pt>
                <c:pt idx="8914">
                  <c:v>-0.89999245999999999</c:v>
                </c:pt>
                <c:pt idx="8915">
                  <c:v>-0.90048826000000004</c:v>
                </c:pt>
                <c:pt idx="8916">
                  <c:v>-0.90098433</c:v>
                </c:pt>
                <c:pt idx="8917">
                  <c:v>-0.90147911000000003</c:v>
                </c:pt>
                <c:pt idx="8918">
                  <c:v>-0.90197603000000004</c:v>
                </c:pt>
                <c:pt idx="8919">
                  <c:v>-0.90247239999999995</c:v>
                </c:pt>
                <c:pt idx="8920">
                  <c:v>-0.90296949000000004</c:v>
                </c:pt>
                <c:pt idx="8921">
                  <c:v>-0.90346621999999999</c:v>
                </c:pt>
                <c:pt idx="8922">
                  <c:v>-0.90396310000000002</c:v>
                </c:pt>
                <c:pt idx="8923">
                  <c:v>-0.90445958999999998</c:v>
                </c:pt>
                <c:pt idx="8924">
                  <c:v>-0.90495751000000002</c:v>
                </c:pt>
                <c:pt idx="8925">
                  <c:v>-0.90545662999999998</c:v>
                </c:pt>
                <c:pt idx="8926">
                  <c:v>-0.90595406999999994</c:v>
                </c:pt>
                <c:pt idx="8927">
                  <c:v>-0.90645136000000004</c:v>
                </c:pt>
                <c:pt idx="8928">
                  <c:v>-0.90694976999999999</c:v>
                </c:pt>
                <c:pt idx="8929">
                  <c:v>-0.90744809000000004</c:v>
                </c:pt>
                <c:pt idx="8930">
                  <c:v>-0.90794739000000002</c:v>
                </c:pt>
                <c:pt idx="8931">
                  <c:v>-0.90844623000000002</c:v>
                </c:pt>
                <c:pt idx="8932">
                  <c:v>-0.90894505999999997</c:v>
                </c:pt>
                <c:pt idx="8933">
                  <c:v>-0.90944402999999996</c:v>
                </c:pt>
                <c:pt idx="8934">
                  <c:v>-0.90994492000000005</c:v>
                </c:pt>
                <c:pt idx="8935">
                  <c:v>-0.91044398000000004</c:v>
                </c:pt>
                <c:pt idx="8936">
                  <c:v>-0.91094403000000002</c:v>
                </c:pt>
                <c:pt idx="8937">
                  <c:v>-0.91144395</c:v>
                </c:pt>
                <c:pt idx="8938">
                  <c:v>-0.91194423999999996</c:v>
                </c:pt>
                <c:pt idx="8939">
                  <c:v>-0.91244497000000002</c:v>
                </c:pt>
                <c:pt idx="8940">
                  <c:v>-0.91294560999999996</c:v>
                </c:pt>
                <c:pt idx="8941">
                  <c:v>-0.91344747999999998</c:v>
                </c:pt>
                <c:pt idx="8942">
                  <c:v>-0.91394781000000003</c:v>
                </c:pt>
                <c:pt idx="8943">
                  <c:v>-0.91445010000000004</c:v>
                </c:pt>
                <c:pt idx="8944">
                  <c:v>-0.91495223000000003</c:v>
                </c:pt>
                <c:pt idx="8945">
                  <c:v>-0.91545308000000003</c:v>
                </c:pt>
                <c:pt idx="8946">
                  <c:v>-0.91595590999999998</c:v>
                </c:pt>
                <c:pt idx="8947">
                  <c:v>-0.91645759999999998</c:v>
                </c:pt>
                <c:pt idx="8948">
                  <c:v>-0.91696042</c:v>
                </c:pt>
                <c:pt idx="8949">
                  <c:v>-0.91746348</c:v>
                </c:pt>
                <c:pt idx="8950">
                  <c:v>-0.91796604999999998</c:v>
                </c:pt>
                <c:pt idx="8951">
                  <c:v>-0.91846976000000002</c:v>
                </c:pt>
                <c:pt idx="8952">
                  <c:v>-0.91897286</c:v>
                </c:pt>
                <c:pt idx="8953">
                  <c:v>-0.91947643999999995</c:v>
                </c:pt>
                <c:pt idx="8954">
                  <c:v>-0.91998062999999997</c:v>
                </c:pt>
                <c:pt idx="8955">
                  <c:v>-0.92048479000000005</c:v>
                </c:pt>
                <c:pt idx="8956">
                  <c:v>-0.92098904000000004</c:v>
                </c:pt>
                <c:pt idx="8957">
                  <c:v>-0.92149254999999997</c:v>
                </c:pt>
                <c:pt idx="8958">
                  <c:v>-0.92199854000000003</c:v>
                </c:pt>
                <c:pt idx="8959">
                  <c:v>-0.92250268000000002</c:v>
                </c:pt>
                <c:pt idx="8960">
                  <c:v>-0.92300755999999995</c:v>
                </c:pt>
                <c:pt idx="8961">
                  <c:v>-0.92351240000000001</c:v>
                </c:pt>
                <c:pt idx="8962">
                  <c:v>-0.92401803000000005</c:v>
                </c:pt>
                <c:pt idx="8963">
                  <c:v>-0.92452414999999999</c:v>
                </c:pt>
                <c:pt idx="8964">
                  <c:v>-0.92503042000000002</c:v>
                </c:pt>
                <c:pt idx="8965">
                  <c:v>-0.92553693999999997</c:v>
                </c:pt>
                <c:pt idx="8966">
                  <c:v>-0.92604255999999996</c:v>
                </c:pt>
                <c:pt idx="8967">
                  <c:v>-0.92654972000000002</c:v>
                </c:pt>
                <c:pt idx="8968">
                  <c:v>-0.92705662</c:v>
                </c:pt>
                <c:pt idx="8969">
                  <c:v>-0.92756302000000002</c:v>
                </c:pt>
                <c:pt idx="8970">
                  <c:v>-0.92807114000000002</c:v>
                </c:pt>
                <c:pt idx="8971">
                  <c:v>-0.92857794999999999</c:v>
                </c:pt>
                <c:pt idx="8972">
                  <c:v>-0.92908647</c:v>
                </c:pt>
                <c:pt idx="8973">
                  <c:v>-0.92959234000000002</c:v>
                </c:pt>
                <c:pt idx="8974">
                  <c:v>-0.93010150000000003</c:v>
                </c:pt>
                <c:pt idx="8975">
                  <c:v>-0.93061039999999995</c:v>
                </c:pt>
                <c:pt idx="8976">
                  <c:v>-0.93111805000000003</c:v>
                </c:pt>
                <c:pt idx="8977">
                  <c:v>-0.93162707</c:v>
                </c:pt>
                <c:pt idx="8978">
                  <c:v>-0.93213703999999997</c:v>
                </c:pt>
                <c:pt idx="8979">
                  <c:v>-0.93264464999999996</c:v>
                </c:pt>
                <c:pt idx="8980">
                  <c:v>-0.93315528000000003</c:v>
                </c:pt>
                <c:pt idx="8981">
                  <c:v>-0.93366435000000003</c:v>
                </c:pt>
                <c:pt idx="8982">
                  <c:v>-0.93417437000000003</c:v>
                </c:pt>
                <c:pt idx="8983">
                  <c:v>-0.93468459999999998</c:v>
                </c:pt>
                <c:pt idx="8984">
                  <c:v>-0.93519399999999997</c:v>
                </c:pt>
                <c:pt idx="8985">
                  <c:v>-0.93570476000000002</c:v>
                </c:pt>
                <c:pt idx="8986">
                  <c:v>-0.93621578000000005</c:v>
                </c:pt>
                <c:pt idx="8987">
                  <c:v>-0.93672706999999999</c:v>
                </c:pt>
                <c:pt idx="8988">
                  <c:v>-0.93723785000000004</c:v>
                </c:pt>
                <c:pt idx="8989">
                  <c:v>-0.93774884999999997</c:v>
                </c:pt>
                <c:pt idx="8990">
                  <c:v>-0.93826041000000004</c:v>
                </c:pt>
                <c:pt idx="8991">
                  <c:v>-0.93877250999999995</c:v>
                </c:pt>
                <c:pt idx="8992">
                  <c:v>-0.93928475</c:v>
                </c:pt>
                <c:pt idx="8993">
                  <c:v>-0.93979705000000002</c:v>
                </c:pt>
                <c:pt idx="8994">
                  <c:v>-0.94030893999999998</c:v>
                </c:pt>
                <c:pt idx="8995">
                  <c:v>-0.94082105000000005</c:v>
                </c:pt>
                <c:pt idx="8996">
                  <c:v>-0.94133447000000003</c:v>
                </c:pt>
                <c:pt idx="8997">
                  <c:v>-0.94184730000000005</c:v>
                </c:pt>
                <c:pt idx="8998">
                  <c:v>-0.94236001000000003</c:v>
                </c:pt>
                <c:pt idx="8999">
                  <c:v>-0.94287434000000003</c:v>
                </c:pt>
                <c:pt idx="9000">
                  <c:v>-0.94338809999999995</c:v>
                </c:pt>
                <c:pt idx="9001">
                  <c:v>-0.94390196000000004</c:v>
                </c:pt>
                <c:pt idx="9002">
                  <c:v>-0.94441653000000003</c:v>
                </c:pt>
                <c:pt idx="9003">
                  <c:v>-0.94493002999999998</c:v>
                </c:pt>
                <c:pt idx="9004">
                  <c:v>-0.94544479999999997</c:v>
                </c:pt>
                <c:pt idx="9005">
                  <c:v>-0.94595985000000005</c:v>
                </c:pt>
                <c:pt idx="9006">
                  <c:v>-0.94647446999999996</c:v>
                </c:pt>
                <c:pt idx="9007">
                  <c:v>-0.94699032000000005</c:v>
                </c:pt>
                <c:pt idx="9008">
                  <c:v>-0.94750592</c:v>
                </c:pt>
                <c:pt idx="9009">
                  <c:v>-0.94802114000000004</c:v>
                </c:pt>
                <c:pt idx="9010">
                  <c:v>-0.94853706999999998</c:v>
                </c:pt>
                <c:pt idx="9011">
                  <c:v>-0.94905362000000004</c:v>
                </c:pt>
                <c:pt idx="9012">
                  <c:v>-0.94957093000000004</c:v>
                </c:pt>
                <c:pt idx="9013">
                  <c:v>-0.95008568000000004</c:v>
                </c:pt>
                <c:pt idx="9014">
                  <c:v>-0.95060327</c:v>
                </c:pt>
                <c:pt idx="9015">
                  <c:v>-0.95112054000000001</c:v>
                </c:pt>
                <c:pt idx="9016">
                  <c:v>-0.95163697999999997</c:v>
                </c:pt>
                <c:pt idx="9017">
                  <c:v>-0.95215395999999997</c:v>
                </c:pt>
                <c:pt idx="9018">
                  <c:v>-0.95267237999999999</c:v>
                </c:pt>
                <c:pt idx="9019">
                  <c:v>-0.95319019999999999</c:v>
                </c:pt>
                <c:pt idx="9020">
                  <c:v>-0.95370798000000001</c:v>
                </c:pt>
                <c:pt idx="9021">
                  <c:v>-0.95422627999999998</c:v>
                </c:pt>
                <c:pt idx="9022">
                  <c:v>-0.95474512</c:v>
                </c:pt>
                <c:pt idx="9023">
                  <c:v>-0.95526339999999998</c:v>
                </c:pt>
                <c:pt idx="9024">
                  <c:v>-0.95578289999999999</c:v>
                </c:pt>
                <c:pt idx="9025">
                  <c:v>-0.95630137000000004</c:v>
                </c:pt>
                <c:pt idx="9026">
                  <c:v>-0.95682168000000001</c:v>
                </c:pt>
                <c:pt idx="9027">
                  <c:v>-0.95734001999999996</c:v>
                </c:pt>
                <c:pt idx="9028">
                  <c:v>-0.95786057000000002</c:v>
                </c:pt>
                <c:pt idx="9029">
                  <c:v>-0.95838036000000004</c:v>
                </c:pt>
                <c:pt idx="9030">
                  <c:v>-0.95890122</c:v>
                </c:pt>
                <c:pt idx="9031">
                  <c:v>-0.95942183000000003</c:v>
                </c:pt>
                <c:pt idx="9032">
                  <c:v>-0.95994241000000002</c:v>
                </c:pt>
                <c:pt idx="9033">
                  <c:v>-0.96046275999999997</c:v>
                </c:pt>
                <c:pt idx="9034">
                  <c:v>-0.96098380000000005</c:v>
                </c:pt>
                <c:pt idx="9035">
                  <c:v>-0.96150508999999995</c:v>
                </c:pt>
                <c:pt idx="9036">
                  <c:v>-0.96202637000000002</c:v>
                </c:pt>
                <c:pt idx="9037">
                  <c:v>-0.96254951</c:v>
                </c:pt>
                <c:pt idx="9038">
                  <c:v>-0.96307096000000003</c:v>
                </c:pt>
                <c:pt idx="9039">
                  <c:v>-0.96359280999999997</c:v>
                </c:pt>
                <c:pt idx="9040">
                  <c:v>-0.96411521</c:v>
                </c:pt>
                <c:pt idx="9041">
                  <c:v>-0.96463757999999999</c:v>
                </c:pt>
                <c:pt idx="9042">
                  <c:v>-0.96516166999999997</c:v>
                </c:pt>
                <c:pt idx="9043">
                  <c:v>-0.96568447000000002</c:v>
                </c:pt>
                <c:pt idx="9044">
                  <c:v>-0.96620795000000004</c:v>
                </c:pt>
                <c:pt idx="9045">
                  <c:v>-0.96673085999999997</c:v>
                </c:pt>
                <c:pt idx="9046">
                  <c:v>-0.96725514000000001</c:v>
                </c:pt>
                <c:pt idx="9047">
                  <c:v>-0.96777917000000002</c:v>
                </c:pt>
                <c:pt idx="9048">
                  <c:v>-0.96830346</c:v>
                </c:pt>
                <c:pt idx="9049">
                  <c:v>-0.96882751</c:v>
                </c:pt>
                <c:pt idx="9050">
                  <c:v>-0.96935167</c:v>
                </c:pt>
                <c:pt idx="9051">
                  <c:v>-0.96987690000000004</c:v>
                </c:pt>
                <c:pt idx="9052">
                  <c:v>-0.97040203000000003</c:v>
                </c:pt>
                <c:pt idx="9053">
                  <c:v>-0.97092729</c:v>
                </c:pt>
                <c:pt idx="9054">
                  <c:v>-0.97145292999999999</c:v>
                </c:pt>
                <c:pt idx="9055">
                  <c:v>-0.97197887999999999</c:v>
                </c:pt>
                <c:pt idx="9056">
                  <c:v>-0.97250519999999996</c:v>
                </c:pt>
                <c:pt idx="9057">
                  <c:v>-0.97303130000000004</c:v>
                </c:pt>
                <c:pt idx="9058">
                  <c:v>-0.97355751000000001</c:v>
                </c:pt>
                <c:pt idx="9059">
                  <c:v>-0.97408441000000001</c:v>
                </c:pt>
                <c:pt idx="9060">
                  <c:v>-0.97461107000000002</c:v>
                </c:pt>
                <c:pt idx="9061">
                  <c:v>-0.97513837000000003</c:v>
                </c:pt>
                <c:pt idx="9062">
                  <c:v>-0.97566505000000003</c:v>
                </c:pt>
                <c:pt idx="9063">
                  <c:v>-0.97619352999999998</c:v>
                </c:pt>
                <c:pt idx="9064">
                  <c:v>-0.97672088000000001</c:v>
                </c:pt>
                <c:pt idx="9065">
                  <c:v>-0.97724915000000001</c:v>
                </c:pt>
                <c:pt idx="9066">
                  <c:v>-0.97777705000000004</c:v>
                </c:pt>
                <c:pt idx="9067">
                  <c:v>-0.97830572000000005</c:v>
                </c:pt>
                <c:pt idx="9068">
                  <c:v>-0.97883377999999999</c:v>
                </c:pt>
                <c:pt idx="9069">
                  <c:v>-0.97936263000000001</c:v>
                </c:pt>
                <c:pt idx="9070">
                  <c:v>-0.97989214000000002</c:v>
                </c:pt>
                <c:pt idx="9071">
                  <c:v>-0.98042125999999996</c:v>
                </c:pt>
                <c:pt idx="9072">
                  <c:v>-0.98095041000000005</c:v>
                </c:pt>
                <c:pt idx="9073">
                  <c:v>-0.98148111999999998</c:v>
                </c:pt>
                <c:pt idx="9074">
                  <c:v>-0.98201055999999998</c:v>
                </c:pt>
                <c:pt idx="9075">
                  <c:v>-0.98254118000000001</c:v>
                </c:pt>
                <c:pt idx="9076">
                  <c:v>-0.98307102999999996</c:v>
                </c:pt>
                <c:pt idx="9077">
                  <c:v>-0.98360155000000005</c:v>
                </c:pt>
                <c:pt idx="9078">
                  <c:v>-0.98413349999999999</c:v>
                </c:pt>
                <c:pt idx="9079">
                  <c:v>-0.98466366999999999</c:v>
                </c:pt>
                <c:pt idx="9080">
                  <c:v>-0.98519500000000004</c:v>
                </c:pt>
                <c:pt idx="9081">
                  <c:v>-0.98572700999999996</c:v>
                </c:pt>
                <c:pt idx="9082">
                  <c:v>-0.98625863999999996</c:v>
                </c:pt>
                <c:pt idx="9083">
                  <c:v>-0.98679119999999998</c:v>
                </c:pt>
                <c:pt idx="9084">
                  <c:v>-0.98732337999999997</c:v>
                </c:pt>
                <c:pt idx="9085">
                  <c:v>-0.98785608999999996</c:v>
                </c:pt>
                <c:pt idx="9086">
                  <c:v>-0.98838857000000002</c:v>
                </c:pt>
                <c:pt idx="9087">
                  <c:v>-0.98892119000000001</c:v>
                </c:pt>
                <c:pt idx="9088">
                  <c:v>-0.98945512000000002</c:v>
                </c:pt>
                <c:pt idx="9089">
                  <c:v>-0.98998712</c:v>
                </c:pt>
                <c:pt idx="9090">
                  <c:v>-0.99052096000000001</c:v>
                </c:pt>
                <c:pt idx="9091">
                  <c:v>-0.99105454999999998</c:v>
                </c:pt>
                <c:pt idx="9092">
                  <c:v>-0.99158919000000001</c:v>
                </c:pt>
                <c:pt idx="9093">
                  <c:v>-0.99212321000000003</c:v>
                </c:pt>
                <c:pt idx="9094">
                  <c:v>-0.99265724</c:v>
                </c:pt>
                <c:pt idx="9095">
                  <c:v>-0.99319285000000002</c:v>
                </c:pt>
                <c:pt idx="9096">
                  <c:v>-0.99372755999999995</c:v>
                </c:pt>
                <c:pt idx="9097">
                  <c:v>-0.99426243000000003</c:v>
                </c:pt>
                <c:pt idx="9098">
                  <c:v>-0.99479848000000004</c:v>
                </c:pt>
                <c:pt idx="9099">
                  <c:v>-0.99533375999999996</c:v>
                </c:pt>
                <c:pt idx="9100">
                  <c:v>-0.99586984000000001</c:v>
                </c:pt>
                <c:pt idx="9101">
                  <c:v>-0.99640529</c:v>
                </c:pt>
                <c:pt idx="9102">
                  <c:v>-0.99694181000000004</c:v>
                </c:pt>
                <c:pt idx="9103">
                  <c:v>-0.99747859000000005</c:v>
                </c:pt>
                <c:pt idx="9104">
                  <c:v>-0.99801565000000003</c:v>
                </c:pt>
                <c:pt idx="9105">
                  <c:v>-0.99855103999999995</c:v>
                </c:pt>
                <c:pt idx="9106">
                  <c:v>-0.99908918999999996</c:v>
                </c:pt>
                <c:pt idx="9107">
                  <c:v>-0.99962720999999999</c:v>
                </c:pt>
                <c:pt idx="9108">
                  <c:v>-1.0001651</c:v>
                </c:pt>
                <c:pt idx="9109">
                  <c:v>-1.000702</c:v>
                </c:pt>
                <c:pt idx="9110">
                  <c:v>-1.0012401</c:v>
                </c:pt>
                <c:pt idx="9111">
                  <c:v>-1.0017794</c:v>
                </c:pt>
                <c:pt idx="9112">
                  <c:v>-1.0023179</c:v>
                </c:pt>
                <c:pt idx="9113">
                  <c:v>-1.0028562999999999</c:v>
                </c:pt>
                <c:pt idx="9114">
                  <c:v>-1.0033957</c:v>
                </c:pt>
                <c:pt idx="9115">
                  <c:v>-1.0039340000000001</c:v>
                </c:pt>
                <c:pt idx="9116">
                  <c:v>-1.0044736999999999</c:v>
                </c:pt>
                <c:pt idx="9117">
                  <c:v>-1.0050136000000001</c:v>
                </c:pt>
                <c:pt idx="9118">
                  <c:v>-1.0055528</c:v>
                </c:pt>
                <c:pt idx="9119">
                  <c:v>-1.0060933999999999</c:v>
                </c:pt>
                <c:pt idx="9120">
                  <c:v>-1.0066349999999999</c:v>
                </c:pt>
                <c:pt idx="9121">
                  <c:v>-1.0071745000000001</c:v>
                </c:pt>
                <c:pt idx="9122">
                  <c:v>-1.0077162</c:v>
                </c:pt>
                <c:pt idx="9123">
                  <c:v>-1.0082557999999999</c:v>
                </c:pt>
                <c:pt idx="9124">
                  <c:v>-1.0087980000000001</c:v>
                </c:pt>
                <c:pt idx="9125">
                  <c:v>-1.0093397</c:v>
                </c:pt>
                <c:pt idx="9126">
                  <c:v>-1.009881</c:v>
                </c:pt>
                <c:pt idx="9127">
                  <c:v>-1.0104228</c:v>
                </c:pt>
                <c:pt idx="9128">
                  <c:v>-1.0109650999999999</c:v>
                </c:pt>
                <c:pt idx="9129">
                  <c:v>-1.0115076000000001</c:v>
                </c:pt>
                <c:pt idx="9130">
                  <c:v>-1.0120511000000001</c:v>
                </c:pt>
                <c:pt idx="9131">
                  <c:v>-1.0125937</c:v>
                </c:pt>
                <c:pt idx="9132">
                  <c:v>-1.0131368000000001</c:v>
                </c:pt>
                <c:pt idx="9133">
                  <c:v>-1.0136797</c:v>
                </c:pt>
                <c:pt idx="9134">
                  <c:v>-1.0142239</c:v>
                </c:pt>
                <c:pt idx="9135">
                  <c:v>-1.0147674</c:v>
                </c:pt>
                <c:pt idx="9136">
                  <c:v>-1.0153117</c:v>
                </c:pt>
                <c:pt idx="9137">
                  <c:v>-1.0158556000000001</c:v>
                </c:pt>
                <c:pt idx="9138">
                  <c:v>-1.0164002999999999</c:v>
                </c:pt>
                <c:pt idx="9139">
                  <c:v>-1.0169451</c:v>
                </c:pt>
                <c:pt idx="9140">
                  <c:v>-1.0174893</c:v>
                </c:pt>
                <c:pt idx="9141">
                  <c:v>-1.0180347000000001</c:v>
                </c:pt>
                <c:pt idx="9142">
                  <c:v>-1.0185807</c:v>
                </c:pt>
                <c:pt idx="9143">
                  <c:v>-1.019126</c:v>
                </c:pt>
                <c:pt idx="9144">
                  <c:v>-1.0196715999999999</c:v>
                </c:pt>
                <c:pt idx="9145">
                  <c:v>-1.0202180000000001</c:v>
                </c:pt>
                <c:pt idx="9146">
                  <c:v>-1.0207649000000001</c:v>
                </c:pt>
                <c:pt idx="9147">
                  <c:v>-1.0213110000000001</c:v>
                </c:pt>
                <c:pt idx="9148">
                  <c:v>-1.0218569</c:v>
                </c:pt>
                <c:pt idx="9149">
                  <c:v>-1.0224044999999999</c:v>
                </c:pt>
                <c:pt idx="9150">
                  <c:v>-1.0229522</c:v>
                </c:pt>
                <c:pt idx="9151">
                  <c:v>-1.0235003</c:v>
                </c:pt>
                <c:pt idx="9152">
                  <c:v>-1.0240476999999999</c:v>
                </c:pt>
                <c:pt idx="9153">
                  <c:v>-1.0245952</c:v>
                </c:pt>
                <c:pt idx="9154">
                  <c:v>-1.0251436</c:v>
                </c:pt>
                <c:pt idx="9155">
                  <c:v>-1.025692</c:v>
                </c:pt>
                <c:pt idx="9156">
                  <c:v>-1.026241</c:v>
                </c:pt>
                <c:pt idx="9157">
                  <c:v>-1.0267898</c:v>
                </c:pt>
                <c:pt idx="9158">
                  <c:v>-1.0273387</c:v>
                </c:pt>
                <c:pt idx="9159">
                  <c:v>-1.0278875000000001</c:v>
                </c:pt>
                <c:pt idx="9160">
                  <c:v>-1.0284371999999999</c:v>
                </c:pt>
                <c:pt idx="9161">
                  <c:v>-1.0289862999999999</c:v>
                </c:pt>
                <c:pt idx="9162">
                  <c:v>-1.0295376000000001</c:v>
                </c:pt>
                <c:pt idx="9163">
                  <c:v>-1.0300882</c:v>
                </c:pt>
                <c:pt idx="9164">
                  <c:v>-1.0306377</c:v>
                </c:pt>
                <c:pt idx="9165">
                  <c:v>-1.0311882999999999</c:v>
                </c:pt>
                <c:pt idx="9166">
                  <c:v>-1.0317392999999999</c:v>
                </c:pt>
                <c:pt idx="9167">
                  <c:v>-1.0322910000000001</c:v>
                </c:pt>
                <c:pt idx="9168">
                  <c:v>-1.0328421999999999</c:v>
                </c:pt>
                <c:pt idx="9169">
                  <c:v>-1.0333943000000001</c:v>
                </c:pt>
                <c:pt idx="9170">
                  <c:v>-1.0339453999999999</c:v>
                </c:pt>
                <c:pt idx="9171">
                  <c:v>-1.0344989</c:v>
                </c:pt>
                <c:pt idx="9172">
                  <c:v>-1.0350503</c:v>
                </c:pt>
                <c:pt idx="9173">
                  <c:v>-1.0356034000000001</c:v>
                </c:pt>
                <c:pt idx="9174">
                  <c:v>-1.0361549000000001</c:v>
                </c:pt>
                <c:pt idx="9175">
                  <c:v>-1.0367086999999999</c:v>
                </c:pt>
                <c:pt idx="9176">
                  <c:v>-1.0372619999999999</c:v>
                </c:pt>
                <c:pt idx="9177">
                  <c:v>-1.0378153999999999</c:v>
                </c:pt>
                <c:pt idx="9178">
                  <c:v>-1.0383693000000001</c:v>
                </c:pt>
                <c:pt idx="9179">
                  <c:v>-1.0389241</c:v>
                </c:pt>
                <c:pt idx="9180">
                  <c:v>-1.0394774</c:v>
                </c:pt>
                <c:pt idx="9181">
                  <c:v>-1.0400316000000001</c:v>
                </c:pt>
                <c:pt idx="9182">
                  <c:v>-1.0405863</c:v>
                </c:pt>
                <c:pt idx="9183">
                  <c:v>-1.041142</c:v>
                </c:pt>
                <c:pt idx="9184">
                  <c:v>-1.0416958999999999</c:v>
                </c:pt>
                <c:pt idx="9185">
                  <c:v>-1.0422522000000001</c:v>
                </c:pt>
                <c:pt idx="9186">
                  <c:v>-1.0428071999999999</c:v>
                </c:pt>
                <c:pt idx="9187">
                  <c:v>-1.0433633</c:v>
                </c:pt>
                <c:pt idx="9188">
                  <c:v>-1.0439204</c:v>
                </c:pt>
                <c:pt idx="9189">
                  <c:v>-1.0444747000000001</c:v>
                </c:pt>
                <c:pt idx="9190">
                  <c:v>-1.0450326000000001</c:v>
                </c:pt>
                <c:pt idx="9191">
                  <c:v>-1.0455890999999999</c:v>
                </c:pt>
                <c:pt idx="9192">
                  <c:v>-1.0461473999999999</c:v>
                </c:pt>
                <c:pt idx="9193">
                  <c:v>-1.0467036999999999</c:v>
                </c:pt>
                <c:pt idx="9194">
                  <c:v>-1.0472614</c:v>
                </c:pt>
                <c:pt idx="9195">
                  <c:v>-1.0478189</c:v>
                </c:pt>
                <c:pt idx="9196">
                  <c:v>-1.0483766999999999</c:v>
                </c:pt>
                <c:pt idx="9197">
                  <c:v>-1.0489351</c:v>
                </c:pt>
                <c:pt idx="9198">
                  <c:v>-1.0494935000000001</c:v>
                </c:pt>
                <c:pt idx="9199">
                  <c:v>-1.0500525000000001</c:v>
                </c:pt>
                <c:pt idx="9200">
                  <c:v>-1.0506107</c:v>
                </c:pt>
                <c:pt idx="9201">
                  <c:v>-1.0511691999999999</c:v>
                </c:pt>
                <c:pt idx="9202">
                  <c:v>-1.0517285999999999</c:v>
                </c:pt>
                <c:pt idx="9203">
                  <c:v>-1.0522882</c:v>
                </c:pt>
                <c:pt idx="9204">
                  <c:v>-1.0528488</c:v>
                </c:pt>
                <c:pt idx="9205">
                  <c:v>-1.053409</c:v>
                </c:pt>
                <c:pt idx="9206">
                  <c:v>-1.0539696999999999</c:v>
                </c:pt>
                <c:pt idx="9207">
                  <c:v>-1.0545298999999999</c:v>
                </c:pt>
                <c:pt idx="9208">
                  <c:v>-1.0550896000000001</c:v>
                </c:pt>
                <c:pt idx="9209">
                  <c:v>-1.0556508</c:v>
                </c:pt>
                <c:pt idx="9210">
                  <c:v>-1.0562126000000001</c:v>
                </c:pt>
                <c:pt idx="9211">
                  <c:v>-1.0567746</c:v>
                </c:pt>
                <c:pt idx="9212">
                  <c:v>-1.0573366</c:v>
                </c:pt>
                <c:pt idx="9213">
                  <c:v>-1.0578976</c:v>
                </c:pt>
                <c:pt idx="9214">
                  <c:v>-1.0584597</c:v>
                </c:pt>
                <c:pt idx="9215">
                  <c:v>-1.0590227999999999</c:v>
                </c:pt>
                <c:pt idx="9216">
                  <c:v>-1.0595855999999999</c:v>
                </c:pt>
                <c:pt idx="9217">
                  <c:v>-1.0601476000000001</c:v>
                </c:pt>
                <c:pt idx="9218">
                  <c:v>-1.0607107</c:v>
                </c:pt>
                <c:pt idx="9219">
                  <c:v>-1.061275</c:v>
                </c:pt>
                <c:pt idx="9220">
                  <c:v>-1.0618383</c:v>
                </c:pt>
                <c:pt idx="9221">
                  <c:v>-1.0624016999999999</c:v>
                </c:pt>
                <c:pt idx="9222">
                  <c:v>-1.0629659</c:v>
                </c:pt>
                <c:pt idx="9223">
                  <c:v>-1.0635315000000001</c:v>
                </c:pt>
                <c:pt idx="9224">
                  <c:v>-1.0640954</c:v>
                </c:pt>
                <c:pt idx="9225">
                  <c:v>-1.0646599000000001</c:v>
                </c:pt>
                <c:pt idx="9226">
                  <c:v>-1.0652256</c:v>
                </c:pt>
                <c:pt idx="9227">
                  <c:v>-1.06579</c:v>
                </c:pt>
                <c:pt idx="9228">
                  <c:v>-1.0663559</c:v>
                </c:pt>
                <c:pt idx="9229">
                  <c:v>-1.0669223999999999</c:v>
                </c:pt>
                <c:pt idx="9230">
                  <c:v>-1.067488</c:v>
                </c:pt>
                <c:pt idx="9231">
                  <c:v>-1.0680539</c:v>
                </c:pt>
                <c:pt idx="9232">
                  <c:v>-1.0686203999999999</c:v>
                </c:pt>
                <c:pt idx="9233">
                  <c:v>-1.0691865</c:v>
                </c:pt>
                <c:pt idx="9234">
                  <c:v>-1.0697540999999999</c:v>
                </c:pt>
                <c:pt idx="9235">
                  <c:v>-1.0703210999999999</c:v>
                </c:pt>
                <c:pt idx="9236">
                  <c:v>-1.0708887</c:v>
                </c:pt>
                <c:pt idx="9237">
                  <c:v>-1.0714558000000001</c:v>
                </c:pt>
                <c:pt idx="9238">
                  <c:v>-1.0720242</c:v>
                </c:pt>
                <c:pt idx="9239">
                  <c:v>-1.0725925999999999</c:v>
                </c:pt>
                <c:pt idx="9240">
                  <c:v>-1.0731606</c:v>
                </c:pt>
                <c:pt idx="9241">
                  <c:v>-1.0737287</c:v>
                </c:pt>
                <c:pt idx="9242">
                  <c:v>-1.0742988</c:v>
                </c:pt>
                <c:pt idx="9243">
                  <c:v>-1.0748674</c:v>
                </c:pt>
                <c:pt idx="9244">
                  <c:v>-1.0754372999999999</c:v>
                </c:pt>
                <c:pt idx="9245">
                  <c:v>-1.0760063</c:v>
                </c:pt>
                <c:pt idx="9246">
                  <c:v>-1.0765765</c:v>
                </c:pt>
                <c:pt idx="9247">
                  <c:v>-1.0771470000000001</c:v>
                </c:pt>
                <c:pt idx="9248">
                  <c:v>-1.0777171999999999</c:v>
                </c:pt>
                <c:pt idx="9249">
                  <c:v>-1.0782871999999999</c:v>
                </c:pt>
                <c:pt idx="9250">
                  <c:v>-1.0788591999999999</c:v>
                </c:pt>
                <c:pt idx="9251">
                  <c:v>-1.0794300999999999</c:v>
                </c:pt>
                <c:pt idx="9252">
                  <c:v>-1.0800000999999999</c:v>
                </c:pt>
                <c:pt idx="9253">
                  <c:v>-1.0805718</c:v>
                </c:pt>
                <c:pt idx="9254">
                  <c:v>-1.0811446</c:v>
                </c:pt>
                <c:pt idx="9255">
                  <c:v>-1.0817152999999999</c:v>
                </c:pt>
                <c:pt idx="9256">
                  <c:v>-1.0822887999999999</c:v>
                </c:pt>
                <c:pt idx="9257">
                  <c:v>-1.0828613</c:v>
                </c:pt>
                <c:pt idx="9258">
                  <c:v>-1.0834318000000001</c:v>
                </c:pt>
                <c:pt idx="9259">
                  <c:v>-1.0840074</c:v>
                </c:pt>
                <c:pt idx="9260">
                  <c:v>-1.0845796000000001</c:v>
                </c:pt>
                <c:pt idx="9261">
                  <c:v>-1.0851541</c:v>
                </c:pt>
                <c:pt idx="9262">
                  <c:v>-1.0857273999999999</c:v>
                </c:pt>
                <c:pt idx="9263">
                  <c:v>-1.0862999</c:v>
                </c:pt>
                <c:pt idx="9264">
                  <c:v>-1.0868754</c:v>
                </c:pt>
                <c:pt idx="9265">
                  <c:v>-1.0874497999999999</c:v>
                </c:pt>
                <c:pt idx="9266">
                  <c:v>-1.0880247999999999</c:v>
                </c:pt>
                <c:pt idx="9267">
                  <c:v>-1.0885986000000001</c:v>
                </c:pt>
                <c:pt idx="9268">
                  <c:v>-1.0891747000000001</c:v>
                </c:pt>
                <c:pt idx="9269">
                  <c:v>-1.0897492</c:v>
                </c:pt>
                <c:pt idx="9270">
                  <c:v>-1.0903248999999999</c:v>
                </c:pt>
                <c:pt idx="9271">
                  <c:v>-1.0909015</c:v>
                </c:pt>
                <c:pt idx="9272">
                  <c:v>-1.0914779999999999</c:v>
                </c:pt>
                <c:pt idx="9273">
                  <c:v>-1.0920529999999999</c:v>
                </c:pt>
                <c:pt idx="9274">
                  <c:v>-1.0926307</c:v>
                </c:pt>
                <c:pt idx="9275">
                  <c:v>-1.0932067000000001</c:v>
                </c:pt>
                <c:pt idx="9276">
                  <c:v>-1.0937844000000001</c:v>
                </c:pt>
                <c:pt idx="9277">
                  <c:v>-1.0943609000000001</c:v>
                </c:pt>
                <c:pt idx="9278">
                  <c:v>-1.0949393000000001</c:v>
                </c:pt>
                <c:pt idx="9279">
                  <c:v>-1.0955169</c:v>
                </c:pt>
                <c:pt idx="9280">
                  <c:v>-1.0960946</c:v>
                </c:pt>
                <c:pt idx="9281">
                  <c:v>-1.0966731999999999</c:v>
                </c:pt>
                <c:pt idx="9282">
                  <c:v>-1.0972515</c:v>
                </c:pt>
                <c:pt idx="9283">
                  <c:v>-1.0978314</c:v>
                </c:pt>
                <c:pt idx="9284">
                  <c:v>-1.0984092000000001</c:v>
                </c:pt>
                <c:pt idx="9285">
                  <c:v>-1.098989</c:v>
                </c:pt>
                <c:pt idx="9286">
                  <c:v>-1.0995680000000001</c:v>
                </c:pt>
                <c:pt idx="9287">
                  <c:v>-1.1001485</c:v>
                </c:pt>
                <c:pt idx="9288">
                  <c:v>-1.1007275999999999</c:v>
                </c:pt>
                <c:pt idx="9289">
                  <c:v>-1.1013078000000001</c:v>
                </c:pt>
                <c:pt idx="9290">
                  <c:v>-1.1018895</c:v>
                </c:pt>
                <c:pt idx="9291">
                  <c:v>-1.1024699</c:v>
                </c:pt>
                <c:pt idx="9292">
                  <c:v>-1.1030519999999999</c:v>
                </c:pt>
                <c:pt idx="9293">
                  <c:v>-1.1036326999999999</c:v>
                </c:pt>
                <c:pt idx="9294">
                  <c:v>-1.1042130999999999</c:v>
                </c:pt>
                <c:pt idx="9295">
                  <c:v>-1.1047951</c:v>
                </c:pt>
                <c:pt idx="9296">
                  <c:v>-1.1053767000000001</c:v>
                </c:pt>
                <c:pt idx="9297">
                  <c:v>-1.1059593999999999</c:v>
                </c:pt>
                <c:pt idx="9298">
                  <c:v>-1.1065421</c:v>
                </c:pt>
                <c:pt idx="9299">
                  <c:v>-1.1071251</c:v>
                </c:pt>
                <c:pt idx="9300">
                  <c:v>-1.1077079999999999</c:v>
                </c:pt>
                <c:pt idx="9301">
                  <c:v>-1.1082905999999999</c:v>
                </c:pt>
                <c:pt idx="9302">
                  <c:v>-1.1088749</c:v>
                </c:pt>
                <c:pt idx="9303">
                  <c:v>-1.1094580999999999</c:v>
                </c:pt>
                <c:pt idx="9304">
                  <c:v>-1.1100414000000001</c:v>
                </c:pt>
                <c:pt idx="9305">
                  <c:v>-1.1106258</c:v>
                </c:pt>
                <c:pt idx="9306">
                  <c:v>-1.1112101999999999</c:v>
                </c:pt>
                <c:pt idx="9307">
                  <c:v>-1.1117946999999999</c:v>
                </c:pt>
                <c:pt idx="9308">
                  <c:v>-1.1123791999999999</c:v>
                </c:pt>
                <c:pt idx="9309">
                  <c:v>-1.1129644000000001</c:v>
                </c:pt>
                <c:pt idx="9310">
                  <c:v>-1.1135505999999999</c:v>
                </c:pt>
                <c:pt idx="9311">
                  <c:v>-1.1141357000000001</c:v>
                </c:pt>
                <c:pt idx="9312">
                  <c:v>-1.1147227</c:v>
                </c:pt>
                <c:pt idx="9313">
                  <c:v>-1.1153082999999999</c:v>
                </c:pt>
                <c:pt idx="9314">
                  <c:v>-1.1158949</c:v>
                </c:pt>
                <c:pt idx="9315">
                  <c:v>-1.1164817</c:v>
                </c:pt>
                <c:pt idx="9316">
                  <c:v>-1.1170678999999999</c:v>
                </c:pt>
                <c:pt idx="9317">
                  <c:v>-1.1176552</c:v>
                </c:pt>
                <c:pt idx="9318">
                  <c:v>-1.1182424</c:v>
                </c:pt>
                <c:pt idx="9319">
                  <c:v>-1.1188305999999999</c:v>
                </c:pt>
                <c:pt idx="9320">
                  <c:v>-1.1194189999999999</c:v>
                </c:pt>
                <c:pt idx="9321">
                  <c:v>-1.1200060999999999</c:v>
                </c:pt>
                <c:pt idx="9322">
                  <c:v>-1.1205946</c:v>
                </c:pt>
                <c:pt idx="9323">
                  <c:v>-1.1211831000000001</c:v>
                </c:pt>
                <c:pt idx="9324">
                  <c:v>-1.1217722999999999</c:v>
                </c:pt>
                <c:pt idx="9325">
                  <c:v>-1.1223608</c:v>
                </c:pt>
                <c:pt idx="9326">
                  <c:v>-1.1229498</c:v>
                </c:pt>
                <c:pt idx="9327">
                  <c:v>-1.1235401</c:v>
                </c:pt>
                <c:pt idx="9328">
                  <c:v>-1.1241306</c:v>
                </c:pt>
                <c:pt idx="9329">
                  <c:v>-1.1247206999999999</c:v>
                </c:pt>
                <c:pt idx="9330">
                  <c:v>-1.1253101999999999</c:v>
                </c:pt>
                <c:pt idx="9331">
                  <c:v>-1.1259007000000001</c:v>
                </c:pt>
                <c:pt idx="9332">
                  <c:v>-1.1264928000000001</c:v>
                </c:pt>
                <c:pt idx="9333">
                  <c:v>-1.1270837</c:v>
                </c:pt>
                <c:pt idx="9334">
                  <c:v>-1.1276747</c:v>
                </c:pt>
                <c:pt idx="9335">
                  <c:v>-1.1282665000000001</c:v>
                </c:pt>
                <c:pt idx="9336">
                  <c:v>-1.1288590999999999</c:v>
                </c:pt>
                <c:pt idx="9337">
                  <c:v>-1.1294499</c:v>
                </c:pt>
                <c:pt idx="9338">
                  <c:v>-1.1300433999999999</c:v>
                </c:pt>
                <c:pt idx="9339">
                  <c:v>-1.1306349</c:v>
                </c:pt>
                <c:pt idx="9340">
                  <c:v>-1.1312276999999999</c:v>
                </c:pt>
                <c:pt idx="9341">
                  <c:v>-1.1318214</c:v>
                </c:pt>
                <c:pt idx="9342">
                  <c:v>-1.1324141000000001</c:v>
                </c:pt>
                <c:pt idx="9343">
                  <c:v>-1.1330089000000001</c:v>
                </c:pt>
                <c:pt idx="9344">
                  <c:v>-1.1336006999999999</c:v>
                </c:pt>
                <c:pt idx="9345">
                  <c:v>-1.1341964</c:v>
                </c:pt>
                <c:pt idx="9346">
                  <c:v>-1.1347904</c:v>
                </c:pt>
                <c:pt idx="9347">
                  <c:v>-1.1353842000000001</c:v>
                </c:pt>
                <c:pt idx="9348">
                  <c:v>-1.1359790000000001</c:v>
                </c:pt>
                <c:pt idx="9349">
                  <c:v>-1.1365753999999999</c:v>
                </c:pt>
                <c:pt idx="9350">
                  <c:v>-1.1371701999999999</c:v>
                </c:pt>
                <c:pt idx="9351">
                  <c:v>-1.1377657000000001</c:v>
                </c:pt>
                <c:pt idx="9352">
                  <c:v>-1.1383629</c:v>
                </c:pt>
                <c:pt idx="9353">
                  <c:v>-1.1389585</c:v>
                </c:pt>
                <c:pt idx="9354">
                  <c:v>-1.1395538999999999</c:v>
                </c:pt>
                <c:pt idx="9355">
                  <c:v>-1.1401507</c:v>
                </c:pt>
                <c:pt idx="9356">
                  <c:v>-1.1407476999999999</c:v>
                </c:pt>
                <c:pt idx="9357">
                  <c:v>-1.1413457</c:v>
                </c:pt>
                <c:pt idx="9358">
                  <c:v>-1.1419423</c:v>
                </c:pt>
                <c:pt idx="9359">
                  <c:v>-1.1425403999999999</c:v>
                </c:pt>
                <c:pt idx="9360">
                  <c:v>-1.143138</c:v>
                </c:pt>
                <c:pt idx="9361">
                  <c:v>-1.1437360000000001</c:v>
                </c:pt>
                <c:pt idx="9362">
                  <c:v>-1.1443348</c:v>
                </c:pt>
                <c:pt idx="9363">
                  <c:v>-1.1449324000000001</c:v>
                </c:pt>
                <c:pt idx="9364">
                  <c:v>-1.1455313</c:v>
                </c:pt>
                <c:pt idx="9365">
                  <c:v>-1.1461313</c:v>
                </c:pt>
                <c:pt idx="9366">
                  <c:v>-1.1467307</c:v>
                </c:pt>
                <c:pt idx="9367">
                  <c:v>-1.1473302000000001</c:v>
                </c:pt>
                <c:pt idx="9368">
                  <c:v>-1.1479296000000001</c:v>
                </c:pt>
                <c:pt idx="9369">
                  <c:v>-1.1485299</c:v>
                </c:pt>
                <c:pt idx="9370">
                  <c:v>-1.1491294999999999</c:v>
                </c:pt>
                <c:pt idx="9371">
                  <c:v>-1.1497303000000001</c:v>
                </c:pt>
                <c:pt idx="9372">
                  <c:v>-1.1503315999999999</c:v>
                </c:pt>
                <c:pt idx="9373">
                  <c:v>-1.1509326</c:v>
                </c:pt>
                <c:pt idx="9374">
                  <c:v>-1.1515351</c:v>
                </c:pt>
                <c:pt idx="9375">
                  <c:v>-1.152136</c:v>
                </c:pt>
                <c:pt idx="9376">
                  <c:v>-1.1527373000000001</c:v>
                </c:pt>
                <c:pt idx="9377">
                  <c:v>-1.1533397000000001</c:v>
                </c:pt>
                <c:pt idx="9378">
                  <c:v>-1.1539434</c:v>
                </c:pt>
                <c:pt idx="9379">
                  <c:v>-1.1545449999999999</c:v>
                </c:pt>
                <c:pt idx="9380">
                  <c:v>-1.1551477999999999</c:v>
                </c:pt>
                <c:pt idx="9381">
                  <c:v>-1.1557526</c:v>
                </c:pt>
                <c:pt idx="9382">
                  <c:v>-1.1563554</c:v>
                </c:pt>
                <c:pt idx="9383">
                  <c:v>-1.1569592</c:v>
                </c:pt>
                <c:pt idx="9384">
                  <c:v>-1.1575626000000001</c:v>
                </c:pt>
                <c:pt idx="9385">
                  <c:v>-1.1581664</c:v>
                </c:pt>
                <c:pt idx="9386">
                  <c:v>-1.1587719999999999</c:v>
                </c:pt>
                <c:pt idx="9387">
                  <c:v>-1.1593765</c:v>
                </c:pt>
                <c:pt idx="9388">
                  <c:v>-1.1599803</c:v>
                </c:pt>
                <c:pt idx="9389">
                  <c:v>-1.1605862</c:v>
                </c:pt>
                <c:pt idx="9390">
                  <c:v>-1.1611917</c:v>
                </c:pt>
                <c:pt idx="9391">
                  <c:v>-1.1617972999999999</c:v>
                </c:pt>
                <c:pt idx="9392">
                  <c:v>-1.1624041000000001</c:v>
                </c:pt>
                <c:pt idx="9393">
                  <c:v>-1.1630100000000001</c:v>
                </c:pt>
                <c:pt idx="9394">
                  <c:v>-1.1636164</c:v>
                </c:pt>
                <c:pt idx="9395">
                  <c:v>-1.1642238</c:v>
                </c:pt>
                <c:pt idx="9396">
                  <c:v>-1.1648288</c:v>
                </c:pt>
                <c:pt idx="9397">
                  <c:v>-1.1654361</c:v>
                </c:pt>
                <c:pt idx="9398">
                  <c:v>-1.1660447</c:v>
                </c:pt>
                <c:pt idx="9399">
                  <c:v>-1.1666515</c:v>
                </c:pt>
                <c:pt idx="9400">
                  <c:v>-1.1672594999999999</c:v>
                </c:pt>
                <c:pt idx="9401">
                  <c:v>-1.1678691000000001</c:v>
                </c:pt>
                <c:pt idx="9402">
                  <c:v>-1.1684768000000001</c:v>
                </c:pt>
                <c:pt idx="9403">
                  <c:v>-1.1690862</c:v>
                </c:pt>
                <c:pt idx="9404">
                  <c:v>-1.1696958</c:v>
                </c:pt>
                <c:pt idx="9405">
                  <c:v>-1.1703037999999999</c:v>
                </c:pt>
                <c:pt idx="9406">
                  <c:v>-1.1709130999999999</c:v>
                </c:pt>
                <c:pt idx="9407">
                  <c:v>-1.1715236</c:v>
                </c:pt>
                <c:pt idx="9408">
                  <c:v>-1.1721348</c:v>
                </c:pt>
                <c:pt idx="9409">
                  <c:v>-1.1727443</c:v>
                </c:pt>
                <c:pt idx="9410">
                  <c:v>-1.173354</c:v>
                </c:pt>
                <c:pt idx="9411">
                  <c:v>-1.1739653000000001</c:v>
                </c:pt>
                <c:pt idx="9412">
                  <c:v>-1.1745772999999999</c:v>
                </c:pt>
                <c:pt idx="9413">
                  <c:v>-1.1751879000000001</c:v>
                </c:pt>
                <c:pt idx="9414">
                  <c:v>-1.1758</c:v>
                </c:pt>
                <c:pt idx="9415">
                  <c:v>-1.1764119</c:v>
                </c:pt>
                <c:pt idx="9416">
                  <c:v>-1.1770236000000001</c:v>
                </c:pt>
                <c:pt idx="9417">
                  <c:v>-1.1776363000000001</c:v>
                </c:pt>
                <c:pt idx="9418">
                  <c:v>-1.1782485</c:v>
                </c:pt>
                <c:pt idx="9419">
                  <c:v>-1.1788611</c:v>
                </c:pt>
                <c:pt idx="9420">
                  <c:v>-1.1794747000000001</c:v>
                </c:pt>
                <c:pt idx="9421">
                  <c:v>-1.1800883</c:v>
                </c:pt>
                <c:pt idx="9422">
                  <c:v>-1.1807025</c:v>
                </c:pt>
                <c:pt idx="9423">
                  <c:v>-1.1813153999999999</c:v>
                </c:pt>
                <c:pt idx="9424">
                  <c:v>-1.181929</c:v>
                </c:pt>
                <c:pt idx="9425">
                  <c:v>-1.1825448000000001</c:v>
                </c:pt>
                <c:pt idx="9426">
                  <c:v>-1.1831590999999999</c:v>
                </c:pt>
                <c:pt idx="9427">
                  <c:v>-1.1837743999999999</c:v>
                </c:pt>
                <c:pt idx="9428">
                  <c:v>-1.1843906</c:v>
                </c:pt>
                <c:pt idx="9429">
                  <c:v>-1.1850045</c:v>
                </c:pt>
                <c:pt idx="9430">
                  <c:v>-1.1856199999999999</c:v>
                </c:pt>
                <c:pt idx="9431">
                  <c:v>-1.1862360999999999</c:v>
                </c:pt>
                <c:pt idx="9432">
                  <c:v>-1.1868525999999999</c:v>
                </c:pt>
                <c:pt idx="9433">
                  <c:v>-1.1874693999999999</c:v>
                </c:pt>
                <c:pt idx="9434">
                  <c:v>-1.1880858000000001</c:v>
                </c:pt>
                <c:pt idx="9435">
                  <c:v>-1.1887032</c:v>
                </c:pt>
                <c:pt idx="9436">
                  <c:v>-1.1893209</c:v>
                </c:pt>
                <c:pt idx="9437">
                  <c:v>-1.1899375999999999</c:v>
                </c:pt>
                <c:pt idx="9438">
                  <c:v>-1.1905566999999999</c:v>
                </c:pt>
                <c:pt idx="9439">
                  <c:v>-1.1911746000000001</c:v>
                </c:pt>
                <c:pt idx="9440">
                  <c:v>-1.1917926000000001</c:v>
                </c:pt>
                <c:pt idx="9441">
                  <c:v>-1.1924112</c:v>
                </c:pt>
                <c:pt idx="9442">
                  <c:v>-1.1930297000000001</c:v>
                </c:pt>
                <c:pt idx="9443">
                  <c:v>-1.1936492999999999</c:v>
                </c:pt>
                <c:pt idx="9444">
                  <c:v>-1.1942683000000001</c:v>
                </c:pt>
                <c:pt idx="9445">
                  <c:v>-1.1948878000000001</c:v>
                </c:pt>
                <c:pt idx="9446">
                  <c:v>-1.1955089000000001</c:v>
                </c:pt>
                <c:pt idx="9447">
                  <c:v>-1.1961291999999999</c:v>
                </c:pt>
                <c:pt idx="9448">
                  <c:v>-1.1967487999999999</c:v>
                </c:pt>
                <c:pt idx="9449">
                  <c:v>-1.1973696</c:v>
                </c:pt>
                <c:pt idx="9450">
                  <c:v>-1.1979895</c:v>
                </c:pt>
                <c:pt idx="9451">
                  <c:v>-1.1986108</c:v>
                </c:pt>
                <c:pt idx="9452">
                  <c:v>-1.1992334</c:v>
                </c:pt>
                <c:pt idx="9453">
                  <c:v>-1.1998544</c:v>
                </c:pt>
                <c:pt idx="9454">
                  <c:v>-1.2004769</c:v>
                </c:pt>
                <c:pt idx="9455">
                  <c:v>-1.2010985000000001</c:v>
                </c:pt>
                <c:pt idx="9456">
                  <c:v>-1.2017221</c:v>
                </c:pt>
                <c:pt idx="9457">
                  <c:v>-1.2023444999999999</c:v>
                </c:pt>
                <c:pt idx="9458">
                  <c:v>-1.2029666999999999</c:v>
                </c:pt>
                <c:pt idx="9459">
                  <c:v>-1.2035903999999999</c:v>
                </c:pt>
                <c:pt idx="9460">
                  <c:v>-1.2042155000000001</c:v>
                </c:pt>
                <c:pt idx="9461">
                  <c:v>-1.2048375</c:v>
                </c:pt>
                <c:pt idx="9462">
                  <c:v>-1.2054625000000001</c:v>
                </c:pt>
                <c:pt idx="9463">
                  <c:v>-1.2060871</c:v>
                </c:pt>
                <c:pt idx="9464">
                  <c:v>-1.2067110999999999</c:v>
                </c:pt>
                <c:pt idx="9465">
                  <c:v>-1.2073358000000001</c:v>
                </c:pt>
                <c:pt idx="9466">
                  <c:v>-1.2079618999999999</c:v>
                </c:pt>
                <c:pt idx="9467">
                  <c:v>-1.2085866000000001</c:v>
                </c:pt>
                <c:pt idx="9468">
                  <c:v>-1.2092126000000001</c:v>
                </c:pt>
                <c:pt idx="9469">
                  <c:v>-1.2098366</c:v>
                </c:pt>
                <c:pt idx="9470">
                  <c:v>-1.2104655</c:v>
                </c:pt>
                <c:pt idx="9471">
                  <c:v>-1.2110915</c:v>
                </c:pt>
                <c:pt idx="9472">
                  <c:v>-1.2117173000000001</c:v>
                </c:pt>
                <c:pt idx="9473">
                  <c:v>-1.2123451000000001</c:v>
                </c:pt>
                <c:pt idx="9474">
                  <c:v>-1.2129725</c:v>
                </c:pt>
                <c:pt idx="9475">
                  <c:v>-1.2135997999999999</c:v>
                </c:pt>
                <c:pt idx="9476">
                  <c:v>-1.2142279</c:v>
                </c:pt>
                <c:pt idx="9477">
                  <c:v>-1.2148559999999999</c:v>
                </c:pt>
                <c:pt idx="9478">
                  <c:v>-1.2154837999999999</c:v>
                </c:pt>
                <c:pt idx="9479">
                  <c:v>-1.2161127</c:v>
                </c:pt>
                <c:pt idx="9480">
                  <c:v>-1.2167414999999999</c:v>
                </c:pt>
                <c:pt idx="9481">
                  <c:v>-1.217371</c:v>
                </c:pt>
                <c:pt idx="9482">
                  <c:v>-1.218</c:v>
                </c:pt>
                <c:pt idx="9483">
                  <c:v>-1.2186288000000001</c:v>
                </c:pt>
                <c:pt idx="9484">
                  <c:v>-1.21926</c:v>
                </c:pt>
                <c:pt idx="9485">
                  <c:v>-1.2198884000000001</c:v>
                </c:pt>
                <c:pt idx="9486">
                  <c:v>-1.2205204000000001</c:v>
                </c:pt>
                <c:pt idx="9487">
                  <c:v>-1.2211506999999999</c:v>
                </c:pt>
                <c:pt idx="9488">
                  <c:v>-1.2217804999999999</c:v>
                </c:pt>
                <c:pt idx="9489">
                  <c:v>-1.222413</c:v>
                </c:pt>
                <c:pt idx="9490">
                  <c:v>-1.223044</c:v>
                </c:pt>
                <c:pt idx="9491">
                  <c:v>-1.2236756</c:v>
                </c:pt>
                <c:pt idx="9492">
                  <c:v>-1.2243097999999999</c:v>
                </c:pt>
                <c:pt idx="9493">
                  <c:v>-1.2249405</c:v>
                </c:pt>
                <c:pt idx="9494">
                  <c:v>-1.2255731000000001</c:v>
                </c:pt>
                <c:pt idx="9495">
                  <c:v>-1.2262063999999999</c:v>
                </c:pt>
                <c:pt idx="9496">
                  <c:v>-1.2268393</c:v>
                </c:pt>
                <c:pt idx="9497">
                  <c:v>-1.2274731000000001</c:v>
                </c:pt>
                <c:pt idx="9498">
                  <c:v>-1.2281053</c:v>
                </c:pt>
                <c:pt idx="9499">
                  <c:v>-1.2287395999999999</c:v>
                </c:pt>
                <c:pt idx="9500">
                  <c:v>-1.2293750999999999</c:v>
                </c:pt>
                <c:pt idx="9501">
                  <c:v>-1.2300091</c:v>
                </c:pt>
                <c:pt idx="9502">
                  <c:v>-1.2306433999999999</c:v>
                </c:pt>
                <c:pt idx="9503">
                  <c:v>-1.2312791999999999</c:v>
                </c:pt>
                <c:pt idx="9504">
                  <c:v>-1.2319149</c:v>
                </c:pt>
                <c:pt idx="9505">
                  <c:v>-1.2325501000000001</c:v>
                </c:pt>
                <c:pt idx="9506">
                  <c:v>-1.2331846</c:v>
                </c:pt>
                <c:pt idx="9507">
                  <c:v>-1.2338207999999999</c:v>
                </c:pt>
                <c:pt idx="9508">
                  <c:v>-1.2344569000000001</c:v>
                </c:pt>
                <c:pt idx="9509">
                  <c:v>-1.2350947999999999</c:v>
                </c:pt>
                <c:pt idx="9510">
                  <c:v>-1.2357311</c:v>
                </c:pt>
                <c:pt idx="9511">
                  <c:v>-1.2363682</c:v>
                </c:pt>
                <c:pt idx="9512">
                  <c:v>-1.2370049000000001</c:v>
                </c:pt>
                <c:pt idx="9513">
                  <c:v>-1.2376442000000001</c:v>
                </c:pt>
                <c:pt idx="9514">
                  <c:v>-1.2382818</c:v>
                </c:pt>
                <c:pt idx="9515">
                  <c:v>-1.2389186000000001</c:v>
                </c:pt>
                <c:pt idx="9516">
                  <c:v>-1.2395589</c:v>
                </c:pt>
                <c:pt idx="9517">
                  <c:v>-1.2401964999999999</c:v>
                </c:pt>
                <c:pt idx="9518">
                  <c:v>-1.2408351</c:v>
                </c:pt>
                <c:pt idx="9519">
                  <c:v>-1.2414744</c:v>
                </c:pt>
                <c:pt idx="9520">
                  <c:v>-1.242113</c:v>
                </c:pt>
                <c:pt idx="9521">
                  <c:v>-1.2427538</c:v>
                </c:pt>
                <c:pt idx="9522">
                  <c:v>-1.2433954</c:v>
                </c:pt>
                <c:pt idx="9523">
                  <c:v>-1.2440353</c:v>
                </c:pt>
                <c:pt idx="9524">
                  <c:v>-1.2446754</c:v>
                </c:pt>
                <c:pt idx="9525">
                  <c:v>-1.2453166</c:v>
                </c:pt>
                <c:pt idx="9526">
                  <c:v>-1.2459579000000001</c:v>
                </c:pt>
                <c:pt idx="9527">
                  <c:v>-1.2465987999999999</c:v>
                </c:pt>
                <c:pt idx="9528">
                  <c:v>-1.2472397</c:v>
                </c:pt>
                <c:pt idx="9529">
                  <c:v>-1.2478828</c:v>
                </c:pt>
                <c:pt idx="9530">
                  <c:v>-1.2485255</c:v>
                </c:pt>
                <c:pt idx="9531">
                  <c:v>-1.2491673000000001</c:v>
                </c:pt>
                <c:pt idx="9532">
                  <c:v>-1.2498096999999999</c:v>
                </c:pt>
                <c:pt idx="9533">
                  <c:v>-1.2504533</c:v>
                </c:pt>
                <c:pt idx="9534">
                  <c:v>-1.2510969999999999</c:v>
                </c:pt>
                <c:pt idx="9535">
                  <c:v>-1.2517404000000001</c:v>
                </c:pt>
                <c:pt idx="9536">
                  <c:v>-1.2523845</c:v>
                </c:pt>
                <c:pt idx="9537">
                  <c:v>-1.2530287</c:v>
                </c:pt>
                <c:pt idx="9538">
                  <c:v>-1.2536733</c:v>
                </c:pt>
                <c:pt idx="9539">
                  <c:v>-1.2543187</c:v>
                </c:pt>
                <c:pt idx="9540">
                  <c:v>-1.2549623999999999</c:v>
                </c:pt>
                <c:pt idx="9541">
                  <c:v>-1.2556077000000001</c:v>
                </c:pt>
                <c:pt idx="9542">
                  <c:v>-1.2562546999999999</c:v>
                </c:pt>
                <c:pt idx="9543">
                  <c:v>-1.2568995000000001</c:v>
                </c:pt>
                <c:pt idx="9544">
                  <c:v>-1.2575445000000001</c:v>
                </c:pt>
                <c:pt idx="9545">
                  <c:v>-1.2581918000000001</c:v>
                </c:pt>
                <c:pt idx="9546">
                  <c:v>-1.2588383999999999</c:v>
                </c:pt>
                <c:pt idx="9547">
                  <c:v>-1.2594856999999999</c:v>
                </c:pt>
                <c:pt idx="9548">
                  <c:v>-1.2601317000000001</c:v>
                </c:pt>
                <c:pt idx="9549">
                  <c:v>-1.2607796</c:v>
                </c:pt>
                <c:pt idx="9550">
                  <c:v>-1.2614273</c:v>
                </c:pt>
                <c:pt idx="9551">
                  <c:v>-1.2620752</c:v>
                </c:pt>
                <c:pt idx="9552">
                  <c:v>-1.2627237</c:v>
                </c:pt>
                <c:pt idx="9553">
                  <c:v>-1.2633726999999999</c:v>
                </c:pt>
                <c:pt idx="9554">
                  <c:v>-1.2640210999999999</c:v>
                </c:pt>
                <c:pt idx="9555">
                  <c:v>-1.2646683000000001</c:v>
                </c:pt>
                <c:pt idx="9556">
                  <c:v>-1.2653184</c:v>
                </c:pt>
                <c:pt idx="9557">
                  <c:v>-1.2659696</c:v>
                </c:pt>
                <c:pt idx="9558">
                  <c:v>-1.2666199</c:v>
                </c:pt>
                <c:pt idx="9559">
                  <c:v>-1.2672696999999999</c:v>
                </c:pt>
                <c:pt idx="9560">
                  <c:v>-1.2679195000000001</c:v>
                </c:pt>
                <c:pt idx="9561">
                  <c:v>-1.2685704</c:v>
                </c:pt>
                <c:pt idx="9562">
                  <c:v>-1.2692213999999999</c:v>
                </c:pt>
                <c:pt idx="9563">
                  <c:v>-1.2698719000000001</c:v>
                </c:pt>
                <c:pt idx="9564">
                  <c:v>-1.2705242000000001</c:v>
                </c:pt>
                <c:pt idx="9565">
                  <c:v>-1.2711759</c:v>
                </c:pt>
                <c:pt idx="9566">
                  <c:v>-1.2718275000000001</c:v>
                </c:pt>
                <c:pt idx="9567">
                  <c:v>-1.2724807</c:v>
                </c:pt>
                <c:pt idx="9568">
                  <c:v>-1.2731334999999999</c:v>
                </c:pt>
                <c:pt idx="9569">
                  <c:v>-1.2737856999999999</c:v>
                </c:pt>
                <c:pt idx="9570">
                  <c:v>-1.2744393000000001</c:v>
                </c:pt>
                <c:pt idx="9571">
                  <c:v>-1.2750922</c:v>
                </c:pt>
                <c:pt idx="9572">
                  <c:v>-1.2757461999999999</c:v>
                </c:pt>
                <c:pt idx="9573">
                  <c:v>-1.2764005</c:v>
                </c:pt>
                <c:pt idx="9574">
                  <c:v>-1.2770541</c:v>
                </c:pt>
                <c:pt idx="9575">
                  <c:v>-1.2777084999999999</c:v>
                </c:pt>
                <c:pt idx="9576">
                  <c:v>-1.2783639</c:v>
                </c:pt>
                <c:pt idx="9577">
                  <c:v>-1.2790188</c:v>
                </c:pt>
                <c:pt idx="9578">
                  <c:v>-1.2796746999999999</c:v>
                </c:pt>
                <c:pt idx="9579">
                  <c:v>-1.2803304</c:v>
                </c:pt>
                <c:pt idx="9580">
                  <c:v>-1.2809858000000001</c:v>
                </c:pt>
                <c:pt idx="9581">
                  <c:v>-1.2816425</c:v>
                </c:pt>
                <c:pt idx="9582">
                  <c:v>-1.2822975000000001</c:v>
                </c:pt>
                <c:pt idx="9583">
                  <c:v>-1.2829556</c:v>
                </c:pt>
                <c:pt idx="9584">
                  <c:v>-1.2836133999999999</c:v>
                </c:pt>
                <c:pt idx="9585">
                  <c:v>-1.2842690000000001</c:v>
                </c:pt>
                <c:pt idx="9586">
                  <c:v>-1.2849280000000001</c:v>
                </c:pt>
                <c:pt idx="9587">
                  <c:v>-1.2855848000000001</c:v>
                </c:pt>
                <c:pt idx="9588">
                  <c:v>-1.2862442000000001</c:v>
                </c:pt>
                <c:pt idx="9589">
                  <c:v>-1.2869021</c:v>
                </c:pt>
                <c:pt idx="9590">
                  <c:v>-1.2875607</c:v>
                </c:pt>
                <c:pt idx="9591">
                  <c:v>-1.2882193</c:v>
                </c:pt>
                <c:pt idx="9592">
                  <c:v>-1.2888790000000001</c:v>
                </c:pt>
                <c:pt idx="9593">
                  <c:v>-1.2895382</c:v>
                </c:pt>
                <c:pt idx="9594">
                  <c:v>-1.2901982999999999</c:v>
                </c:pt>
                <c:pt idx="9595">
                  <c:v>-1.2908575</c:v>
                </c:pt>
                <c:pt idx="9596">
                  <c:v>-1.2915188</c:v>
                </c:pt>
                <c:pt idx="9597">
                  <c:v>-1.2921788999999999</c:v>
                </c:pt>
                <c:pt idx="9598">
                  <c:v>-1.2928409000000001</c:v>
                </c:pt>
                <c:pt idx="9599">
                  <c:v>-1.2935021</c:v>
                </c:pt>
                <c:pt idx="9600">
                  <c:v>-1.2941636999999999</c:v>
                </c:pt>
                <c:pt idx="9601">
                  <c:v>-1.2948249000000001</c:v>
                </c:pt>
                <c:pt idx="9602">
                  <c:v>-1.2954870000000001</c:v>
                </c:pt>
                <c:pt idx="9603">
                  <c:v>-1.2961491999999999</c:v>
                </c:pt>
                <c:pt idx="9604">
                  <c:v>-1.2968120000000001</c:v>
                </c:pt>
                <c:pt idx="9605">
                  <c:v>-1.2974741999999999</c:v>
                </c:pt>
                <c:pt idx="9606">
                  <c:v>-1.298138</c:v>
                </c:pt>
                <c:pt idx="9607">
                  <c:v>-1.2988012</c:v>
                </c:pt>
                <c:pt idx="9608">
                  <c:v>-1.2994663</c:v>
                </c:pt>
                <c:pt idx="9609">
                  <c:v>-1.3001294999999999</c:v>
                </c:pt>
                <c:pt idx="9610">
                  <c:v>-1.3007937000000001</c:v>
                </c:pt>
                <c:pt idx="9611">
                  <c:v>-1.3014584</c:v>
                </c:pt>
                <c:pt idx="9612">
                  <c:v>-1.3021227</c:v>
                </c:pt>
                <c:pt idx="9613">
                  <c:v>-1.3027880999999999</c:v>
                </c:pt>
                <c:pt idx="9614">
                  <c:v>-1.3034535</c:v>
                </c:pt>
                <c:pt idx="9615">
                  <c:v>-1.3041199999999999</c:v>
                </c:pt>
                <c:pt idx="9616">
                  <c:v>-1.3047864</c:v>
                </c:pt>
                <c:pt idx="9617">
                  <c:v>-1.3054513999999999</c:v>
                </c:pt>
                <c:pt idx="9618">
                  <c:v>-1.3061183999999999</c:v>
                </c:pt>
                <c:pt idx="9619">
                  <c:v>-1.3067846999999999</c:v>
                </c:pt>
                <c:pt idx="9620">
                  <c:v>-1.3074526</c:v>
                </c:pt>
                <c:pt idx="9621">
                  <c:v>-1.308119</c:v>
                </c:pt>
                <c:pt idx="9622">
                  <c:v>-1.3087872</c:v>
                </c:pt>
                <c:pt idx="9623">
                  <c:v>-1.3094543999999999</c:v>
                </c:pt>
                <c:pt idx="9624">
                  <c:v>-1.3101229999999999</c:v>
                </c:pt>
                <c:pt idx="9625">
                  <c:v>-1.3107926000000001</c:v>
                </c:pt>
                <c:pt idx="9626">
                  <c:v>-1.3114614</c:v>
                </c:pt>
                <c:pt idx="9627">
                  <c:v>-1.3121303</c:v>
                </c:pt>
                <c:pt idx="9628">
                  <c:v>-1.312799</c:v>
                </c:pt>
                <c:pt idx="9629">
                  <c:v>-1.3134679</c:v>
                </c:pt>
                <c:pt idx="9630">
                  <c:v>-1.3141396999999999</c:v>
                </c:pt>
                <c:pt idx="9631">
                  <c:v>-1.3148082999999999</c:v>
                </c:pt>
                <c:pt idx="9632">
                  <c:v>-1.3154792</c:v>
                </c:pt>
                <c:pt idx="9633">
                  <c:v>-1.3161505</c:v>
                </c:pt>
                <c:pt idx="9634">
                  <c:v>-1.3168200999999999</c:v>
                </c:pt>
                <c:pt idx="9635">
                  <c:v>-1.3174919</c:v>
                </c:pt>
                <c:pt idx="9636">
                  <c:v>-1.3181647000000001</c:v>
                </c:pt>
                <c:pt idx="9637">
                  <c:v>-1.3188365</c:v>
                </c:pt>
                <c:pt idx="9638">
                  <c:v>-1.3195085</c:v>
                </c:pt>
                <c:pt idx="9639">
                  <c:v>-1.3201803000000001</c:v>
                </c:pt>
                <c:pt idx="9640">
                  <c:v>-1.3208533</c:v>
                </c:pt>
                <c:pt idx="9641">
                  <c:v>-1.3215269999999999</c:v>
                </c:pt>
                <c:pt idx="9642">
                  <c:v>-1.3221997999999999</c:v>
                </c:pt>
                <c:pt idx="9643">
                  <c:v>-1.3228735</c:v>
                </c:pt>
                <c:pt idx="9644">
                  <c:v>-1.3235478000000001</c:v>
                </c:pt>
                <c:pt idx="9645">
                  <c:v>-1.3242213</c:v>
                </c:pt>
                <c:pt idx="9646">
                  <c:v>-1.3248958</c:v>
                </c:pt>
                <c:pt idx="9647">
                  <c:v>-1.3255707000000001</c:v>
                </c:pt>
                <c:pt idx="9648">
                  <c:v>-1.3262468000000001</c:v>
                </c:pt>
                <c:pt idx="9649">
                  <c:v>-1.3269211000000001</c:v>
                </c:pt>
                <c:pt idx="9650">
                  <c:v>-1.3275971</c:v>
                </c:pt>
                <c:pt idx="9651">
                  <c:v>-1.3282721</c:v>
                </c:pt>
                <c:pt idx="9652">
                  <c:v>-1.3289485999999999</c:v>
                </c:pt>
                <c:pt idx="9653">
                  <c:v>-1.3296258000000001</c:v>
                </c:pt>
                <c:pt idx="9654">
                  <c:v>-1.3303016999999999</c:v>
                </c:pt>
                <c:pt idx="9655">
                  <c:v>-1.3309789999999999</c:v>
                </c:pt>
                <c:pt idx="9656">
                  <c:v>-1.3316568</c:v>
                </c:pt>
                <c:pt idx="9657">
                  <c:v>-1.3323339999999999</c:v>
                </c:pt>
                <c:pt idx="9658">
                  <c:v>-1.3330116000000001</c:v>
                </c:pt>
                <c:pt idx="9659">
                  <c:v>-1.3336897000000001</c:v>
                </c:pt>
                <c:pt idx="9660">
                  <c:v>-1.3343700000000001</c:v>
                </c:pt>
                <c:pt idx="9661">
                  <c:v>-1.3350474000000001</c:v>
                </c:pt>
                <c:pt idx="9662">
                  <c:v>-1.3357265</c:v>
                </c:pt>
                <c:pt idx="9663">
                  <c:v>-1.3364050999999999</c:v>
                </c:pt>
                <c:pt idx="9664">
                  <c:v>-1.3370842000000001</c:v>
                </c:pt>
                <c:pt idx="9665">
                  <c:v>-1.3377648</c:v>
                </c:pt>
                <c:pt idx="9666">
                  <c:v>-1.3384453000000001</c:v>
                </c:pt>
                <c:pt idx="9667">
                  <c:v>-1.3391257999999999</c:v>
                </c:pt>
                <c:pt idx="9668">
                  <c:v>-1.3398068000000001</c:v>
                </c:pt>
                <c:pt idx="9669">
                  <c:v>-1.3404883999999999</c:v>
                </c:pt>
                <c:pt idx="9670">
                  <c:v>-1.3411687999999999</c:v>
                </c:pt>
                <c:pt idx="9671">
                  <c:v>-1.3418517000000001</c:v>
                </c:pt>
                <c:pt idx="9672">
                  <c:v>-1.3425324000000001</c:v>
                </c:pt>
                <c:pt idx="9673">
                  <c:v>-1.3432143000000001</c:v>
                </c:pt>
                <c:pt idx="9674">
                  <c:v>-1.3438972</c:v>
                </c:pt>
                <c:pt idx="9675">
                  <c:v>-1.3445800999999999</c:v>
                </c:pt>
                <c:pt idx="9676">
                  <c:v>-1.3452634999999999</c:v>
                </c:pt>
                <c:pt idx="9677">
                  <c:v>-1.3459466</c:v>
                </c:pt>
                <c:pt idx="9678">
                  <c:v>-1.3466309000000001</c:v>
                </c:pt>
                <c:pt idx="9679">
                  <c:v>-1.3473143999999999</c:v>
                </c:pt>
                <c:pt idx="9680">
                  <c:v>-1.3479973999999999</c:v>
                </c:pt>
                <c:pt idx="9681">
                  <c:v>-1.3486826999999999</c:v>
                </c:pt>
                <c:pt idx="9682">
                  <c:v>-1.3493676999999999</c:v>
                </c:pt>
                <c:pt idx="9683">
                  <c:v>-1.3500521000000001</c:v>
                </c:pt>
                <c:pt idx="9684">
                  <c:v>-1.350738</c:v>
                </c:pt>
                <c:pt idx="9685">
                  <c:v>-1.3514229</c:v>
                </c:pt>
                <c:pt idx="9686">
                  <c:v>-1.3521094</c:v>
                </c:pt>
                <c:pt idx="9687">
                  <c:v>-1.3527944000000001</c:v>
                </c:pt>
                <c:pt idx="9688">
                  <c:v>-1.3534824000000001</c:v>
                </c:pt>
                <c:pt idx="9689">
                  <c:v>-1.354168</c:v>
                </c:pt>
                <c:pt idx="9690">
                  <c:v>-1.3548548</c:v>
                </c:pt>
                <c:pt idx="9691">
                  <c:v>-1.3555435</c:v>
                </c:pt>
                <c:pt idx="9692">
                  <c:v>-1.3562308999999999</c:v>
                </c:pt>
                <c:pt idx="9693">
                  <c:v>-1.3569192000000001</c:v>
                </c:pt>
                <c:pt idx="9694">
                  <c:v>-1.3576062</c:v>
                </c:pt>
                <c:pt idx="9695">
                  <c:v>-1.3582958000000001</c:v>
                </c:pt>
                <c:pt idx="9696">
                  <c:v>-1.3589846000000001</c:v>
                </c:pt>
                <c:pt idx="9697">
                  <c:v>-1.3596744999999999</c:v>
                </c:pt>
                <c:pt idx="9698">
                  <c:v>-1.3603637</c:v>
                </c:pt>
                <c:pt idx="9699">
                  <c:v>-1.3610536</c:v>
                </c:pt>
                <c:pt idx="9700">
                  <c:v>-1.3617429000000001</c:v>
                </c:pt>
                <c:pt idx="9701">
                  <c:v>-1.3624334</c:v>
                </c:pt>
                <c:pt idx="9702">
                  <c:v>-1.3631245999999999</c:v>
                </c:pt>
                <c:pt idx="9703">
                  <c:v>-1.3638159000000001</c:v>
                </c:pt>
                <c:pt idx="9704">
                  <c:v>-1.3645058999999999</c:v>
                </c:pt>
                <c:pt idx="9705">
                  <c:v>-1.3651975000000001</c:v>
                </c:pt>
                <c:pt idx="9706">
                  <c:v>-1.3658885000000001</c:v>
                </c:pt>
                <c:pt idx="9707">
                  <c:v>-1.366581</c:v>
                </c:pt>
                <c:pt idx="9708">
                  <c:v>-1.3672734</c:v>
                </c:pt>
                <c:pt idx="9709">
                  <c:v>-1.3679665000000001</c:v>
                </c:pt>
                <c:pt idx="9710">
                  <c:v>-1.3686597</c:v>
                </c:pt>
                <c:pt idx="9711">
                  <c:v>-1.3693521</c:v>
                </c:pt>
                <c:pt idx="9712">
                  <c:v>-1.3700458</c:v>
                </c:pt>
                <c:pt idx="9713">
                  <c:v>-1.3707399</c:v>
                </c:pt>
                <c:pt idx="9714">
                  <c:v>-1.3714345999999999</c:v>
                </c:pt>
                <c:pt idx="9715">
                  <c:v>-1.3721288</c:v>
                </c:pt>
                <c:pt idx="9716">
                  <c:v>-1.3728225999999999</c:v>
                </c:pt>
                <c:pt idx="9717">
                  <c:v>-1.3735179</c:v>
                </c:pt>
                <c:pt idx="9718">
                  <c:v>-1.3742141999999999</c:v>
                </c:pt>
                <c:pt idx="9719">
                  <c:v>-1.3749099</c:v>
                </c:pt>
                <c:pt idx="9720">
                  <c:v>-1.3756048000000001</c:v>
                </c:pt>
                <c:pt idx="9721">
                  <c:v>-1.3763012999999999</c:v>
                </c:pt>
                <c:pt idx="9722">
                  <c:v>-1.3769967999999999</c:v>
                </c:pt>
                <c:pt idx="9723">
                  <c:v>-1.3776934000000001</c:v>
                </c:pt>
                <c:pt idx="9724">
                  <c:v>-1.3783907</c:v>
                </c:pt>
                <c:pt idx="9725">
                  <c:v>-1.3790887000000001</c:v>
                </c:pt>
                <c:pt idx="9726">
                  <c:v>-1.3797851999999999</c:v>
                </c:pt>
                <c:pt idx="9727">
                  <c:v>-1.3804846</c:v>
                </c:pt>
                <c:pt idx="9728">
                  <c:v>-1.3811831000000001</c:v>
                </c:pt>
                <c:pt idx="9729">
                  <c:v>-1.3818813999999999</c:v>
                </c:pt>
                <c:pt idx="9730">
                  <c:v>-1.3825803999999999</c:v>
                </c:pt>
                <c:pt idx="9731">
                  <c:v>-1.3832791</c:v>
                </c:pt>
                <c:pt idx="9732">
                  <c:v>-1.3839792</c:v>
                </c:pt>
                <c:pt idx="9733">
                  <c:v>-1.3846780000000001</c:v>
                </c:pt>
                <c:pt idx="9734">
                  <c:v>-1.3853795</c:v>
                </c:pt>
                <c:pt idx="9735">
                  <c:v>-1.3860787000000001</c:v>
                </c:pt>
                <c:pt idx="9736">
                  <c:v>-1.386779</c:v>
                </c:pt>
                <c:pt idx="9737">
                  <c:v>-1.38748</c:v>
                </c:pt>
                <c:pt idx="9738">
                  <c:v>-1.3881813000000001</c:v>
                </c:pt>
                <c:pt idx="9739">
                  <c:v>-1.3888822999999999</c:v>
                </c:pt>
                <c:pt idx="9740">
                  <c:v>-1.3895850000000001</c:v>
                </c:pt>
                <c:pt idx="9741">
                  <c:v>-1.3902871000000001</c:v>
                </c:pt>
                <c:pt idx="9742">
                  <c:v>-1.3909891999999999</c:v>
                </c:pt>
                <c:pt idx="9743">
                  <c:v>-1.3916919999999999</c:v>
                </c:pt>
                <c:pt idx="9744">
                  <c:v>-1.3923947000000001</c:v>
                </c:pt>
                <c:pt idx="9745">
                  <c:v>-1.3930978000000001</c:v>
                </c:pt>
                <c:pt idx="9746">
                  <c:v>-1.3938018999999999</c:v>
                </c:pt>
                <c:pt idx="9747">
                  <c:v>-1.3945055</c:v>
                </c:pt>
                <c:pt idx="9748">
                  <c:v>-1.3952106</c:v>
                </c:pt>
                <c:pt idx="9749">
                  <c:v>-1.3959132000000001</c:v>
                </c:pt>
                <c:pt idx="9750">
                  <c:v>-1.3966193</c:v>
                </c:pt>
                <c:pt idx="9751">
                  <c:v>-1.3973232</c:v>
                </c:pt>
                <c:pt idx="9752">
                  <c:v>-1.3980288999999999</c:v>
                </c:pt>
                <c:pt idx="9753">
                  <c:v>-1.3987349</c:v>
                </c:pt>
                <c:pt idx="9754">
                  <c:v>-1.3994407</c:v>
                </c:pt>
                <c:pt idx="9755">
                  <c:v>-1.4001475999999999</c:v>
                </c:pt>
                <c:pt idx="9756">
                  <c:v>-1.4008541000000001</c:v>
                </c:pt>
                <c:pt idx="9757">
                  <c:v>-1.4015601</c:v>
                </c:pt>
                <c:pt idx="9758">
                  <c:v>-1.4022676000000001</c:v>
                </c:pt>
                <c:pt idx="9759">
                  <c:v>-1.4029753</c:v>
                </c:pt>
                <c:pt idx="9760">
                  <c:v>-1.4036824999999999</c:v>
                </c:pt>
                <c:pt idx="9761">
                  <c:v>-1.4043914</c:v>
                </c:pt>
                <c:pt idx="9762">
                  <c:v>-1.4050996</c:v>
                </c:pt>
                <c:pt idx="9763">
                  <c:v>-1.4058084</c:v>
                </c:pt>
                <c:pt idx="9764">
                  <c:v>-1.4065162</c:v>
                </c:pt>
                <c:pt idx="9765">
                  <c:v>-1.4072259</c:v>
                </c:pt>
                <c:pt idx="9766">
                  <c:v>-1.4079352000000001</c:v>
                </c:pt>
                <c:pt idx="9767">
                  <c:v>-1.4086452</c:v>
                </c:pt>
                <c:pt idx="9768">
                  <c:v>-1.4093555</c:v>
                </c:pt>
                <c:pt idx="9769">
                  <c:v>-1.4100661999999999</c:v>
                </c:pt>
                <c:pt idx="9770">
                  <c:v>-1.4107764</c:v>
                </c:pt>
                <c:pt idx="9771">
                  <c:v>-1.4114873999999999</c:v>
                </c:pt>
                <c:pt idx="9772">
                  <c:v>-1.4121984000000001</c:v>
                </c:pt>
                <c:pt idx="9773">
                  <c:v>-1.4129109</c:v>
                </c:pt>
                <c:pt idx="9774">
                  <c:v>-1.4136226000000001</c:v>
                </c:pt>
                <c:pt idx="9775">
                  <c:v>-1.4143352</c:v>
                </c:pt>
                <c:pt idx="9776">
                  <c:v>-1.4150476999999999</c:v>
                </c:pt>
                <c:pt idx="9777">
                  <c:v>-1.4157609</c:v>
                </c:pt>
                <c:pt idx="9778">
                  <c:v>-1.4164737000000001</c:v>
                </c:pt>
                <c:pt idx="9779">
                  <c:v>-1.4171875</c:v>
                </c:pt>
                <c:pt idx="9780">
                  <c:v>-1.4179009</c:v>
                </c:pt>
                <c:pt idx="9781">
                  <c:v>-1.4186151</c:v>
                </c:pt>
                <c:pt idx="9782">
                  <c:v>-1.4193294999999999</c:v>
                </c:pt>
                <c:pt idx="9783">
                  <c:v>-1.4200436999999999</c:v>
                </c:pt>
                <c:pt idx="9784">
                  <c:v>-1.4207590000000001</c:v>
                </c:pt>
                <c:pt idx="9785">
                  <c:v>-1.4214749</c:v>
                </c:pt>
                <c:pt idx="9786">
                  <c:v>-1.4221896000000001</c:v>
                </c:pt>
                <c:pt idx="9787">
                  <c:v>-1.4229049</c:v>
                </c:pt>
                <c:pt idx="9788">
                  <c:v>-1.4236226000000001</c:v>
                </c:pt>
                <c:pt idx="9789">
                  <c:v>-1.4243383999999999</c:v>
                </c:pt>
                <c:pt idx="9790">
                  <c:v>-1.4250551</c:v>
                </c:pt>
                <c:pt idx="9791">
                  <c:v>-1.4257724000000001</c:v>
                </c:pt>
                <c:pt idx="9792">
                  <c:v>-1.4264893000000001</c:v>
                </c:pt>
                <c:pt idx="9793">
                  <c:v>-1.4272066999999999</c:v>
                </c:pt>
                <c:pt idx="9794">
                  <c:v>-1.4279245</c:v>
                </c:pt>
                <c:pt idx="9795">
                  <c:v>-1.4286429</c:v>
                </c:pt>
                <c:pt idx="9796">
                  <c:v>-1.4293629999999999</c:v>
                </c:pt>
                <c:pt idx="9797">
                  <c:v>-1.4300812000000001</c:v>
                </c:pt>
                <c:pt idx="9798">
                  <c:v>-1.4307999</c:v>
                </c:pt>
                <c:pt idx="9799">
                  <c:v>-1.4315202</c:v>
                </c:pt>
                <c:pt idx="9800">
                  <c:v>-1.4322394000000001</c:v>
                </c:pt>
                <c:pt idx="9801">
                  <c:v>-1.4329590999999999</c:v>
                </c:pt>
                <c:pt idx="9802">
                  <c:v>-1.4336796999999999</c:v>
                </c:pt>
                <c:pt idx="9803">
                  <c:v>-1.4344014</c:v>
                </c:pt>
                <c:pt idx="9804">
                  <c:v>-1.4351217999999999</c:v>
                </c:pt>
                <c:pt idx="9805">
                  <c:v>-1.4358427</c:v>
                </c:pt>
                <c:pt idx="9806">
                  <c:v>-1.4365653</c:v>
                </c:pt>
                <c:pt idx="9807">
                  <c:v>-1.4372872000000001</c:v>
                </c:pt>
                <c:pt idx="9808">
                  <c:v>-1.4380096</c:v>
                </c:pt>
                <c:pt idx="9809">
                  <c:v>-1.4387316999999999</c:v>
                </c:pt>
                <c:pt idx="9810">
                  <c:v>-1.4394551</c:v>
                </c:pt>
                <c:pt idx="9811">
                  <c:v>-1.4401778000000001</c:v>
                </c:pt>
                <c:pt idx="9812">
                  <c:v>-1.440901</c:v>
                </c:pt>
                <c:pt idx="9813">
                  <c:v>-1.4416251</c:v>
                </c:pt>
                <c:pt idx="9814">
                  <c:v>-1.4423488</c:v>
                </c:pt>
                <c:pt idx="9815">
                  <c:v>-1.4430731000000001</c:v>
                </c:pt>
                <c:pt idx="9816">
                  <c:v>-1.4437987000000001</c:v>
                </c:pt>
                <c:pt idx="9817">
                  <c:v>-1.4445235999999999</c:v>
                </c:pt>
                <c:pt idx="9818">
                  <c:v>-1.4452484000000001</c:v>
                </c:pt>
                <c:pt idx="9819">
                  <c:v>-1.4459735</c:v>
                </c:pt>
                <c:pt idx="9820">
                  <c:v>-1.4466999</c:v>
                </c:pt>
                <c:pt idx="9821">
                  <c:v>-1.4474260000000001</c:v>
                </c:pt>
                <c:pt idx="9822">
                  <c:v>-1.4481537</c:v>
                </c:pt>
                <c:pt idx="9823">
                  <c:v>-1.4488799999999999</c:v>
                </c:pt>
                <c:pt idx="9824">
                  <c:v>-1.4496066999999999</c:v>
                </c:pt>
                <c:pt idx="9825">
                  <c:v>-1.4503352</c:v>
                </c:pt>
                <c:pt idx="9826">
                  <c:v>-1.4510620999999999</c:v>
                </c:pt>
                <c:pt idx="9827">
                  <c:v>-1.4517895000000001</c:v>
                </c:pt>
                <c:pt idx="9828">
                  <c:v>-1.4525186999999999</c:v>
                </c:pt>
                <c:pt idx="9829">
                  <c:v>-1.4532484000000001</c:v>
                </c:pt>
                <c:pt idx="9830">
                  <c:v>-1.4539769</c:v>
                </c:pt>
                <c:pt idx="9831">
                  <c:v>-1.4547063</c:v>
                </c:pt>
                <c:pt idx="9832">
                  <c:v>-1.4554362999999999</c:v>
                </c:pt>
                <c:pt idx="9833">
                  <c:v>-1.4561663</c:v>
                </c:pt>
                <c:pt idx="9834">
                  <c:v>-1.4568961</c:v>
                </c:pt>
                <c:pt idx="9835">
                  <c:v>-1.4576267000000001</c:v>
                </c:pt>
                <c:pt idx="9836">
                  <c:v>-1.4583577999999999</c:v>
                </c:pt>
                <c:pt idx="9837">
                  <c:v>-1.4590878</c:v>
                </c:pt>
                <c:pt idx="9838">
                  <c:v>-1.4598199999999999</c:v>
                </c:pt>
                <c:pt idx="9839">
                  <c:v>-1.4605513000000001</c:v>
                </c:pt>
                <c:pt idx="9840">
                  <c:v>-1.4612845999999999</c:v>
                </c:pt>
                <c:pt idx="9841">
                  <c:v>-1.4620169999999999</c:v>
                </c:pt>
                <c:pt idx="9842">
                  <c:v>-1.4627490999999999</c:v>
                </c:pt>
                <c:pt idx="9843">
                  <c:v>-1.4634821</c:v>
                </c:pt>
                <c:pt idx="9844">
                  <c:v>-1.4642162000000001</c:v>
                </c:pt>
                <c:pt idx="9845">
                  <c:v>-1.4649494000000001</c:v>
                </c:pt>
                <c:pt idx="9846">
                  <c:v>-1.4656830999999999</c:v>
                </c:pt>
                <c:pt idx="9847">
                  <c:v>-1.4664178000000001</c:v>
                </c:pt>
                <c:pt idx="9848">
                  <c:v>-1.4671525999999999</c:v>
                </c:pt>
                <c:pt idx="9849">
                  <c:v>-1.4678874</c:v>
                </c:pt>
                <c:pt idx="9850">
                  <c:v>-1.4686231999999999</c:v>
                </c:pt>
                <c:pt idx="9851">
                  <c:v>-1.4693574</c:v>
                </c:pt>
                <c:pt idx="9852">
                  <c:v>-1.4700941000000001</c:v>
                </c:pt>
                <c:pt idx="9853">
                  <c:v>-1.4708289000000001</c:v>
                </c:pt>
                <c:pt idx="9854">
                  <c:v>-1.4715659000000001</c:v>
                </c:pt>
                <c:pt idx="9855">
                  <c:v>-1.4723029999999999</c:v>
                </c:pt>
                <c:pt idx="9856">
                  <c:v>-1.473041</c:v>
                </c:pt>
                <c:pt idx="9857">
                  <c:v>-1.4737773999999999</c:v>
                </c:pt>
                <c:pt idx="9858">
                  <c:v>-1.4745149</c:v>
                </c:pt>
                <c:pt idx="9859">
                  <c:v>-1.4752544000000001</c:v>
                </c:pt>
                <c:pt idx="9860">
                  <c:v>-1.475992</c:v>
                </c:pt>
                <c:pt idx="9861">
                  <c:v>-1.4767300000000001</c:v>
                </c:pt>
                <c:pt idx="9862">
                  <c:v>-1.4774689999999999</c:v>
                </c:pt>
                <c:pt idx="9863">
                  <c:v>-1.4782093999999999</c:v>
                </c:pt>
                <c:pt idx="9864">
                  <c:v>-1.4789481</c:v>
                </c:pt>
                <c:pt idx="9865">
                  <c:v>-1.4796883000000001</c:v>
                </c:pt>
                <c:pt idx="9866">
                  <c:v>-1.4804284000000001</c:v>
                </c:pt>
                <c:pt idx="9867">
                  <c:v>-1.4811688000000001</c:v>
                </c:pt>
                <c:pt idx="9868">
                  <c:v>-1.4819100999999999</c:v>
                </c:pt>
                <c:pt idx="9869">
                  <c:v>-1.4826509999999999</c:v>
                </c:pt>
                <c:pt idx="9870">
                  <c:v>-1.4833924000000001</c:v>
                </c:pt>
                <c:pt idx="9871">
                  <c:v>-1.4841344000000001</c:v>
                </c:pt>
                <c:pt idx="9872">
                  <c:v>-1.4848764000000001</c:v>
                </c:pt>
                <c:pt idx="9873">
                  <c:v>-1.4856186</c:v>
                </c:pt>
                <c:pt idx="9874">
                  <c:v>-1.4863607999999999</c:v>
                </c:pt>
                <c:pt idx="9875">
                  <c:v>-1.4871041</c:v>
                </c:pt>
                <c:pt idx="9876">
                  <c:v>-1.4878477000000001</c:v>
                </c:pt>
                <c:pt idx="9877">
                  <c:v>-1.4885915999999999</c:v>
                </c:pt>
                <c:pt idx="9878">
                  <c:v>-1.4893354000000001</c:v>
                </c:pt>
                <c:pt idx="9879">
                  <c:v>-1.4900803</c:v>
                </c:pt>
                <c:pt idx="9880">
                  <c:v>-1.4908239000000001</c:v>
                </c:pt>
                <c:pt idx="9881">
                  <c:v>-1.4915699</c:v>
                </c:pt>
                <c:pt idx="9882">
                  <c:v>-1.4923141</c:v>
                </c:pt>
                <c:pt idx="9883">
                  <c:v>-1.4930601999999999</c:v>
                </c:pt>
                <c:pt idx="9884">
                  <c:v>-1.4938062999999999</c:v>
                </c:pt>
                <c:pt idx="9885">
                  <c:v>-1.4945526</c:v>
                </c:pt>
                <c:pt idx="9886">
                  <c:v>-1.4952981000000001</c:v>
                </c:pt>
                <c:pt idx="9887">
                  <c:v>-1.4960454999999999</c:v>
                </c:pt>
                <c:pt idx="9888">
                  <c:v>-1.4967933</c:v>
                </c:pt>
                <c:pt idx="9889">
                  <c:v>-1.4975404000000001</c:v>
                </c:pt>
                <c:pt idx="9890">
                  <c:v>-1.4982880000000001</c:v>
                </c:pt>
                <c:pt idx="9891">
                  <c:v>-1.4990361000000001</c:v>
                </c:pt>
                <c:pt idx="9892">
                  <c:v>-1.4997844</c:v>
                </c:pt>
                <c:pt idx="9893">
                  <c:v>-1.5005331</c:v>
                </c:pt>
                <c:pt idx="9894">
                  <c:v>-1.5012833000000001</c:v>
                </c:pt>
                <c:pt idx="9895">
                  <c:v>-1.5020325999999999</c:v>
                </c:pt>
                <c:pt idx="9896">
                  <c:v>-1.5027817000000001</c:v>
                </c:pt>
                <c:pt idx="9897">
                  <c:v>-1.5035316999999999</c:v>
                </c:pt>
                <c:pt idx="9898">
                  <c:v>-1.5042827000000001</c:v>
                </c:pt>
                <c:pt idx="9899">
                  <c:v>-1.5050327999999999</c:v>
                </c:pt>
                <c:pt idx="9900">
                  <c:v>-1.5057826999999999</c:v>
                </c:pt>
                <c:pt idx="9901">
                  <c:v>-1.5065339</c:v>
                </c:pt>
                <c:pt idx="9902">
                  <c:v>-1.5072861</c:v>
                </c:pt>
                <c:pt idx="9903">
                  <c:v>-1.5080376</c:v>
                </c:pt>
                <c:pt idx="9904">
                  <c:v>-1.5087891</c:v>
                </c:pt>
                <c:pt idx="9905">
                  <c:v>-1.5095438000000001</c:v>
                </c:pt>
                <c:pt idx="9906">
                  <c:v>-1.5102955</c:v>
                </c:pt>
                <c:pt idx="9907">
                  <c:v>-1.5110482000000001</c:v>
                </c:pt>
                <c:pt idx="9908">
                  <c:v>-1.5118023</c:v>
                </c:pt>
                <c:pt idx="9909">
                  <c:v>-1.5125556</c:v>
                </c:pt>
                <c:pt idx="9910">
                  <c:v>-1.5133103000000001</c:v>
                </c:pt>
                <c:pt idx="9911">
                  <c:v>-1.5140647</c:v>
                </c:pt>
                <c:pt idx="9912">
                  <c:v>-1.5148192</c:v>
                </c:pt>
                <c:pt idx="9913">
                  <c:v>-1.5155746000000001</c:v>
                </c:pt>
                <c:pt idx="9914">
                  <c:v>-1.5163302000000001</c:v>
                </c:pt>
                <c:pt idx="9915">
                  <c:v>-1.5170862000000001</c:v>
                </c:pt>
                <c:pt idx="9916">
                  <c:v>-1.5178419999999999</c:v>
                </c:pt>
                <c:pt idx="9917">
                  <c:v>-1.5185987000000001</c:v>
                </c:pt>
                <c:pt idx="9918">
                  <c:v>-1.5193542</c:v>
                </c:pt>
                <c:pt idx="9919">
                  <c:v>-1.5201115999999999</c:v>
                </c:pt>
                <c:pt idx="9920">
                  <c:v>-1.5208702999999999</c:v>
                </c:pt>
                <c:pt idx="9921">
                  <c:v>-1.5216270000000001</c:v>
                </c:pt>
                <c:pt idx="9922">
                  <c:v>-1.5223854999999999</c:v>
                </c:pt>
                <c:pt idx="9923">
                  <c:v>-1.5231440999999999</c:v>
                </c:pt>
                <c:pt idx="9924">
                  <c:v>-1.5239031999999999</c:v>
                </c:pt>
                <c:pt idx="9925">
                  <c:v>-1.5246616</c:v>
                </c:pt>
                <c:pt idx="9926">
                  <c:v>-1.5254205000000001</c:v>
                </c:pt>
                <c:pt idx="9927">
                  <c:v>-1.5261807999999999</c:v>
                </c:pt>
                <c:pt idx="9928">
                  <c:v>-1.5269404</c:v>
                </c:pt>
                <c:pt idx="9929">
                  <c:v>-1.5277000000000001</c:v>
                </c:pt>
                <c:pt idx="9930">
                  <c:v>-1.5284610999999999</c:v>
                </c:pt>
                <c:pt idx="9931">
                  <c:v>-1.5292223</c:v>
                </c:pt>
                <c:pt idx="9932">
                  <c:v>-1.5299830999999999</c:v>
                </c:pt>
                <c:pt idx="9933">
                  <c:v>-1.5307440000000001</c:v>
                </c:pt>
                <c:pt idx="9934">
                  <c:v>-1.5315068000000001</c:v>
                </c:pt>
                <c:pt idx="9935">
                  <c:v>-1.5322692</c:v>
                </c:pt>
                <c:pt idx="9936">
                  <c:v>-1.5330322000000001</c:v>
                </c:pt>
                <c:pt idx="9937">
                  <c:v>-1.5337940000000001</c:v>
                </c:pt>
                <c:pt idx="9938">
                  <c:v>-1.5345567</c:v>
                </c:pt>
                <c:pt idx="9939">
                  <c:v>-1.5353209000000001</c:v>
                </c:pt>
                <c:pt idx="9940">
                  <c:v>-1.5360847</c:v>
                </c:pt>
                <c:pt idx="9941">
                  <c:v>-1.5368482000000001</c:v>
                </c:pt>
                <c:pt idx="9942">
                  <c:v>-1.537614</c:v>
                </c:pt>
                <c:pt idx="9943">
                  <c:v>-1.5383789999999999</c:v>
                </c:pt>
                <c:pt idx="9944">
                  <c:v>-1.5391436999999999</c:v>
                </c:pt>
                <c:pt idx="9945">
                  <c:v>-1.5399084000000001</c:v>
                </c:pt>
                <c:pt idx="9946">
                  <c:v>-1.5406742</c:v>
                </c:pt>
                <c:pt idx="9947">
                  <c:v>-1.5414395999999999</c:v>
                </c:pt>
                <c:pt idx="9948">
                  <c:v>-1.5422065</c:v>
                </c:pt>
                <c:pt idx="9949">
                  <c:v>-1.5429739</c:v>
                </c:pt>
                <c:pt idx="9950">
                  <c:v>-1.5437409</c:v>
                </c:pt>
                <c:pt idx="9951">
                  <c:v>-1.5445093999999999</c:v>
                </c:pt>
                <c:pt idx="9952">
                  <c:v>-1.5452752999999999</c:v>
                </c:pt>
                <c:pt idx="9953">
                  <c:v>-1.5460430999999999</c:v>
                </c:pt>
                <c:pt idx="9954">
                  <c:v>-1.5468119</c:v>
                </c:pt>
                <c:pt idx="9955">
                  <c:v>-1.5475813</c:v>
                </c:pt>
                <c:pt idx="9956">
                  <c:v>-1.548349</c:v>
                </c:pt>
                <c:pt idx="9957">
                  <c:v>-1.5491193999999999</c:v>
                </c:pt>
                <c:pt idx="9958">
                  <c:v>-1.5498894999999999</c:v>
                </c:pt>
                <c:pt idx="9959">
                  <c:v>-1.5506591999999999</c:v>
                </c:pt>
                <c:pt idx="9960">
                  <c:v>-1.5514291</c:v>
                </c:pt>
                <c:pt idx="9961">
                  <c:v>-1.5521999</c:v>
                </c:pt>
                <c:pt idx="9962">
                  <c:v>-1.5529713000000001</c:v>
                </c:pt>
                <c:pt idx="9963">
                  <c:v>-1.5537428</c:v>
                </c:pt>
                <c:pt idx="9964">
                  <c:v>-1.554514</c:v>
                </c:pt>
                <c:pt idx="9965">
                  <c:v>-1.5552862000000001</c:v>
                </c:pt>
                <c:pt idx="9966">
                  <c:v>-1.5560589</c:v>
                </c:pt>
                <c:pt idx="9967">
                  <c:v>-1.5568308</c:v>
                </c:pt>
                <c:pt idx="9968">
                  <c:v>-1.5576049999999999</c:v>
                </c:pt>
                <c:pt idx="9969">
                  <c:v>-1.5583768</c:v>
                </c:pt>
                <c:pt idx="9970">
                  <c:v>-1.5591508000000001</c:v>
                </c:pt>
                <c:pt idx="9971">
                  <c:v>-1.5599236000000001</c:v>
                </c:pt>
                <c:pt idx="9972">
                  <c:v>-1.5606992</c:v>
                </c:pt>
                <c:pt idx="9973">
                  <c:v>-1.5614739</c:v>
                </c:pt>
                <c:pt idx="9974">
                  <c:v>-1.5622484000000001</c:v>
                </c:pt>
                <c:pt idx="9975">
                  <c:v>-1.5630242999999999</c:v>
                </c:pt>
                <c:pt idx="9976">
                  <c:v>-1.5637999</c:v>
                </c:pt>
                <c:pt idx="9977">
                  <c:v>-1.5645746</c:v>
                </c:pt>
                <c:pt idx="9978">
                  <c:v>-1.5653516999999999</c:v>
                </c:pt>
                <c:pt idx="9979">
                  <c:v>-1.5661276</c:v>
                </c:pt>
                <c:pt idx="9980">
                  <c:v>-1.566905</c:v>
                </c:pt>
                <c:pt idx="9981">
                  <c:v>-1.5676824</c:v>
                </c:pt>
                <c:pt idx="9982">
                  <c:v>-1.5684604</c:v>
                </c:pt>
                <c:pt idx="9983">
                  <c:v>-1.5692375999999999</c:v>
                </c:pt>
                <c:pt idx="9984">
                  <c:v>-1.5700163</c:v>
                </c:pt>
                <c:pt idx="9985">
                  <c:v>-1.5707945999999999</c:v>
                </c:pt>
                <c:pt idx="9986">
                  <c:v>-1.5715730000000001</c:v>
                </c:pt>
                <c:pt idx="9987">
                  <c:v>-1.5723524</c:v>
                </c:pt>
                <c:pt idx="9988">
                  <c:v>-1.5731324</c:v>
                </c:pt>
                <c:pt idx="9989">
                  <c:v>-1.5739116</c:v>
                </c:pt>
                <c:pt idx="9990">
                  <c:v>-1.5746918999999999</c:v>
                </c:pt>
                <c:pt idx="9991">
                  <c:v>-1.5754731</c:v>
                </c:pt>
                <c:pt idx="9992">
                  <c:v>-1.5762539</c:v>
                </c:pt>
                <c:pt idx="9993">
                  <c:v>-1.5770341000000001</c:v>
                </c:pt>
                <c:pt idx="9994">
                  <c:v>-1.5778169</c:v>
                </c:pt>
                <c:pt idx="9995">
                  <c:v>-1.5785982000000001</c:v>
                </c:pt>
                <c:pt idx="9996">
                  <c:v>-1.5793798999999999</c:v>
                </c:pt>
                <c:pt idx="9997">
                  <c:v>-1.5801635999999999</c:v>
                </c:pt>
                <c:pt idx="9998">
                  <c:v>-1.5809451999999999</c:v>
                </c:pt>
                <c:pt idx="9999">
                  <c:v>-1.5817289999999999</c:v>
                </c:pt>
                <c:pt idx="10000">
                  <c:v>-1.5825138999999999</c:v>
                </c:pt>
              </c:numCache>
            </c:numRef>
          </c:yVal>
          <c:smooth val="1"/>
          <c:extLst>
            <c:ext xmlns:c16="http://schemas.microsoft.com/office/drawing/2014/chart" uri="{C3380CC4-5D6E-409C-BE32-E72D297353CC}">
              <c16:uniqueId val="{00000000-1146-4EBD-9776-F70A54283E20}"/>
            </c:ext>
          </c:extLst>
        </c:ser>
        <c:ser>
          <c:idx val="1"/>
          <c:order val="1"/>
          <c:tx>
            <c:v>Transmission</c:v>
          </c:tx>
          <c:spPr>
            <a:ln w="25400">
              <a:solidFill>
                <a:srgbClr val="FF0000"/>
              </a:solidFill>
            </a:ln>
          </c:spPr>
          <c:marker>
            <c:symbol val="none"/>
          </c:marker>
          <c:xVal>
            <c:numRef>
              <c:f>data_Spara2!$B$10007:$B$20007</c:f>
              <c:numCache>
                <c:formatCode>General</c:formatCode>
                <c:ptCount val="10001"/>
                <c:pt idx="0">
                  <c:v>2</c:v>
                </c:pt>
                <c:pt idx="1">
                  <c:v>2.0001997999999999</c:v>
                </c:pt>
                <c:pt idx="2">
                  <c:v>2.0003997999999998</c:v>
                </c:pt>
                <c:pt idx="3">
                  <c:v>2.0006001000000002</c:v>
                </c:pt>
                <c:pt idx="4">
                  <c:v>2.0007999000000001</c:v>
                </c:pt>
                <c:pt idx="5">
                  <c:v>2.0009999000000001</c:v>
                </c:pt>
                <c:pt idx="6">
                  <c:v>2.0011999999999999</c:v>
                </c:pt>
                <c:pt idx="7">
                  <c:v>2.0013999999999998</c:v>
                </c:pt>
                <c:pt idx="8">
                  <c:v>2.0015999999999998</c:v>
                </c:pt>
                <c:pt idx="9">
                  <c:v>2.0017998000000001</c:v>
                </c:pt>
                <c:pt idx="10">
                  <c:v>2.0019998999999999</c:v>
                </c:pt>
                <c:pt idx="11">
                  <c:v>2.0021998999999999</c:v>
                </c:pt>
                <c:pt idx="12">
                  <c:v>2.0023998999999999</c:v>
                </c:pt>
                <c:pt idx="13">
                  <c:v>2.0026000000000002</c:v>
                </c:pt>
                <c:pt idx="14">
                  <c:v>2.0028000000000001</c:v>
                </c:pt>
                <c:pt idx="15">
                  <c:v>2.0030000000000001</c:v>
                </c:pt>
                <c:pt idx="16">
                  <c:v>2.0032000999999999</c:v>
                </c:pt>
                <c:pt idx="17">
                  <c:v>2.0033998</c:v>
                </c:pt>
                <c:pt idx="18">
                  <c:v>2.0035999000000002</c:v>
                </c:pt>
                <c:pt idx="19">
                  <c:v>2.0037999000000002</c:v>
                </c:pt>
                <c:pt idx="20">
                  <c:v>2.0039999000000002</c:v>
                </c:pt>
                <c:pt idx="21">
                  <c:v>2.0042</c:v>
                </c:pt>
                <c:pt idx="22">
                  <c:v>2.0044</c:v>
                </c:pt>
                <c:pt idx="23">
                  <c:v>2.0045999999999999</c:v>
                </c:pt>
                <c:pt idx="24">
                  <c:v>2.0047997999999998</c:v>
                </c:pt>
                <c:pt idx="25">
                  <c:v>2.0049999000000001</c:v>
                </c:pt>
                <c:pt idx="26">
                  <c:v>2.0051999</c:v>
                </c:pt>
                <c:pt idx="27">
                  <c:v>2.0053999</c:v>
                </c:pt>
                <c:pt idx="28">
                  <c:v>2.0055999999999998</c:v>
                </c:pt>
                <c:pt idx="29">
                  <c:v>2.0057998000000001</c:v>
                </c:pt>
                <c:pt idx="30">
                  <c:v>2.0059999999999998</c:v>
                </c:pt>
                <c:pt idx="31">
                  <c:v>2.0062001</c:v>
                </c:pt>
                <c:pt idx="32">
                  <c:v>2.0063998999999999</c:v>
                </c:pt>
                <c:pt idx="33">
                  <c:v>2.0065998999999999</c:v>
                </c:pt>
                <c:pt idx="34">
                  <c:v>2.0067998999999999</c:v>
                </c:pt>
                <c:pt idx="35">
                  <c:v>2.0070000000000001</c:v>
                </c:pt>
                <c:pt idx="36">
                  <c:v>2.0072000000000001</c:v>
                </c:pt>
                <c:pt idx="37">
                  <c:v>2.0073998</c:v>
                </c:pt>
                <c:pt idx="38">
                  <c:v>2.0075997999999999</c:v>
                </c:pt>
                <c:pt idx="39">
                  <c:v>2.0078000999999999</c:v>
                </c:pt>
                <c:pt idx="40">
                  <c:v>2.0079999000000002</c:v>
                </c:pt>
                <c:pt idx="41">
                  <c:v>2.0081999000000001</c:v>
                </c:pt>
                <c:pt idx="42">
                  <c:v>2.0084</c:v>
                </c:pt>
                <c:pt idx="43">
                  <c:v>2.0085999999999999</c:v>
                </c:pt>
                <c:pt idx="44">
                  <c:v>2.0087999999999999</c:v>
                </c:pt>
                <c:pt idx="45">
                  <c:v>2.0089997999999998</c:v>
                </c:pt>
                <c:pt idx="46">
                  <c:v>2.0091999</c:v>
                </c:pt>
                <c:pt idx="47">
                  <c:v>2.0093999</c:v>
                </c:pt>
                <c:pt idx="48">
                  <c:v>2.0095999</c:v>
                </c:pt>
                <c:pt idx="49">
                  <c:v>2.0097999999999998</c:v>
                </c:pt>
                <c:pt idx="50">
                  <c:v>2.0099999999999998</c:v>
                </c:pt>
                <c:pt idx="51">
                  <c:v>2.0102000000000002</c:v>
                </c:pt>
                <c:pt idx="52">
                  <c:v>2.0104001</c:v>
                </c:pt>
                <c:pt idx="53">
                  <c:v>2.0105998999999999</c:v>
                </c:pt>
                <c:pt idx="54">
                  <c:v>2.0107998999999999</c:v>
                </c:pt>
                <c:pt idx="55">
                  <c:v>2.0109998999999998</c:v>
                </c:pt>
                <c:pt idx="56">
                  <c:v>2.0112000000000001</c:v>
                </c:pt>
                <c:pt idx="57">
                  <c:v>2.0114000000000001</c:v>
                </c:pt>
                <c:pt idx="58">
                  <c:v>2.0116000000000001</c:v>
                </c:pt>
                <c:pt idx="59">
                  <c:v>2.0118000999999999</c:v>
                </c:pt>
                <c:pt idx="60">
                  <c:v>2.0119997999999999</c:v>
                </c:pt>
                <c:pt idx="61">
                  <c:v>2.0121999000000002</c:v>
                </c:pt>
                <c:pt idx="62">
                  <c:v>2.0123999000000001</c:v>
                </c:pt>
                <c:pt idx="63">
                  <c:v>2.0125999000000001</c:v>
                </c:pt>
                <c:pt idx="64">
                  <c:v>2.0127999999999999</c:v>
                </c:pt>
                <c:pt idx="65">
                  <c:v>2.0129997999999998</c:v>
                </c:pt>
                <c:pt idx="66">
                  <c:v>2.0131999999999999</c:v>
                </c:pt>
                <c:pt idx="67">
                  <c:v>2.0134001000000001</c:v>
                </c:pt>
                <c:pt idx="68">
                  <c:v>2.0135999</c:v>
                </c:pt>
                <c:pt idx="69">
                  <c:v>2.0137999</c:v>
                </c:pt>
                <c:pt idx="70">
                  <c:v>2.0139999</c:v>
                </c:pt>
                <c:pt idx="71">
                  <c:v>2.0142000000000002</c:v>
                </c:pt>
                <c:pt idx="72">
                  <c:v>2.0144000000000002</c:v>
                </c:pt>
                <c:pt idx="73">
                  <c:v>2.0145998000000001</c:v>
                </c:pt>
                <c:pt idx="74">
                  <c:v>2.0147998</c:v>
                </c:pt>
                <c:pt idx="75">
                  <c:v>2.0150001</c:v>
                </c:pt>
                <c:pt idx="76">
                  <c:v>2.0151998999999998</c:v>
                </c:pt>
                <c:pt idx="77">
                  <c:v>2.0153998999999998</c:v>
                </c:pt>
                <c:pt idx="78">
                  <c:v>2.0156000000000001</c:v>
                </c:pt>
                <c:pt idx="79">
                  <c:v>2.0158</c:v>
                </c:pt>
                <c:pt idx="80">
                  <c:v>2.016</c:v>
                </c:pt>
                <c:pt idx="81">
                  <c:v>2.0161997999999999</c:v>
                </c:pt>
                <c:pt idx="82">
                  <c:v>2.0163999000000001</c:v>
                </c:pt>
                <c:pt idx="83">
                  <c:v>2.0165999000000001</c:v>
                </c:pt>
                <c:pt idx="84">
                  <c:v>2.0167999000000001</c:v>
                </c:pt>
                <c:pt idx="85">
                  <c:v>2.0169999999999999</c:v>
                </c:pt>
                <c:pt idx="86">
                  <c:v>2.0171999999999999</c:v>
                </c:pt>
                <c:pt idx="87">
                  <c:v>2.0173999999999999</c:v>
                </c:pt>
                <c:pt idx="88">
                  <c:v>2.0176001000000001</c:v>
                </c:pt>
                <c:pt idx="89">
                  <c:v>2.0177999</c:v>
                </c:pt>
                <c:pt idx="90">
                  <c:v>2.0179999</c:v>
                </c:pt>
                <c:pt idx="91">
                  <c:v>2.0181998999999999</c:v>
                </c:pt>
                <c:pt idx="92">
                  <c:v>2.0184000000000002</c:v>
                </c:pt>
                <c:pt idx="93">
                  <c:v>2.0186000000000002</c:v>
                </c:pt>
                <c:pt idx="94">
                  <c:v>2.0188000000000001</c:v>
                </c:pt>
                <c:pt idx="95">
                  <c:v>2.0190001</c:v>
                </c:pt>
                <c:pt idx="96">
                  <c:v>2.0191998</c:v>
                </c:pt>
                <c:pt idx="97">
                  <c:v>2.0193998999999998</c:v>
                </c:pt>
                <c:pt idx="98">
                  <c:v>2.0195998999999998</c:v>
                </c:pt>
                <c:pt idx="99">
                  <c:v>2.0197999000000002</c:v>
                </c:pt>
                <c:pt idx="100">
                  <c:v>2.02</c:v>
                </c:pt>
                <c:pt idx="101">
                  <c:v>2.0201997999999999</c:v>
                </c:pt>
                <c:pt idx="102">
                  <c:v>2.0204</c:v>
                </c:pt>
                <c:pt idx="103">
                  <c:v>2.0206000999999998</c:v>
                </c:pt>
                <c:pt idx="104">
                  <c:v>2.0207999000000001</c:v>
                </c:pt>
                <c:pt idx="105">
                  <c:v>2.0209999000000001</c:v>
                </c:pt>
                <c:pt idx="106">
                  <c:v>2.0211999</c:v>
                </c:pt>
                <c:pt idx="107">
                  <c:v>2.0213999999999999</c:v>
                </c:pt>
                <c:pt idx="108">
                  <c:v>2.0215999999999998</c:v>
                </c:pt>
                <c:pt idx="109">
                  <c:v>2.0217998000000001</c:v>
                </c:pt>
                <c:pt idx="110">
                  <c:v>2.0219998000000001</c:v>
                </c:pt>
                <c:pt idx="111">
                  <c:v>2.0222001000000001</c:v>
                </c:pt>
                <c:pt idx="112">
                  <c:v>2.0223998999999999</c:v>
                </c:pt>
                <c:pt idx="113">
                  <c:v>2.0225998999999999</c:v>
                </c:pt>
                <c:pt idx="114">
                  <c:v>2.0228000000000002</c:v>
                </c:pt>
                <c:pt idx="115">
                  <c:v>2.0230000000000001</c:v>
                </c:pt>
                <c:pt idx="116">
                  <c:v>2.0232000000000001</c:v>
                </c:pt>
                <c:pt idx="117">
                  <c:v>2.0233998</c:v>
                </c:pt>
                <c:pt idx="118">
                  <c:v>2.0235998999999998</c:v>
                </c:pt>
                <c:pt idx="119">
                  <c:v>2.0237999000000002</c:v>
                </c:pt>
                <c:pt idx="120">
                  <c:v>2.0239999000000002</c:v>
                </c:pt>
                <c:pt idx="121">
                  <c:v>2.0242</c:v>
                </c:pt>
                <c:pt idx="122">
                  <c:v>2.0244</c:v>
                </c:pt>
                <c:pt idx="123">
                  <c:v>2.0246</c:v>
                </c:pt>
                <c:pt idx="124">
                  <c:v>2.0247997999999998</c:v>
                </c:pt>
                <c:pt idx="125">
                  <c:v>2.0249999000000001</c:v>
                </c:pt>
                <c:pt idx="126">
                  <c:v>2.0251999000000001</c:v>
                </c:pt>
                <c:pt idx="127">
                  <c:v>2.0253999</c:v>
                </c:pt>
                <c:pt idx="128">
                  <c:v>2.0255999999999998</c:v>
                </c:pt>
                <c:pt idx="129">
                  <c:v>2.0257999999999998</c:v>
                </c:pt>
                <c:pt idx="130">
                  <c:v>2.0259999999999998</c:v>
                </c:pt>
                <c:pt idx="131">
                  <c:v>2.0262001000000001</c:v>
                </c:pt>
                <c:pt idx="132">
                  <c:v>2.0263998999999999</c:v>
                </c:pt>
                <c:pt idx="133">
                  <c:v>2.0265998999999999</c:v>
                </c:pt>
                <c:pt idx="134">
                  <c:v>2.0267998999999999</c:v>
                </c:pt>
                <c:pt idx="135">
                  <c:v>2.0270000000000001</c:v>
                </c:pt>
                <c:pt idx="136">
                  <c:v>2.0272000000000001</c:v>
                </c:pt>
                <c:pt idx="137">
                  <c:v>2.0273998</c:v>
                </c:pt>
                <c:pt idx="138">
                  <c:v>2.0276000000000001</c:v>
                </c:pt>
                <c:pt idx="139">
                  <c:v>2.0278000999999999</c:v>
                </c:pt>
                <c:pt idx="140">
                  <c:v>2.0279999000000002</c:v>
                </c:pt>
                <c:pt idx="141">
                  <c:v>2.0281999000000002</c:v>
                </c:pt>
                <c:pt idx="142">
                  <c:v>2.0283999000000001</c:v>
                </c:pt>
                <c:pt idx="143">
                  <c:v>2.0286</c:v>
                </c:pt>
                <c:pt idx="144">
                  <c:v>2.0287999999999999</c:v>
                </c:pt>
                <c:pt idx="145">
                  <c:v>2.0289997999999998</c:v>
                </c:pt>
                <c:pt idx="146">
                  <c:v>2.0291998000000002</c:v>
                </c:pt>
                <c:pt idx="147">
                  <c:v>2.0294001000000002</c:v>
                </c:pt>
                <c:pt idx="148">
                  <c:v>2.0295999</c:v>
                </c:pt>
                <c:pt idx="149">
                  <c:v>2.0297999</c:v>
                </c:pt>
                <c:pt idx="150">
                  <c:v>2.0299999999999998</c:v>
                </c:pt>
                <c:pt idx="151">
                  <c:v>2.0301999999999998</c:v>
                </c:pt>
                <c:pt idx="152">
                  <c:v>2.0304000000000002</c:v>
                </c:pt>
                <c:pt idx="153">
                  <c:v>2.0305998000000001</c:v>
                </c:pt>
                <c:pt idx="154">
                  <c:v>2.0307998999999999</c:v>
                </c:pt>
                <c:pt idx="155">
                  <c:v>2.0309998999999999</c:v>
                </c:pt>
                <c:pt idx="156">
                  <c:v>2.0311998999999998</c:v>
                </c:pt>
                <c:pt idx="157">
                  <c:v>2.0314000000000001</c:v>
                </c:pt>
                <c:pt idx="158">
                  <c:v>2.0316000000000001</c:v>
                </c:pt>
                <c:pt idx="159">
                  <c:v>2.0318000000000001</c:v>
                </c:pt>
                <c:pt idx="160">
                  <c:v>2.0319997999999999</c:v>
                </c:pt>
                <c:pt idx="161">
                  <c:v>2.0321999000000002</c:v>
                </c:pt>
                <c:pt idx="162">
                  <c:v>2.0323999000000001</c:v>
                </c:pt>
                <c:pt idx="163">
                  <c:v>2.0325999000000001</c:v>
                </c:pt>
                <c:pt idx="164">
                  <c:v>2.0327999999999999</c:v>
                </c:pt>
                <c:pt idx="165">
                  <c:v>2.0329999999999999</c:v>
                </c:pt>
                <c:pt idx="166">
                  <c:v>2.0331999999999999</c:v>
                </c:pt>
                <c:pt idx="167">
                  <c:v>2.0334001000000002</c:v>
                </c:pt>
                <c:pt idx="168">
                  <c:v>2.0335999</c:v>
                </c:pt>
                <c:pt idx="169">
                  <c:v>2.0337999</c:v>
                </c:pt>
                <c:pt idx="170">
                  <c:v>2.0339999</c:v>
                </c:pt>
                <c:pt idx="171">
                  <c:v>2.0341999999999998</c:v>
                </c:pt>
                <c:pt idx="172">
                  <c:v>2.0344000000000002</c:v>
                </c:pt>
                <c:pt idx="173">
                  <c:v>2.0345998000000001</c:v>
                </c:pt>
                <c:pt idx="174">
                  <c:v>2.0348001</c:v>
                </c:pt>
                <c:pt idx="175">
                  <c:v>2.0350001</c:v>
                </c:pt>
                <c:pt idx="176">
                  <c:v>2.0351998999999998</c:v>
                </c:pt>
                <c:pt idx="177">
                  <c:v>2.0353998999999998</c:v>
                </c:pt>
                <c:pt idx="178">
                  <c:v>2.0355998999999998</c:v>
                </c:pt>
                <c:pt idx="179">
                  <c:v>2.0358000000000001</c:v>
                </c:pt>
                <c:pt idx="180">
                  <c:v>2.036</c:v>
                </c:pt>
                <c:pt idx="181">
                  <c:v>2.0361997999999999</c:v>
                </c:pt>
                <c:pt idx="182">
                  <c:v>2.0363997999999999</c:v>
                </c:pt>
                <c:pt idx="183">
                  <c:v>2.0366000999999998</c:v>
                </c:pt>
                <c:pt idx="184">
                  <c:v>2.0367999000000001</c:v>
                </c:pt>
                <c:pt idx="185">
                  <c:v>2.0369999000000001</c:v>
                </c:pt>
                <c:pt idx="186">
                  <c:v>2.0371999999999999</c:v>
                </c:pt>
                <c:pt idx="187">
                  <c:v>2.0373999999999999</c:v>
                </c:pt>
                <c:pt idx="188">
                  <c:v>2.0375999999999999</c:v>
                </c:pt>
                <c:pt idx="189">
                  <c:v>2.0377998000000002</c:v>
                </c:pt>
                <c:pt idx="190">
                  <c:v>2.0379999</c:v>
                </c:pt>
                <c:pt idx="191">
                  <c:v>2.0381999</c:v>
                </c:pt>
                <c:pt idx="192">
                  <c:v>2.0383998999999999</c:v>
                </c:pt>
                <c:pt idx="193">
                  <c:v>2.0386000000000002</c:v>
                </c:pt>
                <c:pt idx="194">
                  <c:v>2.0388000000000002</c:v>
                </c:pt>
                <c:pt idx="195">
                  <c:v>2.0390000000000001</c:v>
                </c:pt>
                <c:pt idx="196">
                  <c:v>2.0391998</c:v>
                </c:pt>
                <c:pt idx="197">
                  <c:v>2.0393998999999998</c:v>
                </c:pt>
                <c:pt idx="198">
                  <c:v>2.0395998999999998</c:v>
                </c:pt>
                <c:pt idx="199">
                  <c:v>2.0397999000000002</c:v>
                </c:pt>
                <c:pt idx="200">
                  <c:v>2.04</c:v>
                </c:pt>
                <c:pt idx="201">
                  <c:v>2.0402</c:v>
                </c:pt>
                <c:pt idx="202">
                  <c:v>2.0404</c:v>
                </c:pt>
                <c:pt idx="203">
                  <c:v>2.0406000999999998</c:v>
                </c:pt>
                <c:pt idx="204">
                  <c:v>2.0407999000000001</c:v>
                </c:pt>
                <c:pt idx="205">
                  <c:v>2.0409999000000001</c:v>
                </c:pt>
                <c:pt idx="206">
                  <c:v>2.0411999000000001</c:v>
                </c:pt>
                <c:pt idx="207">
                  <c:v>2.0413999999999999</c:v>
                </c:pt>
                <c:pt idx="208">
                  <c:v>2.0415999999999999</c:v>
                </c:pt>
                <c:pt idx="209">
                  <c:v>2.0417998000000002</c:v>
                </c:pt>
                <c:pt idx="210">
                  <c:v>2.0420001000000001</c:v>
                </c:pt>
                <c:pt idx="211">
                  <c:v>2.0422001000000001</c:v>
                </c:pt>
                <c:pt idx="212">
                  <c:v>2.0423998999999999</c:v>
                </c:pt>
                <c:pt idx="213">
                  <c:v>2.0425998999999999</c:v>
                </c:pt>
                <c:pt idx="214">
                  <c:v>2.0427998999999999</c:v>
                </c:pt>
                <c:pt idx="215">
                  <c:v>2.0430000000000001</c:v>
                </c:pt>
                <c:pt idx="216">
                  <c:v>2.0432000000000001</c:v>
                </c:pt>
                <c:pt idx="217">
                  <c:v>2.0433998</c:v>
                </c:pt>
                <c:pt idx="218">
                  <c:v>2.0435998</c:v>
                </c:pt>
                <c:pt idx="219">
                  <c:v>2.0438000999999999</c:v>
                </c:pt>
                <c:pt idx="220">
                  <c:v>2.0439999000000002</c:v>
                </c:pt>
                <c:pt idx="221">
                  <c:v>2.0441999000000002</c:v>
                </c:pt>
                <c:pt idx="222">
                  <c:v>2.0444</c:v>
                </c:pt>
                <c:pt idx="223">
                  <c:v>2.0446</c:v>
                </c:pt>
                <c:pt idx="224">
                  <c:v>2.0448</c:v>
                </c:pt>
                <c:pt idx="225">
                  <c:v>2.0449997999999998</c:v>
                </c:pt>
                <c:pt idx="226">
                  <c:v>2.0451999000000001</c:v>
                </c:pt>
                <c:pt idx="227">
                  <c:v>2.0453999</c:v>
                </c:pt>
                <c:pt idx="228">
                  <c:v>2.0455999</c:v>
                </c:pt>
                <c:pt idx="229">
                  <c:v>2.0457999999999998</c:v>
                </c:pt>
                <c:pt idx="230">
                  <c:v>2.0459999999999998</c:v>
                </c:pt>
                <c:pt idx="231">
                  <c:v>2.0461999999999998</c:v>
                </c:pt>
                <c:pt idx="232">
                  <c:v>2.0463998000000001</c:v>
                </c:pt>
                <c:pt idx="233">
                  <c:v>2.0465998999999999</c:v>
                </c:pt>
                <c:pt idx="234">
                  <c:v>2.0467998999999999</c:v>
                </c:pt>
                <c:pt idx="235">
                  <c:v>2.0469998999999999</c:v>
                </c:pt>
                <c:pt idx="236">
                  <c:v>2.0472000000000001</c:v>
                </c:pt>
                <c:pt idx="237">
                  <c:v>2.0473998</c:v>
                </c:pt>
                <c:pt idx="238">
                  <c:v>2.0476000000000001</c:v>
                </c:pt>
                <c:pt idx="239">
                  <c:v>2.0478000999999999</c:v>
                </c:pt>
                <c:pt idx="240">
                  <c:v>2.0479999000000002</c:v>
                </c:pt>
                <c:pt idx="241">
                  <c:v>2.0481999000000002</c:v>
                </c:pt>
                <c:pt idx="242">
                  <c:v>2.0483999000000002</c:v>
                </c:pt>
                <c:pt idx="243">
                  <c:v>2.0486</c:v>
                </c:pt>
                <c:pt idx="244">
                  <c:v>2.0488</c:v>
                </c:pt>
                <c:pt idx="245">
                  <c:v>2.0489997999999998</c:v>
                </c:pt>
                <c:pt idx="246">
                  <c:v>2.0492001000000002</c:v>
                </c:pt>
                <c:pt idx="247">
                  <c:v>2.0494001000000002</c:v>
                </c:pt>
                <c:pt idx="248">
                  <c:v>2.0495999</c:v>
                </c:pt>
                <c:pt idx="249">
                  <c:v>2.0497999</c:v>
                </c:pt>
                <c:pt idx="250">
                  <c:v>2.0499999999999998</c:v>
                </c:pt>
                <c:pt idx="251">
                  <c:v>2.0501999999999998</c:v>
                </c:pt>
                <c:pt idx="252">
                  <c:v>2.0503999999999998</c:v>
                </c:pt>
                <c:pt idx="253">
                  <c:v>2.0505998000000001</c:v>
                </c:pt>
                <c:pt idx="254">
                  <c:v>2.0507998000000001</c:v>
                </c:pt>
                <c:pt idx="255">
                  <c:v>2.0510001</c:v>
                </c:pt>
                <c:pt idx="256">
                  <c:v>2.0511998999999999</c:v>
                </c:pt>
                <c:pt idx="257">
                  <c:v>2.0513998999999998</c:v>
                </c:pt>
                <c:pt idx="258">
                  <c:v>2.0516000000000001</c:v>
                </c:pt>
                <c:pt idx="259">
                  <c:v>2.0518000000000001</c:v>
                </c:pt>
                <c:pt idx="260">
                  <c:v>2.052</c:v>
                </c:pt>
                <c:pt idx="261">
                  <c:v>2.0521997999999999</c:v>
                </c:pt>
                <c:pt idx="262">
                  <c:v>2.0523999000000002</c:v>
                </c:pt>
                <c:pt idx="263">
                  <c:v>2.0525999000000001</c:v>
                </c:pt>
                <c:pt idx="264">
                  <c:v>2.0527999000000001</c:v>
                </c:pt>
                <c:pt idx="265">
                  <c:v>2.0529999999999999</c:v>
                </c:pt>
                <c:pt idx="266">
                  <c:v>2.0531999999999999</c:v>
                </c:pt>
                <c:pt idx="267">
                  <c:v>2.0533999999999999</c:v>
                </c:pt>
                <c:pt idx="268">
                  <c:v>2.0535998000000002</c:v>
                </c:pt>
                <c:pt idx="269">
                  <c:v>2.0537999</c:v>
                </c:pt>
                <c:pt idx="270">
                  <c:v>2.0539999</c:v>
                </c:pt>
                <c:pt idx="271">
                  <c:v>2.0541999</c:v>
                </c:pt>
                <c:pt idx="272">
                  <c:v>2.0543999999999998</c:v>
                </c:pt>
                <c:pt idx="273">
                  <c:v>2.0545998000000001</c:v>
                </c:pt>
                <c:pt idx="274">
                  <c:v>2.0548000000000002</c:v>
                </c:pt>
                <c:pt idx="275">
                  <c:v>2.0550001</c:v>
                </c:pt>
                <c:pt idx="276">
                  <c:v>2.0551998999999999</c:v>
                </c:pt>
                <c:pt idx="277">
                  <c:v>2.0553998999999998</c:v>
                </c:pt>
                <c:pt idx="278">
                  <c:v>2.0555998999999998</c:v>
                </c:pt>
                <c:pt idx="279">
                  <c:v>2.0558000000000001</c:v>
                </c:pt>
                <c:pt idx="280">
                  <c:v>2.056</c:v>
                </c:pt>
                <c:pt idx="281">
                  <c:v>2.0561997999999999</c:v>
                </c:pt>
                <c:pt idx="282">
                  <c:v>2.0564000999999998</c:v>
                </c:pt>
                <c:pt idx="283">
                  <c:v>2.0566000999999998</c:v>
                </c:pt>
                <c:pt idx="284">
                  <c:v>2.0567999000000001</c:v>
                </c:pt>
                <c:pt idx="285">
                  <c:v>2.0569999000000001</c:v>
                </c:pt>
                <c:pt idx="286">
                  <c:v>2.0571999999999999</c:v>
                </c:pt>
                <c:pt idx="287">
                  <c:v>2.0573999999999999</c:v>
                </c:pt>
                <c:pt idx="288">
                  <c:v>2.0575999999999999</c:v>
                </c:pt>
                <c:pt idx="289">
                  <c:v>2.0577998000000002</c:v>
                </c:pt>
                <c:pt idx="290">
                  <c:v>2.0579998000000002</c:v>
                </c:pt>
                <c:pt idx="291">
                  <c:v>2.0582001000000001</c:v>
                </c:pt>
                <c:pt idx="292">
                  <c:v>2.0583998999999999</c:v>
                </c:pt>
                <c:pt idx="293">
                  <c:v>2.0585998999999999</c:v>
                </c:pt>
                <c:pt idx="294">
                  <c:v>2.0588000000000002</c:v>
                </c:pt>
                <c:pt idx="295">
                  <c:v>2.0590000000000002</c:v>
                </c:pt>
                <c:pt idx="296">
                  <c:v>2.0592000000000001</c:v>
                </c:pt>
                <c:pt idx="297">
                  <c:v>2.0593998</c:v>
                </c:pt>
                <c:pt idx="298">
                  <c:v>2.0595998999999998</c:v>
                </c:pt>
                <c:pt idx="299">
                  <c:v>2.0597998999999998</c:v>
                </c:pt>
                <c:pt idx="300">
                  <c:v>2.0599999000000002</c:v>
                </c:pt>
                <c:pt idx="301">
                  <c:v>2.0602</c:v>
                </c:pt>
                <c:pt idx="302">
                  <c:v>2.0604</c:v>
                </c:pt>
                <c:pt idx="303">
                  <c:v>2.0606</c:v>
                </c:pt>
                <c:pt idx="304">
                  <c:v>2.0607997999999998</c:v>
                </c:pt>
                <c:pt idx="305">
                  <c:v>2.0609999000000001</c:v>
                </c:pt>
                <c:pt idx="306">
                  <c:v>2.0611999000000001</c:v>
                </c:pt>
                <c:pt idx="307">
                  <c:v>2.0613999000000001</c:v>
                </c:pt>
                <c:pt idx="308">
                  <c:v>2.0615999999999999</c:v>
                </c:pt>
                <c:pt idx="309">
                  <c:v>2.0617998000000002</c:v>
                </c:pt>
                <c:pt idx="310">
                  <c:v>2.0619999999999998</c:v>
                </c:pt>
                <c:pt idx="311">
                  <c:v>2.0622001000000001</c:v>
                </c:pt>
                <c:pt idx="312">
                  <c:v>2.0623999</c:v>
                </c:pt>
                <c:pt idx="313">
                  <c:v>2.0625998999999999</c:v>
                </c:pt>
                <c:pt idx="314">
                  <c:v>2.0627998999999999</c:v>
                </c:pt>
                <c:pt idx="315">
                  <c:v>2.0630000000000002</c:v>
                </c:pt>
                <c:pt idx="316">
                  <c:v>2.0632000000000001</c:v>
                </c:pt>
                <c:pt idx="317">
                  <c:v>2.0633998</c:v>
                </c:pt>
                <c:pt idx="318">
                  <c:v>2.0635998</c:v>
                </c:pt>
                <c:pt idx="319">
                  <c:v>2.0638000999999999</c:v>
                </c:pt>
                <c:pt idx="320">
                  <c:v>2.0639999000000002</c:v>
                </c:pt>
                <c:pt idx="321">
                  <c:v>2.0641999000000002</c:v>
                </c:pt>
                <c:pt idx="322">
                  <c:v>2.0644</c:v>
                </c:pt>
                <c:pt idx="323">
                  <c:v>2.0646</c:v>
                </c:pt>
                <c:pt idx="324">
                  <c:v>2.0648</c:v>
                </c:pt>
                <c:pt idx="325">
                  <c:v>2.0649997999999998</c:v>
                </c:pt>
                <c:pt idx="326">
                  <c:v>2.0651999000000001</c:v>
                </c:pt>
                <c:pt idx="327">
                  <c:v>2.0654001000000002</c:v>
                </c:pt>
                <c:pt idx="328">
                  <c:v>2.0655999</c:v>
                </c:pt>
                <c:pt idx="329">
                  <c:v>2.0657999999999999</c:v>
                </c:pt>
                <c:pt idx="330">
                  <c:v>2.0659999999999998</c:v>
                </c:pt>
                <c:pt idx="331">
                  <c:v>2.0661999999999998</c:v>
                </c:pt>
                <c:pt idx="332">
                  <c:v>2.0664001000000001</c:v>
                </c:pt>
                <c:pt idx="333">
                  <c:v>2.0665998000000001</c:v>
                </c:pt>
                <c:pt idx="334">
                  <c:v>2.0667998999999999</c:v>
                </c:pt>
                <c:pt idx="335">
                  <c:v>2.0669998999999999</c:v>
                </c:pt>
                <c:pt idx="336">
                  <c:v>2.0671998999999999</c:v>
                </c:pt>
                <c:pt idx="337">
                  <c:v>2.0674000000000001</c:v>
                </c:pt>
                <c:pt idx="338">
                  <c:v>2.0676000000000001</c:v>
                </c:pt>
                <c:pt idx="339">
                  <c:v>2.0678000000000001</c:v>
                </c:pt>
                <c:pt idx="340">
                  <c:v>2.0679997999999999</c:v>
                </c:pt>
                <c:pt idx="341">
                  <c:v>2.0681999000000002</c:v>
                </c:pt>
                <c:pt idx="342">
                  <c:v>2.0683999000000002</c:v>
                </c:pt>
                <c:pt idx="343">
                  <c:v>2.0685999000000002</c:v>
                </c:pt>
                <c:pt idx="344">
                  <c:v>2.0688</c:v>
                </c:pt>
                <c:pt idx="345">
                  <c:v>2.0689997999999998</c:v>
                </c:pt>
                <c:pt idx="346">
                  <c:v>2.0691999999999999</c:v>
                </c:pt>
                <c:pt idx="347">
                  <c:v>2.0694001000000002</c:v>
                </c:pt>
                <c:pt idx="348">
                  <c:v>2.0695999</c:v>
                </c:pt>
                <c:pt idx="349">
                  <c:v>2.0697999</c:v>
                </c:pt>
                <c:pt idx="350">
                  <c:v>2.0699999</c:v>
                </c:pt>
                <c:pt idx="351">
                  <c:v>2.0701999999999998</c:v>
                </c:pt>
                <c:pt idx="352">
                  <c:v>2.0703999999999998</c:v>
                </c:pt>
                <c:pt idx="353">
                  <c:v>2.0705998000000001</c:v>
                </c:pt>
                <c:pt idx="354">
                  <c:v>2.0707998000000001</c:v>
                </c:pt>
                <c:pt idx="355">
                  <c:v>2.0710001</c:v>
                </c:pt>
                <c:pt idx="356">
                  <c:v>2.0711998999999999</c:v>
                </c:pt>
                <c:pt idx="357">
                  <c:v>2.0713998999999998</c:v>
                </c:pt>
                <c:pt idx="358">
                  <c:v>2.0716000000000001</c:v>
                </c:pt>
                <c:pt idx="359">
                  <c:v>2.0718000000000001</c:v>
                </c:pt>
                <c:pt idx="360">
                  <c:v>2.0720000000000001</c:v>
                </c:pt>
                <c:pt idx="361">
                  <c:v>2.0721997999999999</c:v>
                </c:pt>
                <c:pt idx="362">
                  <c:v>2.0723999000000002</c:v>
                </c:pt>
                <c:pt idx="363">
                  <c:v>2.0725999000000002</c:v>
                </c:pt>
                <c:pt idx="364">
                  <c:v>2.0727999000000001</c:v>
                </c:pt>
                <c:pt idx="365">
                  <c:v>2.073</c:v>
                </c:pt>
                <c:pt idx="366">
                  <c:v>2.0731999999999999</c:v>
                </c:pt>
                <c:pt idx="367">
                  <c:v>2.0733999999999999</c:v>
                </c:pt>
                <c:pt idx="368">
                  <c:v>2.0736001000000002</c:v>
                </c:pt>
                <c:pt idx="369">
                  <c:v>2.0737998000000002</c:v>
                </c:pt>
                <c:pt idx="370">
                  <c:v>2.0739999</c:v>
                </c:pt>
                <c:pt idx="371">
                  <c:v>2.0741999</c:v>
                </c:pt>
                <c:pt idx="372">
                  <c:v>2.0743999</c:v>
                </c:pt>
                <c:pt idx="373">
                  <c:v>2.0746000000000002</c:v>
                </c:pt>
                <c:pt idx="374">
                  <c:v>2.0748000000000002</c:v>
                </c:pt>
                <c:pt idx="375">
                  <c:v>2.0750000000000002</c:v>
                </c:pt>
                <c:pt idx="376">
                  <c:v>2.0751998</c:v>
                </c:pt>
                <c:pt idx="377">
                  <c:v>2.0753998999999999</c:v>
                </c:pt>
                <c:pt idx="378">
                  <c:v>2.0755998999999998</c:v>
                </c:pt>
                <c:pt idx="379">
                  <c:v>2.0757998999999998</c:v>
                </c:pt>
                <c:pt idx="380">
                  <c:v>2.0760000000000001</c:v>
                </c:pt>
                <c:pt idx="381">
                  <c:v>2.0761997999999999</c:v>
                </c:pt>
                <c:pt idx="382">
                  <c:v>2.0764</c:v>
                </c:pt>
                <c:pt idx="383">
                  <c:v>2.0766000999999998</c:v>
                </c:pt>
                <c:pt idx="384">
                  <c:v>2.0767999000000001</c:v>
                </c:pt>
                <c:pt idx="385">
                  <c:v>2.0769999000000001</c:v>
                </c:pt>
                <c:pt idx="386">
                  <c:v>2.0771999000000001</c:v>
                </c:pt>
                <c:pt idx="387">
                  <c:v>2.0773999999999999</c:v>
                </c:pt>
                <c:pt idx="388">
                  <c:v>2.0775999999999999</c:v>
                </c:pt>
                <c:pt idx="389">
                  <c:v>2.0777998000000002</c:v>
                </c:pt>
                <c:pt idx="390">
                  <c:v>2.0779998000000002</c:v>
                </c:pt>
                <c:pt idx="391">
                  <c:v>2.0782001000000001</c:v>
                </c:pt>
                <c:pt idx="392">
                  <c:v>2.0783999</c:v>
                </c:pt>
                <c:pt idx="393">
                  <c:v>2.0785998999999999</c:v>
                </c:pt>
                <c:pt idx="394">
                  <c:v>2.0788000000000002</c:v>
                </c:pt>
                <c:pt idx="395">
                  <c:v>2.0790000000000002</c:v>
                </c:pt>
                <c:pt idx="396">
                  <c:v>2.0792000000000002</c:v>
                </c:pt>
                <c:pt idx="397">
                  <c:v>2.0793998</c:v>
                </c:pt>
                <c:pt idx="398">
                  <c:v>2.0795998999999998</c:v>
                </c:pt>
                <c:pt idx="399">
                  <c:v>2.0797998999999998</c:v>
                </c:pt>
                <c:pt idx="400">
                  <c:v>2.0799998999999998</c:v>
                </c:pt>
                <c:pt idx="401">
                  <c:v>2.0802</c:v>
                </c:pt>
                <c:pt idx="402">
                  <c:v>2.0804</c:v>
                </c:pt>
                <c:pt idx="403">
                  <c:v>2.0806</c:v>
                </c:pt>
                <c:pt idx="404">
                  <c:v>2.0808000999999998</c:v>
                </c:pt>
                <c:pt idx="405">
                  <c:v>2.0809999000000001</c:v>
                </c:pt>
                <c:pt idx="406">
                  <c:v>2.0811999000000001</c:v>
                </c:pt>
                <c:pt idx="407">
                  <c:v>2.0813999000000001</c:v>
                </c:pt>
                <c:pt idx="408">
                  <c:v>2.0815999999999999</c:v>
                </c:pt>
                <c:pt idx="409">
                  <c:v>2.0817999999999999</c:v>
                </c:pt>
                <c:pt idx="410">
                  <c:v>2.0819999999999999</c:v>
                </c:pt>
                <c:pt idx="411">
                  <c:v>2.0822001000000001</c:v>
                </c:pt>
                <c:pt idx="412">
                  <c:v>2.0823998000000001</c:v>
                </c:pt>
                <c:pt idx="413">
                  <c:v>2.0825998999999999</c:v>
                </c:pt>
                <c:pt idx="414">
                  <c:v>2.0827998999999999</c:v>
                </c:pt>
                <c:pt idx="415">
                  <c:v>2.0829998999999999</c:v>
                </c:pt>
                <c:pt idx="416">
                  <c:v>2.0832000000000002</c:v>
                </c:pt>
                <c:pt idx="417">
                  <c:v>2.0833998</c:v>
                </c:pt>
                <c:pt idx="418">
                  <c:v>2.0836000000000001</c:v>
                </c:pt>
                <c:pt idx="419">
                  <c:v>2.0838000999999999</c:v>
                </c:pt>
                <c:pt idx="420">
                  <c:v>2.0839998999999998</c:v>
                </c:pt>
                <c:pt idx="421">
                  <c:v>2.0841999000000002</c:v>
                </c:pt>
                <c:pt idx="422">
                  <c:v>2.0843999000000002</c:v>
                </c:pt>
                <c:pt idx="423">
                  <c:v>2.0846</c:v>
                </c:pt>
                <c:pt idx="424">
                  <c:v>2.0848</c:v>
                </c:pt>
                <c:pt idx="425">
                  <c:v>2.0849997999999998</c:v>
                </c:pt>
                <c:pt idx="426">
                  <c:v>2.0851997999999998</c:v>
                </c:pt>
                <c:pt idx="427">
                  <c:v>2.0854001000000002</c:v>
                </c:pt>
                <c:pt idx="428">
                  <c:v>2.0855999000000001</c:v>
                </c:pt>
                <c:pt idx="429">
                  <c:v>2.0857999</c:v>
                </c:pt>
                <c:pt idx="430">
                  <c:v>2.0859999999999999</c:v>
                </c:pt>
                <c:pt idx="431">
                  <c:v>2.0861999999999998</c:v>
                </c:pt>
                <c:pt idx="432">
                  <c:v>2.0863999999999998</c:v>
                </c:pt>
                <c:pt idx="433">
                  <c:v>2.0865998000000001</c:v>
                </c:pt>
                <c:pt idx="434">
                  <c:v>2.0867998999999999</c:v>
                </c:pt>
                <c:pt idx="435">
                  <c:v>2.0869998999999999</c:v>
                </c:pt>
                <c:pt idx="436">
                  <c:v>2.0871998999999999</c:v>
                </c:pt>
                <c:pt idx="437">
                  <c:v>2.0874000000000001</c:v>
                </c:pt>
                <c:pt idx="438">
                  <c:v>2.0876000000000001</c:v>
                </c:pt>
                <c:pt idx="439">
                  <c:v>2.0878000000000001</c:v>
                </c:pt>
                <c:pt idx="440">
                  <c:v>2.0880000999999999</c:v>
                </c:pt>
                <c:pt idx="441">
                  <c:v>2.0881999000000002</c:v>
                </c:pt>
                <c:pt idx="442">
                  <c:v>2.0883999000000002</c:v>
                </c:pt>
                <c:pt idx="443">
                  <c:v>2.0885999000000002</c:v>
                </c:pt>
                <c:pt idx="444">
                  <c:v>2.0888</c:v>
                </c:pt>
                <c:pt idx="445">
                  <c:v>2.089</c:v>
                </c:pt>
                <c:pt idx="446">
                  <c:v>2.0891999999999999</c:v>
                </c:pt>
                <c:pt idx="447">
                  <c:v>2.0894001000000002</c:v>
                </c:pt>
                <c:pt idx="448">
                  <c:v>2.0895997999999998</c:v>
                </c:pt>
                <c:pt idx="449">
                  <c:v>2.0897999</c:v>
                </c:pt>
                <c:pt idx="450">
                  <c:v>2.0899999</c:v>
                </c:pt>
                <c:pt idx="451">
                  <c:v>2.0901999</c:v>
                </c:pt>
                <c:pt idx="452">
                  <c:v>2.0903999999999998</c:v>
                </c:pt>
                <c:pt idx="453">
                  <c:v>2.0905998000000001</c:v>
                </c:pt>
                <c:pt idx="454">
                  <c:v>2.0908000000000002</c:v>
                </c:pt>
                <c:pt idx="455">
                  <c:v>2.0910001</c:v>
                </c:pt>
                <c:pt idx="456">
                  <c:v>2.0911998999999999</c:v>
                </c:pt>
                <c:pt idx="457">
                  <c:v>2.0913998999999999</c:v>
                </c:pt>
                <c:pt idx="458">
                  <c:v>2.0915998999999998</c:v>
                </c:pt>
                <c:pt idx="459">
                  <c:v>2.0918000000000001</c:v>
                </c:pt>
                <c:pt idx="460">
                  <c:v>2.0920000000000001</c:v>
                </c:pt>
                <c:pt idx="461">
                  <c:v>2.0921997999999999</c:v>
                </c:pt>
                <c:pt idx="462">
                  <c:v>2.0923997999999999</c:v>
                </c:pt>
                <c:pt idx="463">
                  <c:v>2.0926000999999999</c:v>
                </c:pt>
                <c:pt idx="464">
                  <c:v>2.0927999000000002</c:v>
                </c:pt>
                <c:pt idx="465">
                  <c:v>2.0929999000000001</c:v>
                </c:pt>
                <c:pt idx="466">
                  <c:v>2.0931999999999999</c:v>
                </c:pt>
                <c:pt idx="467">
                  <c:v>2.0933999999999999</c:v>
                </c:pt>
                <c:pt idx="468">
                  <c:v>2.0935999999999999</c:v>
                </c:pt>
                <c:pt idx="469">
                  <c:v>2.0937998000000002</c:v>
                </c:pt>
                <c:pt idx="470">
                  <c:v>2.0939999</c:v>
                </c:pt>
                <c:pt idx="471">
                  <c:v>2.0941999</c:v>
                </c:pt>
                <c:pt idx="472">
                  <c:v>2.0943999</c:v>
                </c:pt>
                <c:pt idx="473">
                  <c:v>2.0945999999999998</c:v>
                </c:pt>
                <c:pt idx="474">
                  <c:v>2.0948000000000002</c:v>
                </c:pt>
                <c:pt idx="475">
                  <c:v>2.0950000000000002</c:v>
                </c:pt>
                <c:pt idx="476">
                  <c:v>2.0951998000000001</c:v>
                </c:pt>
                <c:pt idx="477">
                  <c:v>2.0953998999999999</c:v>
                </c:pt>
                <c:pt idx="478">
                  <c:v>2.0955998999999998</c:v>
                </c:pt>
                <c:pt idx="479">
                  <c:v>2.0957998999999998</c:v>
                </c:pt>
                <c:pt idx="480">
                  <c:v>2.0960000000000001</c:v>
                </c:pt>
                <c:pt idx="481">
                  <c:v>2.0962000000000001</c:v>
                </c:pt>
                <c:pt idx="482">
                  <c:v>2.0964</c:v>
                </c:pt>
                <c:pt idx="483">
                  <c:v>2.0966000999999999</c:v>
                </c:pt>
                <c:pt idx="484">
                  <c:v>2.0967999000000002</c:v>
                </c:pt>
                <c:pt idx="485">
                  <c:v>2.0969999000000001</c:v>
                </c:pt>
                <c:pt idx="486">
                  <c:v>2.0971999000000001</c:v>
                </c:pt>
                <c:pt idx="487">
                  <c:v>2.0973999999999999</c:v>
                </c:pt>
                <c:pt idx="488">
                  <c:v>2.0975999999999999</c:v>
                </c:pt>
                <c:pt idx="489">
                  <c:v>2.0977998000000002</c:v>
                </c:pt>
                <c:pt idx="490">
                  <c:v>2.0979999999999999</c:v>
                </c:pt>
                <c:pt idx="491">
                  <c:v>2.0982001000000001</c:v>
                </c:pt>
                <c:pt idx="492">
                  <c:v>2.0983999</c:v>
                </c:pt>
                <c:pt idx="493">
                  <c:v>2.0985999</c:v>
                </c:pt>
                <c:pt idx="494">
                  <c:v>2.0987998999999999</c:v>
                </c:pt>
                <c:pt idx="495">
                  <c:v>2.0990000000000002</c:v>
                </c:pt>
                <c:pt idx="496">
                  <c:v>2.0992000000000002</c:v>
                </c:pt>
                <c:pt idx="497">
                  <c:v>2.0993998</c:v>
                </c:pt>
                <c:pt idx="498">
                  <c:v>2.0995998</c:v>
                </c:pt>
                <c:pt idx="499">
                  <c:v>2.0998000999999999</c:v>
                </c:pt>
                <c:pt idx="500">
                  <c:v>2.0999998999999998</c:v>
                </c:pt>
                <c:pt idx="501">
                  <c:v>2.1001998999999998</c:v>
                </c:pt>
                <c:pt idx="502">
                  <c:v>2.1004</c:v>
                </c:pt>
                <c:pt idx="503">
                  <c:v>2.1006</c:v>
                </c:pt>
                <c:pt idx="504">
                  <c:v>2.1008</c:v>
                </c:pt>
                <c:pt idx="505">
                  <c:v>2.1009997999999999</c:v>
                </c:pt>
                <c:pt idx="506">
                  <c:v>2.1011999000000001</c:v>
                </c:pt>
                <c:pt idx="507">
                  <c:v>2.1013999000000001</c:v>
                </c:pt>
                <c:pt idx="508">
                  <c:v>2.1015999000000001</c:v>
                </c:pt>
                <c:pt idx="509">
                  <c:v>2.1017999999999999</c:v>
                </c:pt>
                <c:pt idx="510">
                  <c:v>2.1019999999999999</c:v>
                </c:pt>
                <c:pt idx="511">
                  <c:v>2.1021999999999998</c:v>
                </c:pt>
                <c:pt idx="512">
                  <c:v>2.1023998000000002</c:v>
                </c:pt>
                <c:pt idx="513">
                  <c:v>2.1025999</c:v>
                </c:pt>
                <c:pt idx="514">
                  <c:v>2.1027998999999999</c:v>
                </c:pt>
                <c:pt idx="515">
                  <c:v>2.1029998999999999</c:v>
                </c:pt>
                <c:pt idx="516">
                  <c:v>2.1032000000000002</c:v>
                </c:pt>
                <c:pt idx="517">
                  <c:v>2.1034000000000002</c:v>
                </c:pt>
                <c:pt idx="518">
                  <c:v>2.1036000000000001</c:v>
                </c:pt>
                <c:pt idx="519">
                  <c:v>2.1038001</c:v>
                </c:pt>
                <c:pt idx="520">
                  <c:v>2.1039998999999998</c:v>
                </c:pt>
                <c:pt idx="521">
                  <c:v>2.1041998999999998</c:v>
                </c:pt>
                <c:pt idx="522">
                  <c:v>2.1043999000000002</c:v>
                </c:pt>
                <c:pt idx="523">
                  <c:v>2.1046</c:v>
                </c:pt>
                <c:pt idx="524">
                  <c:v>2.1048</c:v>
                </c:pt>
                <c:pt idx="525">
                  <c:v>2.1049997999999999</c:v>
                </c:pt>
                <c:pt idx="526">
                  <c:v>2.1052000999999998</c:v>
                </c:pt>
                <c:pt idx="527">
                  <c:v>2.1054001000000002</c:v>
                </c:pt>
                <c:pt idx="528">
                  <c:v>2.1055999000000001</c:v>
                </c:pt>
                <c:pt idx="529">
                  <c:v>2.1057999000000001</c:v>
                </c:pt>
                <c:pt idx="530">
                  <c:v>2.1059999</c:v>
                </c:pt>
                <c:pt idx="531">
                  <c:v>2.1061999999999999</c:v>
                </c:pt>
                <c:pt idx="532">
                  <c:v>2.1063999999999998</c:v>
                </c:pt>
                <c:pt idx="533">
                  <c:v>2.1065998000000001</c:v>
                </c:pt>
                <c:pt idx="534">
                  <c:v>2.1067998000000001</c:v>
                </c:pt>
                <c:pt idx="535">
                  <c:v>2.1070001</c:v>
                </c:pt>
                <c:pt idx="536">
                  <c:v>2.1071998999999999</c:v>
                </c:pt>
                <c:pt idx="537">
                  <c:v>2.1073998999999999</c:v>
                </c:pt>
                <c:pt idx="538">
                  <c:v>2.1076000000000001</c:v>
                </c:pt>
                <c:pt idx="539">
                  <c:v>2.1078000000000001</c:v>
                </c:pt>
                <c:pt idx="540">
                  <c:v>2.1080000000000001</c:v>
                </c:pt>
                <c:pt idx="541">
                  <c:v>2.1081998</c:v>
                </c:pt>
                <c:pt idx="542">
                  <c:v>2.1083999000000002</c:v>
                </c:pt>
                <c:pt idx="543">
                  <c:v>2.1085999000000002</c:v>
                </c:pt>
                <c:pt idx="544">
                  <c:v>2.1087999000000002</c:v>
                </c:pt>
                <c:pt idx="545">
                  <c:v>2.109</c:v>
                </c:pt>
                <c:pt idx="546">
                  <c:v>2.1092</c:v>
                </c:pt>
                <c:pt idx="547">
                  <c:v>2.1093999999999999</c:v>
                </c:pt>
                <c:pt idx="548">
                  <c:v>2.1095997999999998</c:v>
                </c:pt>
                <c:pt idx="549">
                  <c:v>2.1097999000000001</c:v>
                </c:pt>
                <c:pt idx="550">
                  <c:v>2.1099999</c:v>
                </c:pt>
                <c:pt idx="551">
                  <c:v>2.1101999</c:v>
                </c:pt>
                <c:pt idx="552">
                  <c:v>2.1103999999999998</c:v>
                </c:pt>
                <c:pt idx="553">
                  <c:v>2.1105999999999998</c:v>
                </c:pt>
                <c:pt idx="554">
                  <c:v>2.1107999999999998</c:v>
                </c:pt>
                <c:pt idx="555">
                  <c:v>2.1110001</c:v>
                </c:pt>
                <c:pt idx="556">
                  <c:v>2.1111998999999999</c:v>
                </c:pt>
                <c:pt idx="557">
                  <c:v>2.1113998999999999</c:v>
                </c:pt>
                <c:pt idx="558">
                  <c:v>2.1115998999999999</c:v>
                </c:pt>
                <c:pt idx="559">
                  <c:v>2.1118000000000001</c:v>
                </c:pt>
                <c:pt idx="560">
                  <c:v>2.1120000000000001</c:v>
                </c:pt>
                <c:pt idx="561">
                  <c:v>2.1121998</c:v>
                </c:pt>
                <c:pt idx="562">
                  <c:v>2.1124000999999999</c:v>
                </c:pt>
                <c:pt idx="563">
                  <c:v>2.1126000999999999</c:v>
                </c:pt>
                <c:pt idx="564">
                  <c:v>2.1127999000000002</c:v>
                </c:pt>
                <c:pt idx="565">
                  <c:v>2.1129999000000002</c:v>
                </c:pt>
                <c:pt idx="566">
                  <c:v>2.1131999000000001</c:v>
                </c:pt>
                <c:pt idx="567">
                  <c:v>2.1133999999999999</c:v>
                </c:pt>
                <c:pt idx="568">
                  <c:v>2.1135999999999999</c:v>
                </c:pt>
                <c:pt idx="569">
                  <c:v>2.1137997999999998</c:v>
                </c:pt>
                <c:pt idx="570">
                  <c:v>2.1139998000000002</c:v>
                </c:pt>
                <c:pt idx="571">
                  <c:v>2.1142001000000001</c:v>
                </c:pt>
                <c:pt idx="572">
                  <c:v>2.1143999</c:v>
                </c:pt>
                <c:pt idx="573">
                  <c:v>2.1145999</c:v>
                </c:pt>
                <c:pt idx="574">
                  <c:v>2.1147999999999998</c:v>
                </c:pt>
                <c:pt idx="575">
                  <c:v>2.1150000000000002</c:v>
                </c:pt>
                <c:pt idx="576">
                  <c:v>2.1152000000000002</c:v>
                </c:pt>
                <c:pt idx="577">
                  <c:v>2.1153998000000001</c:v>
                </c:pt>
                <c:pt idx="578">
                  <c:v>2.1155998999999999</c:v>
                </c:pt>
                <c:pt idx="579">
                  <c:v>2.1157998999999998</c:v>
                </c:pt>
                <c:pt idx="580">
                  <c:v>2.1159998999999998</c:v>
                </c:pt>
                <c:pt idx="581">
                  <c:v>2.1162000000000001</c:v>
                </c:pt>
                <c:pt idx="582">
                  <c:v>2.1164000000000001</c:v>
                </c:pt>
                <c:pt idx="583">
                  <c:v>2.1166</c:v>
                </c:pt>
                <c:pt idx="584">
                  <c:v>2.1167997999999999</c:v>
                </c:pt>
                <c:pt idx="585">
                  <c:v>2.1169999000000002</c:v>
                </c:pt>
                <c:pt idx="586">
                  <c:v>2.1171999000000001</c:v>
                </c:pt>
                <c:pt idx="587">
                  <c:v>2.1173999000000001</c:v>
                </c:pt>
                <c:pt idx="588">
                  <c:v>2.1175999999999999</c:v>
                </c:pt>
                <c:pt idx="589">
                  <c:v>2.1177997999999998</c:v>
                </c:pt>
                <c:pt idx="590">
                  <c:v>2.1179999999999999</c:v>
                </c:pt>
                <c:pt idx="591">
                  <c:v>2.1182001000000001</c:v>
                </c:pt>
                <c:pt idx="592">
                  <c:v>2.1183999</c:v>
                </c:pt>
                <c:pt idx="593">
                  <c:v>2.1185999</c:v>
                </c:pt>
                <c:pt idx="594">
                  <c:v>2.1187999</c:v>
                </c:pt>
                <c:pt idx="595">
                  <c:v>2.1190000000000002</c:v>
                </c:pt>
                <c:pt idx="596">
                  <c:v>2.1192000000000002</c:v>
                </c:pt>
                <c:pt idx="597">
                  <c:v>2.1193998000000001</c:v>
                </c:pt>
                <c:pt idx="598">
                  <c:v>2.1196001</c:v>
                </c:pt>
                <c:pt idx="599">
                  <c:v>2.1198001</c:v>
                </c:pt>
                <c:pt idx="600">
                  <c:v>2.1199998999999998</c:v>
                </c:pt>
                <c:pt idx="601">
                  <c:v>2.1201998999999998</c:v>
                </c:pt>
                <c:pt idx="602">
                  <c:v>2.1204000000000001</c:v>
                </c:pt>
                <c:pt idx="603">
                  <c:v>2.1206</c:v>
                </c:pt>
                <c:pt idx="604">
                  <c:v>2.1208</c:v>
                </c:pt>
                <c:pt idx="605">
                  <c:v>2.1209997999999999</c:v>
                </c:pt>
                <c:pt idx="606">
                  <c:v>2.1211997999999999</c:v>
                </c:pt>
                <c:pt idx="607">
                  <c:v>2.1214000999999998</c:v>
                </c:pt>
                <c:pt idx="608">
                  <c:v>2.1215999000000001</c:v>
                </c:pt>
                <c:pt idx="609">
                  <c:v>2.1217999000000001</c:v>
                </c:pt>
                <c:pt idx="610">
                  <c:v>2.1219999999999999</c:v>
                </c:pt>
                <c:pt idx="611">
                  <c:v>2.1221999999999999</c:v>
                </c:pt>
                <c:pt idx="612">
                  <c:v>2.1223999999999998</c:v>
                </c:pt>
                <c:pt idx="613">
                  <c:v>2.1225998000000001</c:v>
                </c:pt>
                <c:pt idx="614">
                  <c:v>2.1227999</c:v>
                </c:pt>
                <c:pt idx="615">
                  <c:v>2.1229998999999999</c:v>
                </c:pt>
                <c:pt idx="616">
                  <c:v>2.1231998999999999</c:v>
                </c:pt>
                <c:pt idx="617">
                  <c:v>2.1234000000000002</c:v>
                </c:pt>
                <c:pt idx="618">
                  <c:v>2.1236000000000002</c:v>
                </c:pt>
                <c:pt idx="619">
                  <c:v>2.1238000000000001</c:v>
                </c:pt>
                <c:pt idx="620">
                  <c:v>2.1239998</c:v>
                </c:pt>
                <c:pt idx="621">
                  <c:v>2.1241998999999998</c:v>
                </c:pt>
                <c:pt idx="622">
                  <c:v>2.1243998999999998</c:v>
                </c:pt>
                <c:pt idx="623">
                  <c:v>2.1245999000000002</c:v>
                </c:pt>
                <c:pt idx="624">
                  <c:v>2.1248</c:v>
                </c:pt>
                <c:pt idx="625">
                  <c:v>2.1249997999999999</c:v>
                </c:pt>
                <c:pt idx="626">
                  <c:v>2.1252</c:v>
                </c:pt>
                <c:pt idx="627">
                  <c:v>2.1254000999999998</c:v>
                </c:pt>
                <c:pt idx="628">
                  <c:v>2.1255999000000001</c:v>
                </c:pt>
                <c:pt idx="629">
                  <c:v>2.1257999000000001</c:v>
                </c:pt>
                <c:pt idx="630">
                  <c:v>2.1259999000000001</c:v>
                </c:pt>
                <c:pt idx="631">
                  <c:v>2.1261999999999999</c:v>
                </c:pt>
                <c:pt idx="632">
                  <c:v>2.1263999999999998</c:v>
                </c:pt>
                <c:pt idx="633">
                  <c:v>2.1265998000000002</c:v>
                </c:pt>
                <c:pt idx="634">
                  <c:v>2.1267998000000001</c:v>
                </c:pt>
                <c:pt idx="635">
                  <c:v>2.1270001000000001</c:v>
                </c:pt>
                <c:pt idx="636">
                  <c:v>2.1271998999999999</c:v>
                </c:pt>
                <c:pt idx="637">
                  <c:v>2.1273998999999999</c:v>
                </c:pt>
                <c:pt idx="638">
                  <c:v>2.1276000000000002</c:v>
                </c:pt>
                <c:pt idx="639">
                  <c:v>2.1278000000000001</c:v>
                </c:pt>
                <c:pt idx="640">
                  <c:v>2.1280000000000001</c:v>
                </c:pt>
                <c:pt idx="641">
                  <c:v>2.1281998</c:v>
                </c:pt>
                <c:pt idx="642">
                  <c:v>2.1283998</c:v>
                </c:pt>
                <c:pt idx="643">
                  <c:v>2.1286000999999999</c:v>
                </c:pt>
                <c:pt idx="644">
                  <c:v>2.1287999000000002</c:v>
                </c:pt>
                <c:pt idx="645">
                  <c:v>2.1289999000000002</c:v>
                </c:pt>
                <c:pt idx="646">
                  <c:v>2.1292</c:v>
                </c:pt>
                <c:pt idx="647">
                  <c:v>2.1294</c:v>
                </c:pt>
                <c:pt idx="648">
                  <c:v>2.1295999999999999</c:v>
                </c:pt>
                <c:pt idx="649">
                  <c:v>2.1297997999999998</c:v>
                </c:pt>
                <c:pt idx="650">
                  <c:v>2.1299999000000001</c:v>
                </c:pt>
                <c:pt idx="651">
                  <c:v>2.1301999</c:v>
                </c:pt>
                <c:pt idx="652">
                  <c:v>2.1303999</c:v>
                </c:pt>
                <c:pt idx="653">
                  <c:v>2.1305999999999998</c:v>
                </c:pt>
                <c:pt idx="654">
                  <c:v>2.1307999999999998</c:v>
                </c:pt>
                <c:pt idx="655">
                  <c:v>2.1309999999999998</c:v>
                </c:pt>
                <c:pt idx="656">
                  <c:v>2.1311998000000001</c:v>
                </c:pt>
                <c:pt idx="657">
                  <c:v>2.1313998999999999</c:v>
                </c:pt>
                <c:pt idx="658">
                  <c:v>2.1315998999999999</c:v>
                </c:pt>
                <c:pt idx="659">
                  <c:v>2.1317998999999999</c:v>
                </c:pt>
                <c:pt idx="660">
                  <c:v>2.1320000000000001</c:v>
                </c:pt>
                <c:pt idx="661">
                  <c:v>2.1321998</c:v>
                </c:pt>
                <c:pt idx="662">
                  <c:v>2.1324000000000001</c:v>
                </c:pt>
                <c:pt idx="663">
                  <c:v>2.1326000999999999</c:v>
                </c:pt>
                <c:pt idx="664">
                  <c:v>2.1327999000000002</c:v>
                </c:pt>
                <c:pt idx="665">
                  <c:v>2.1329999000000002</c:v>
                </c:pt>
                <c:pt idx="666">
                  <c:v>2.1331999000000001</c:v>
                </c:pt>
                <c:pt idx="667">
                  <c:v>2.1334</c:v>
                </c:pt>
                <c:pt idx="668">
                  <c:v>2.1335999999999999</c:v>
                </c:pt>
                <c:pt idx="669">
                  <c:v>2.1337997999999998</c:v>
                </c:pt>
                <c:pt idx="670">
                  <c:v>2.1339997999999998</c:v>
                </c:pt>
                <c:pt idx="671">
                  <c:v>2.1342001000000002</c:v>
                </c:pt>
                <c:pt idx="672">
                  <c:v>2.1343999</c:v>
                </c:pt>
                <c:pt idx="673">
                  <c:v>2.1345999</c:v>
                </c:pt>
                <c:pt idx="674">
                  <c:v>2.1347999999999998</c:v>
                </c:pt>
                <c:pt idx="675">
                  <c:v>2.1349999999999998</c:v>
                </c:pt>
                <c:pt idx="676">
                  <c:v>2.1352000000000002</c:v>
                </c:pt>
                <c:pt idx="677">
                  <c:v>2.1353998000000001</c:v>
                </c:pt>
                <c:pt idx="678">
                  <c:v>2.1355998999999999</c:v>
                </c:pt>
                <c:pt idx="679">
                  <c:v>2.1357998999999999</c:v>
                </c:pt>
                <c:pt idx="680">
                  <c:v>2.1359998999999998</c:v>
                </c:pt>
                <c:pt idx="681">
                  <c:v>2.1362000000000001</c:v>
                </c:pt>
                <c:pt idx="682">
                  <c:v>2.1364000000000001</c:v>
                </c:pt>
                <c:pt idx="683">
                  <c:v>2.1366000000000001</c:v>
                </c:pt>
                <c:pt idx="684">
                  <c:v>2.1368000999999999</c:v>
                </c:pt>
                <c:pt idx="685">
                  <c:v>2.1369997999999999</c:v>
                </c:pt>
                <c:pt idx="686">
                  <c:v>2.1371999000000002</c:v>
                </c:pt>
                <c:pt idx="687">
                  <c:v>2.1373999000000001</c:v>
                </c:pt>
                <c:pt idx="688">
                  <c:v>2.1375999000000001</c:v>
                </c:pt>
                <c:pt idx="689">
                  <c:v>2.1377999999999999</c:v>
                </c:pt>
                <c:pt idx="690">
                  <c:v>2.1379999999999999</c:v>
                </c:pt>
                <c:pt idx="691">
                  <c:v>2.1381999999999999</c:v>
                </c:pt>
                <c:pt idx="692">
                  <c:v>2.1383998000000002</c:v>
                </c:pt>
                <c:pt idx="693">
                  <c:v>2.1385999</c:v>
                </c:pt>
                <c:pt idx="694">
                  <c:v>2.1387999</c:v>
                </c:pt>
                <c:pt idx="695">
                  <c:v>2.1389999</c:v>
                </c:pt>
                <c:pt idx="696">
                  <c:v>2.1392000000000002</c:v>
                </c:pt>
                <c:pt idx="697">
                  <c:v>2.1393998000000001</c:v>
                </c:pt>
                <c:pt idx="698">
                  <c:v>2.1396000000000002</c:v>
                </c:pt>
                <c:pt idx="699">
                  <c:v>2.1398001</c:v>
                </c:pt>
                <c:pt idx="700">
                  <c:v>2.1399998999999998</c:v>
                </c:pt>
                <c:pt idx="701">
                  <c:v>2.1401998999999998</c:v>
                </c:pt>
                <c:pt idx="702">
                  <c:v>2.1403998999999998</c:v>
                </c:pt>
                <c:pt idx="703">
                  <c:v>2.1406000000000001</c:v>
                </c:pt>
                <c:pt idx="704">
                  <c:v>2.1408</c:v>
                </c:pt>
                <c:pt idx="705">
                  <c:v>2.1409997999999999</c:v>
                </c:pt>
                <c:pt idx="706">
                  <c:v>2.1411997999999999</c:v>
                </c:pt>
                <c:pt idx="707">
                  <c:v>2.1414000999999998</c:v>
                </c:pt>
                <c:pt idx="708">
                  <c:v>2.1415999000000001</c:v>
                </c:pt>
                <c:pt idx="709">
                  <c:v>2.1417999000000001</c:v>
                </c:pt>
                <c:pt idx="710">
                  <c:v>2.1419999999999999</c:v>
                </c:pt>
                <c:pt idx="711">
                  <c:v>2.1421999999999999</c:v>
                </c:pt>
                <c:pt idx="712">
                  <c:v>2.1423999999999999</c:v>
                </c:pt>
                <c:pt idx="713">
                  <c:v>2.1425998000000002</c:v>
                </c:pt>
                <c:pt idx="714">
                  <c:v>2.1427999</c:v>
                </c:pt>
                <c:pt idx="715">
                  <c:v>2.1429999</c:v>
                </c:pt>
                <c:pt idx="716">
                  <c:v>2.1431998999999999</c:v>
                </c:pt>
                <c:pt idx="717">
                  <c:v>2.1434000000000002</c:v>
                </c:pt>
                <c:pt idx="718">
                  <c:v>2.1436000000000002</c:v>
                </c:pt>
                <c:pt idx="719">
                  <c:v>2.1438000000000001</c:v>
                </c:pt>
                <c:pt idx="720">
                  <c:v>2.1440001</c:v>
                </c:pt>
                <c:pt idx="721">
                  <c:v>2.1441998</c:v>
                </c:pt>
                <c:pt idx="722">
                  <c:v>2.1443998999999998</c:v>
                </c:pt>
                <c:pt idx="723">
                  <c:v>2.1445998999999998</c:v>
                </c:pt>
                <c:pt idx="724">
                  <c:v>2.1447999000000002</c:v>
                </c:pt>
                <c:pt idx="725">
                  <c:v>2.145</c:v>
                </c:pt>
                <c:pt idx="726">
                  <c:v>2.1452</c:v>
                </c:pt>
                <c:pt idx="727">
                  <c:v>2.1454</c:v>
                </c:pt>
                <c:pt idx="728">
                  <c:v>2.1455997999999998</c:v>
                </c:pt>
                <c:pt idx="729">
                  <c:v>2.1457999000000001</c:v>
                </c:pt>
                <c:pt idx="730">
                  <c:v>2.1459999000000001</c:v>
                </c:pt>
                <c:pt idx="731">
                  <c:v>2.1461999</c:v>
                </c:pt>
                <c:pt idx="732">
                  <c:v>2.1463999999999999</c:v>
                </c:pt>
                <c:pt idx="733">
                  <c:v>2.1465998000000002</c:v>
                </c:pt>
                <c:pt idx="734">
                  <c:v>2.1467999999999998</c:v>
                </c:pt>
                <c:pt idx="735">
                  <c:v>2.1470001000000001</c:v>
                </c:pt>
                <c:pt idx="736">
                  <c:v>2.1471998999999999</c:v>
                </c:pt>
                <c:pt idx="737">
                  <c:v>2.1473998999999999</c:v>
                </c:pt>
                <c:pt idx="738">
                  <c:v>2.1475996999999998</c:v>
                </c:pt>
                <c:pt idx="739">
                  <c:v>2.1478000000000002</c:v>
                </c:pt>
                <c:pt idx="740">
                  <c:v>2.1480000000000001</c:v>
                </c:pt>
                <c:pt idx="741">
                  <c:v>2.1481998</c:v>
                </c:pt>
                <c:pt idx="742">
                  <c:v>2.1484000999999999</c:v>
                </c:pt>
                <c:pt idx="743">
                  <c:v>2.1486000999999999</c:v>
                </c:pt>
                <c:pt idx="744">
                  <c:v>2.1487999000000002</c:v>
                </c:pt>
                <c:pt idx="745">
                  <c:v>2.1489999000000002</c:v>
                </c:pt>
                <c:pt idx="746">
                  <c:v>2.1491997</c:v>
                </c:pt>
                <c:pt idx="747">
                  <c:v>2.1494</c:v>
                </c:pt>
                <c:pt idx="748">
                  <c:v>2.1496</c:v>
                </c:pt>
                <c:pt idx="749">
                  <c:v>2.1497997999999998</c:v>
                </c:pt>
                <c:pt idx="750">
                  <c:v>2.1500001000000002</c:v>
                </c:pt>
                <c:pt idx="751">
                  <c:v>2.1501999000000001</c:v>
                </c:pt>
                <c:pt idx="752">
                  <c:v>2.1503999</c:v>
                </c:pt>
                <c:pt idx="753">
                  <c:v>2.1505999999999998</c:v>
                </c:pt>
                <c:pt idx="754">
                  <c:v>2.1507998000000002</c:v>
                </c:pt>
                <c:pt idx="755">
                  <c:v>2.1509999999999998</c:v>
                </c:pt>
                <c:pt idx="756">
                  <c:v>2.1512001000000001</c:v>
                </c:pt>
                <c:pt idx="757">
                  <c:v>2.1513998999999999</c:v>
                </c:pt>
                <c:pt idx="758">
                  <c:v>2.1516001</c:v>
                </c:pt>
                <c:pt idx="759">
                  <c:v>2.1517998999999999</c:v>
                </c:pt>
                <c:pt idx="760">
                  <c:v>2.1520000000000001</c:v>
                </c:pt>
                <c:pt idx="761">
                  <c:v>2.1522000000000001</c:v>
                </c:pt>
                <c:pt idx="762">
                  <c:v>2.1523998</c:v>
                </c:pt>
                <c:pt idx="763">
                  <c:v>2.1526000000000001</c:v>
                </c:pt>
                <c:pt idx="764">
                  <c:v>2.1527997999999999</c:v>
                </c:pt>
                <c:pt idx="765">
                  <c:v>2.1529999000000002</c:v>
                </c:pt>
                <c:pt idx="766">
                  <c:v>2.1532000999999998</c:v>
                </c:pt>
                <c:pt idx="767">
                  <c:v>2.1533999000000001</c:v>
                </c:pt>
                <c:pt idx="768">
                  <c:v>2.1536</c:v>
                </c:pt>
                <c:pt idx="769">
                  <c:v>2.1537997999999998</c:v>
                </c:pt>
                <c:pt idx="770">
                  <c:v>2.1539997999999998</c:v>
                </c:pt>
                <c:pt idx="771">
                  <c:v>2.1542001000000002</c:v>
                </c:pt>
                <c:pt idx="772">
                  <c:v>2.1543999</c:v>
                </c:pt>
                <c:pt idx="773">
                  <c:v>2.1545999</c:v>
                </c:pt>
                <c:pt idx="774">
                  <c:v>2.1548001999999999</c:v>
                </c:pt>
                <c:pt idx="775">
                  <c:v>2.1549999999999998</c:v>
                </c:pt>
                <c:pt idx="776">
                  <c:v>2.1551999999999998</c:v>
                </c:pt>
                <c:pt idx="777">
                  <c:v>2.1553998000000001</c:v>
                </c:pt>
                <c:pt idx="778">
                  <c:v>2.1555998000000001</c:v>
                </c:pt>
                <c:pt idx="779">
                  <c:v>2.1558001</c:v>
                </c:pt>
                <c:pt idx="780">
                  <c:v>2.1559998999999999</c:v>
                </c:pt>
                <c:pt idx="781">
                  <c:v>2.1561998999999998</c:v>
                </c:pt>
                <c:pt idx="782">
                  <c:v>2.1564000000000001</c:v>
                </c:pt>
                <c:pt idx="783">
                  <c:v>2.1566000000000001</c:v>
                </c:pt>
                <c:pt idx="784">
                  <c:v>2.1568000000000001</c:v>
                </c:pt>
                <c:pt idx="785">
                  <c:v>2.1569997999999999</c:v>
                </c:pt>
                <c:pt idx="786">
                  <c:v>2.1571999000000002</c:v>
                </c:pt>
                <c:pt idx="787">
                  <c:v>2.1573999000000001</c:v>
                </c:pt>
                <c:pt idx="788">
                  <c:v>2.1575999000000001</c:v>
                </c:pt>
                <c:pt idx="789">
                  <c:v>2.1577999999999999</c:v>
                </c:pt>
                <c:pt idx="790">
                  <c:v>2.1579999999999999</c:v>
                </c:pt>
                <c:pt idx="791">
                  <c:v>2.1581999999999999</c:v>
                </c:pt>
                <c:pt idx="792">
                  <c:v>2.1583998000000002</c:v>
                </c:pt>
                <c:pt idx="793">
                  <c:v>2.1585999</c:v>
                </c:pt>
                <c:pt idx="794">
                  <c:v>2.1587999</c:v>
                </c:pt>
                <c:pt idx="795">
                  <c:v>2.1589999</c:v>
                </c:pt>
                <c:pt idx="796">
                  <c:v>2.1591999999999998</c:v>
                </c:pt>
                <c:pt idx="797">
                  <c:v>2.1594000000000002</c:v>
                </c:pt>
                <c:pt idx="798">
                  <c:v>2.1596000000000002</c:v>
                </c:pt>
                <c:pt idx="799">
                  <c:v>2.1598001</c:v>
                </c:pt>
                <c:pt idx="800">
                  <c:v>2.1599998</c:v>
                </c:pt>
                <c:pt idx="801">
                  <c:v>2.1601998999999998</c:v>
                </c:pt>
                <c:pt idx="802">
                  <c:v>2.1603998999999998</c:v>
                </c:pt>
                <c:pt idx="803">
                  <c:v>2.1605998999999998</c:v>
                </c:pt>
                <c:pt idx="804">
                  <c:v>2.1608000000000001</c:v>
                </c:pt>
                <c:pt idx="805">
                  <c:v>2.1609997999999999</c:v>
                </c:pt>
                <c:pt idx="806">
                  <c:v>2.1612</c:v>
                </c:pt>
                <c:pt idx="807">
                  <c:v>2.1614000999999998</c:v>
                </c:pt>
                <c:pt idx="808">
                  <c:v>2.1615999000000001</c:v>
                </c:pt>
                <c:pt idx="809">
                  <c:v>2.1617999000000001</c:v>
                </c:pt>
                <c:pt idx="810">
                  <c:v>2.1619997</c:v>
                </c:pt>
                <c:pt idx="811">
                  <c:v>2.1621999999999999</c:v>
                </c:pt>
                <c:pt idx="812">
                  <c:v>2.1623999999999999</c:v>
                </c:pt>
                <c:pt idx="813">
                  <c:v>2.1625998000000002</c:v>
                </c:pt>
                <c:pt idx="814">
                  <c:v>2.1628001000000001</c:v>
                </c:pt>
                <c:pt idx="815">
                  <c:v>2.1630001000000001</c:v>
                </c:pt>
                <c:pt idx="816">
                  <c:v>2.1631999</c:v>
                </c:pt>
                <c:pt idx="817">
                  <c:v>2.1633998999999999</c:v>
                </c:pt>
                <c:pt idx="818">
                  <c:v>2.1635996999999998</c:v>
                </c:pt>
                <c:pt idx="819">
                  <c:v>2.1638000000000002</c:v>
                </c:pt>
                <c:pt idx="820">
                  <c:v>2.1640000000000001</c:v>
                </c:pt>
                <c:pt idx="821">
                  <c:v>2.1641998</c:v>
                </c:pt>
                <c:pt idx="822">
                  <c:v>2.1644000999999999</c:v>
                </c:pt>
                <c:pt idx="823">
                  <c:v>2.1645998999999998</c:v>
                </c:pt>
                <c:pt idx="824">
                  <c:v>2.1647999000000002</c:v>
                </c:pt>
                <c:pt idx="825">
                  <c:v>2.165</c:v>
                </c:pt>
                <c:pt idx="826">
                  <c:v>2.1651997999999999</c:v>
                </c:pt>
                <c:pt idx="827">
                  <c:v>2.1654</c:v>
                </c:pt>
                <c:pt idx="828">
                  <c:v>2.1655997999999999</c:v>
                </c:pt>
                <c:pt idx="829">
                  <c:v>2.1657999000000001</c:v>
                </c:pt>
                <c:pt idx="830">
                  <c:v>2.1660001000000002</c:v>
                </c:pt>
                <c:pt idx="831">
                  <c:v>2.1661999000000001</c:v>
                </c:pt>
                <c:pt idx="832">
                  <c:v>2.1663999999999999</c:v>
                </c:pt>
                <c:pt idx="833">
                  <c:v>2.1665999999999999</c:v>
                </c:pt>
                <c:pt idx="834">
                  <c:v>2.1667998000000002</c:v>
                </c:pt>
                <c:pt idx="835">
                  <c:v>2.1670001000000001</c:v>
                </c:pt>
                <c:pt idx="836">
                  <c:v>2.1671999</c:v>
                </c:pt>
                <c:pt idx="837">
                  <c:v>2.1673998999999999</c:v>
                </c:pt>
                <c:pt idx="838">
                  <c:v>2.1676001999999999</c:v>
                </c:pt>
                <c:pt idx="839">
                  <c:v>2.1677998999999999</c:v>
                </c:pt>
                <c:pt idx="840">
                  <c:v>2.1680000000000001</c:v>
                </c:pt>
                <c:pt idx="841">
                  <c:v>2.1681998</c:v>
                </c:pt>
                <c:pt idx="842">
                  <c:v>2.1683998</c:v>
                </c:pt>
                <c:pt idx="843">
                  <c:v>2.1686000999999999</c:v>
                </c:pt>
                <c:pt idx="844">
                  <c:v>2.1687998999999998</c:v>
                </c:pt>
                <c:pt idx="845">
                  <c:v>2.1689999000000002</c:v>
                </c:pt>
                <c:pt idx="846">
                  <c:v>2.1692002000000001</c:v>
                </c:pt>
                <c:pt idx="847">
                  <c:v>2.1694</c:v>
                </c:pt>
                <c:pt idx="848">
                  <c:v>2.1696</c:v>
                </c:pt>
                <c:pt idx="849">
                  <c:v>2.1697997999999998</c:v>
                </c:pt>
                <c:pt idx="850">
                  <c:v>2.1699997999999998</c:v>
                </c:pt>
                <c:pt idx="851">
                  <c:v>2.1702001000000002</c:v>
                </c:pt>
                <c:pt idx="852">
                  <c:v>2.1703999</c:v>
                </c:pt>
                <c:pt idx="853">
                  <c:v>2.1705999</c:v>
                </c:pt>
                <c:pt idx="854">
                  <c:v>2.1707999999999998</c:v>
                </c:pt>
                <c:pt idx="855">
                  <c:v>2.1709999999999998</c:v>
                </c:pt>
                <c:pt idx="856">
                  <c:v>2.1711999999999998</c:v>
                </c:pt>
                <c:pt idx="857">
                  <c:v>2.1713998000000001</c:v>
                </c:pt>
                <c:pt idx="858">
                  <c:v>2.1715998999999999</c:v>
                </c:pt>
                <c:pt idx="859">
                  <c:v>2.1717998999999999</c:v>
                </c:pt>
                <c:pt idx="860">
                  <c:v>2.1719998999999999</c:v>
                </c:pt>
                <c:pt idx="861">
                  <c:v>2.1722000000000001</c:v>
                </c:pt>
                <c:pt idx="862">
                  <c:v>2.1724000000000001</c:v>
                </c:pt>
                <c:pt idx="863">
                  <c:v>2.1726000000000001</c:v>
                </c:pt>
                <c:pt idx="864">
                  <c:v>2.1727997999999999</c:v>
                </c:pt>
                <c:pt idx="865">
                  <c:v>2.1729999000000002</c:v>
                </c:pt>
                <c:pt idx="866">
                  <c:v>2.1731999000000002</c:v>
                </c:pt>
                <c:pt idx="867">
                  <c:v>2.1733999000000002</c:v>
                </c:pt>
                <c:pt idx="868">
                  <c:v>2.1736</c:v>
                </c:pt>
                <c:pt idx="869">
                  <c:v>2.1738</c:v>
                </c:pt>
                <c:pt idx="870">
                  <c:v>2.1739999999999999</c:v>
                </c:pt>
                <c:pt idx="871">
                  <c:v>2.1742001000000002</c:v>
                </c:pt>
                <c:pt idx="872">
                  <c:v>2.1743999000000001</c:v>
                </c:pt>
                <c:pt idx="873">
                  <c:v>2.1745999</c:v>
                </c:pt>
                <c:pt idx="874">
                  <c:v>2.1747999</c:v>
                </c:pt>
                <c:pt idx="875">
                  <c:v>2.1749999999999998</c:v>
                </c:pt>
                <c:pt idx="876">
                  <c:v>2.1751999999999998</c:v>
                </c:pt>
                <c:pt idx="877">
                  <c:v>2.1753998000000001</c:v>
                </c:pt>
                <c:pt idx="878">
                  <c:v>2.1756001</c:v>
                </c:pt>
                <c:pt idx="879">
                  <c:v>2.1758001</c:v>
                </c:pt>
                <c:pt idx="880">
                  <c:v>2.1759998999999999</c:v>
                </c:pt>
                <c:pt idx="881">
                  <c:v>2.1761998999999999</c:v>
                </c:pt>
                <c:pt idx="882">
                  <c:v>2.1763997000000002</c:v>
                </c:pt>
                <c:pt idx="883">
                  <c:v>2.1766000000000001</c:v>
                </c:pt>
                <c:pt idx="884">
                  <c:v>2.1768000000000001</c:v>
                </c:pt>
                <c:pt idx="885">
                  <c:v>2.1769997999999999</c:v>
                </c:pt>
                <c:pt idx="886">
                  <c:v>2.1772000999999999</c:v>
                </c:pt>
                <c:pt idx="887">
                  <c:v>2.1774000999999998</c:v>
                </c:pt>
                <c:pt idx="888">
                  <c:v>2.1775999000000001</c:v>
                </c:pt>
                <c:pt idx="889">
                  <c:v>2.1777999000000001</c:v>
                </c:pt>
                <c:pt idx="890">
                  <c:v>2.1779997</c:v>
                </c:pt>
                <c:pt idx="891">
                  <c:v>2.1781999999999999</c:v>
                </c:pt>
                <c:pt idx="892">
                  <c:v>2.1783999999999999</c:v>
                </c:pt>
                <c:pt idx="893">
                  <c:v>2.1785998000000002</c:v>
                </c:pt>
                <c:pt idx="894">
                  <c:v>2.1788001000000001</c:v>
                </c:pt>
                <c:pt idx="895">
                  <c:v>2.1789999</c:v>
                </c:pt>
                <c:pt idx="896">
                  <c:v>2.1791999</c:v>
                </c:pt>
                <c:pt idx="897">
                  <c:v>2.1793999999999998</c:v>
                </c:pt>
                <c:pt idx="898">
                  <c:v>2.1795998000000001</c:v>
                </c:pt>
                <c:pt idx="899">
                  <c:v>2.1798000000000002</c:v>
                </c:pt>
                <c:pt idx="900">
                  <c:v>2.1799998</c:v>
                </c:pt>
                <c:pt idx="901">
                  <c:v>2.1801998999999999</c:v>
                </c:pt>
                <c:pt idx="902">
                  <c:v>2.1804001</c:v>
                </c:pt>
                <c:pt idx="903">
                  <c:v>2.1805998999999998</c:v>
                </c:pt>
                <c:pt idx="904">
                  <c:v>2.1808000000000001</c:v>
                </c:pt>
                <c:pt idx="905">
                  <c:v>2.1809997999999999</c:v>
                </c:pt>
                <c:pt idx="906">
                  <c:v>2.1811997999999999</c:v>
                </c:pt>
                <c:pt idx="907">
                  <c:v>2.1814000999999998</c:v>
                </c:pt>
                <c:pt idx="908">
                  <c:v>2.1815999000000001</c:v>
                </c:pt>
                <c:pt idx="909">
                  <c:v>2.1817999000000001</c:v>
                </c:pt>
                <c:pt idx="910">
                  <c:v>2.1820002000000001</c:v>
                </c:pt>
                <c:pt idx="911">
                  <c:v>2.1821999999999999</c:v>
                </c:pt>
                <c:pt idx="912">
                  <c:v>2.1823999999999999</c:v>
                </c:pt>
                <c:pt idx="913">
                  <c:v>2.1825998000000002</c:v>
                </c:pt>
                <c:pt idx="914">
                  <c:v>2.1827998000000002</c:v>
                </c:pt>
                <c:pt idx="915">
                  <c:v>2.1830001000000001</c:v>
                </c:pt>
                <c:pt idx="916">
                  <c:v>2.1831999</c:v>
                </c:pt>
                <c:pt idx="917">
                  <c:v>2.1833998999999999</c:v>
                </c:pt>
                <c:pt idx="918">
                  <c:v>2.1835998999999999</c:v>
                </c:pt>
                <c:pt idx="919">
                  <c:v>2.1838000000000002</c:v>
                </c:pt>
                <c:pt idx="920">
                  <c:v>2.1840000000000002</c:v>
                </c:pt>
                <c:pt idx="921">
                  <c:v>2.1841998</c:v>
                </c:pt>
                <c:pt idx="922">
                  <c:v>2.1843998</c:v>
                </c:pt>
                <c:pt idx="923">
                  <c:v>2.1846000999999999</c:v>
                </c:pt>
                <c:pt idx="924">
                  <c:v>2.1847998999999998</c:v>
                </c:pt>
                <c:pt idx="925">
                  <c:v>2.1849999000000002</c:v>
                </c:pt>
                <c:pt idx="926">
                  <c:v>2.1852</c:v>
                </c:pt>
                <c:pt idx="927">
                  <c:v>2.1854</c:v>
                </c:pt>
                <c:pt idx="928">
                  <c:v>2.1856</c:v>
                </c:pt>
                <c:pt idx="929">
                  <c:v>2.1857997999999998</c:v>
                </c:pt>
                <c:pt idx="930">
                  <c:v>2.1859999000000001</c:v>
                </c:pt>
                <c:pt idx="931">
                  <c:v>2.1861999000000001</c:v>
                </c:pt>
                <c:pt idx="932">
                  <c:v>2.1863999000000001</c:v>
                </c:pt>
                <c:pt idx="933">
                  <c:v>2.1865999999999999</c:v>
                </c:pt>
                <c:pt idx="934">
                  <c:v>2.1867999999999999</c:v>
                </c:pt>
                <c:pt idx="935">
                  <c:v>2.1869999999999998</c:v>
                </c:pt>
                <c:pt idx="936">
                  <c:v>2.1871998000000001</c:v>
                </c:pt>
                <c:pt idx="937">
                  <c:v>2.1873999</c:v>
                </c:pt>
                <c:pt idx="938">
                  <c:v>2.1875998999999999</c:v>
                </c:pt>
                <c:pt idx="939">
                  <c:v>2.1877998999999999</c:v>
                </c:pt>
                <c:pt idx="940">
                  <c:v>2.1880000000000002</c:v>
                </c:pt>
                <c:pt idx="941">
                  <c:v>2.1881998</c:v>
                </c:pt>
                <c:pt idx="942">
                  <c:v>2.1884000000000001</c:v>
                </c:pt>
                <c:pt idx="943">
                  <c:v>2.1886000999999999</c:v>
                </c:pt>
                <c:pt idx="944">
                  <c:v>2.1887998999999998</c:v>
                </c:pt>
                <c:pt idx="945">
                  <c:v>2.1889999000000002</c:v>
                </c:pt>
                <c:pt idx="946">
                  <c:v>2.1891999000000002</c:v>
                </c:pt>
                <c:pt idx="947">
                  <c:v>2.1894</c:v>
                </c:pt>
                <c:pt idx="948">
                  <c:v>2.1896</c:v>
                </c:pt>
                <c:pt idx="949">
                  <c:v>2.1897997999999999</c:v>
                </c:pt>
                <c:pt idx="950">
                  <c:v>2.1900000999999998</c:v>
                </c:pt>
                <c:pt idx="951">
                  <c:v>2.1902001000000002</c:v>
                </c:pt>
                <c:pt idx="952">
                  <c:v>2.1903999000000001</c:v>
                </c:pt>
                <c:pt idx="953">
                  <c:v>2.1905999</c:v>
                </c:pt>
                <c:pt idx="954">
                  <c:v>2.1907996999999999</c:v>
                </c:pt>
                <c:pt idx="955">
                  <c:v>2.1909999999999998</c:v>
                </c:pt>
                <c:pt idx="956">
                  <c:v>2.1911999999999998</c:v>
                </c:pt>
                <c:pt idx="957">
                  <c:v>2.1913998000000001</c:v>
                </c:pt>
                <c:pt idx="958">
                  <c:v>2.1916001000000001</c:v>
                </c:pt>
                <c:pt idx="959">
                  <c:v>2.1918001</c:v>
                </c:pt>
                <c:pt idx="960">
                  <c:v>2.1919998999999999</c:v>
                </c:pt>
                <c:pt idx="961">
                  <c:v>2.1921998999999999</c:v>
                </c:pt>
                <c:pt idx="962">
                  <c:v>2.1923997000000002</c:v>
                </c:pt>
                <c:pt idx="963">
                  <c:v>2.1926000000000001</c:v>
                </c:pt>
                <c:pt idx="964">
                  <c:v>2.1928000000000001</c:v>
                </c:pt>
                <c:pt idx="965">
                  <c:v>2.1929997999999999</c:v>
                </c:pt>
                <c:pt idx="966">
                  <c:v>2.1932000999999999</c:v>
                </c:pt>
                <c:pt idx="967">
                  <c:v>2.1933999000000002</c:v>
                </c:pt>
                <c:pt idx="968">
                  <c:v>2.1935999000000002</c:v>
                </c:pt>
                <c:pt idx="969">
                  <c:v>2.1938</c:v>
                </c:pt>
                <c:pt idx="970">
                  <c:v>2.1939997999999998</c:v>
                </c:pt>
                <c:pt idx="971">
                  <c:v>2.1941999999999999</c:v>
                </c:pt>
                <c:pt idx="972">
                  <c:v>2.1943997999999998</c:v>
                </c:pt>
                <c:pt idx="973">
                  <c:v>2.1945999</c:v>
                </c:pt>
                <c:pt idx="974">
                  <c:v>2.1948001000000001</c:v>
                </c:pt>
                <c:pt idx="975">
                  <c:v>2.1949999</c:v>
                </c:pt>
                <c:pt idx="976">
                  <c:v>2.1951999999999998</c:v>
                </c:pt>
                <c:pt idx="977">
                  <c:v>2.1953998000000001</c:v>
                </c:pt>
                <c:pt idx="978">
                  <c:v>2.1955998000000001</c:v>
                </c:pt>
                <c:pt idx="979">
                  <c:v>2.1958001</c:v>
                </c:pt>
                <c:pt idx="980">
                  <c:v>2.1959998999999999</c:v>
                </c:pt>
                <c:pt idx="981">
                  <c:v>2.1961998999999999</c:v>
                </c:pt>
                <c:pt idx="982">
                  <c:v>2.1964001999999998</c:v>
                </c:pt>
                <c:pt idx="983">
                  <c:v>2.1966000000000001</c:v>
                </c:pt>
                <c:pt idx="984">
                  <c:v>2.1968000000000001</c:v>
                </c:pt>
                <c:pt idx="985">
                  <c:v>2.1969997999999999</c:v>
                </c:pt>
                <c:pt idx="986">
                  <c:v>2.1971997999999999</c:v>
                </c:pt>
                <c:pt idx="987">
                  <c:v>2.1974000999999999</c:v>
                </c:pt>
                <c:pt idx="988">
                  <c:v>2.1975999000000002</c:v>
                </c:pt>
                <c:pt idx="989">
                  <c:v>2.1977999000000001</c:v>
                </c:pt>
                <c:pt idx="990">
                  <c:v>2.198</c:v>
                </c:pt>
                <c:pt idx="991">
                  <c:v>2.1981999999999999</c:v>
                </c:pt>
                <c:pt idx="992">
                  <c:v>2.1983999999999999</c:v>
                </c:pt>
                <c:pt idx="993">
                  <c:v>2.1985998000000002</c:v>
                </c:pt>
                <c:pt idx="994">
                  <c:v>2.1987998000000002</c:v>
                </c:pt>
                <c:pt idx="995">
                  <c:v>2.1990001000000001</c:v>
                </c:pt>
                <c:pt idx="996">
                  <c:v>2.1991999</c:v>
                </c:pt>
                <c:pt idx="997">
                  <c:v>2.1993999</c:v>
                </c:pt>
                <c:pt idx="998">
                  <c:v>2.1996000000000002</c:v>
                </c:pt>
                <c:pt idx="999">
                  <c:v>2.1998000000000002</c:v>
                </c:pt>
                <c:pt idx="1000">
                  <c:v>2.2000000000000002</c:v>
                </c:pt>
                <c:pt idx="1001">
                  <c:v>2.2001998</c:v>
                </c:pt>
                <c:pt idx="1002">
                  <c:v>2.2003998999999999</c:v>
                </c:pt>
                <c:pt idx="1003">
                  <c:v>2.2005998999999998</c:v>
                </c:pt>
                <c:pt idx="1004">
                  <c:v>2.2007998999999998</c:v>
                </c:pt>
                <c:pt idx="1005">
                  <c:v>2.2010000000000001</c:v>
                </c:pt>
                <c:pt idx="1006">
                  <c:v>2.2012</c:v>
                </c:pt>
                <c:pt idx="1007">
                  <c:v>2.2014</c:v>
                </c:pt>
                <c:pt idx="1008">
                  <c:v>2.2015997999999999</c:v>
                </c:pt>
                <c:pt idx="1009">
                  <c:v>2.2017999000000001</c:v>
                </c:pt>
                <c:pt idx="1010">
                  <c:v>2.2019999000000001</c:v>
                </c:pt>
                <c:pt idx="1011">
                  <c:v>2.2021999000000001</c:v>
                </c:pt>
                <c:pt idx="1012">
                  <c:v>2.2023999999999999</c:v>
                </c:pt>
                <c:pt idx="1013">
                  <c:v>2.2025998000000002</c:v>
                </c:pt>
                <c:pt idx="1014">
                  <c:v>2.2027999999999999</c:v>
                </c:pt>
                <c:pt idx="1015">
                  <c:v>2.2030001000000001</c:v>
                </c:pt>
                <c:pt idx="1016">
                  <c:v>2.2031999</c:v>
                </c:pt>
                <c:pt idx="1017">
                  <c:v>2.2033999</c:v>
                </c:pt>
                <c:pt idx="1018">
                  <c:v>2.2035996999999998</c:v>
                </c:pt>
                <c:pt idx="1019">
                  <c:v>2.2038000000000002</c:v>
                </c:pt>
                <c:pt idx="1020">
                  <c:v>2.2040000000000002</c:v>
                </c:pt>
                <c:pt idx="1021">
                  <c:v>2.2041998</c:v>
                </c:pt>
                <c:pt idx="1022">
                  <c:v>2.2044001</c:v>
                </c:pt>
                <c:pt idx="1023">
                  <c:v>2.2046001</c:v>
                </c:pt>
                <c:pt idx="1024">
                  <c:v>2.2047998999999998</c:v>
                </c:pt>
                <c:pt idx="1025">
                  <c:v>2.2049998999999998</c:v>
                </c:pt>
                <c:pt idx="1026">
                  <c:v>2.2051997000000001</c:v>
                </c:pt>
                <c:pt idx="1027">
                  <c:v>2.2054</c:v>
                </c:pt>
                <c:pt idx="1028">
                  <c:v>2.2056</c:v>
                </c:pt>
                <c:pt idx="1029">
                  <c:v>2.2057997999999999</c:v>
                </c:pt>
                <c:pt idx="1030">
                  <c:v>2.2060000999999998</c:v>
                </c:pt>
                <c:pt idx="1031">
                  <c:v>2.2061999000000001</c:v>
                </c:pt>
                <c:pt idx="1032">
                  <c:v>2.2063999000000001</c:v>
                </c:pt>
                <c:pt idx="1033">
                  <c:v>2.2065999999999999</c:v>
                </c:pt>
                <c:pt idx="1034">
                  <c:v>2.2067996999999999</c:v>
                </c:pt>
                <c:pt idx="1035">
                  <c:v>2.2069999999999999</c:v>
                </c:pt>
                <c:pt idx="1036">
                  <c:v>2.2072001000000001</c:v>
                </c:pt>
                <c:pt idx="1037">
                  <c:v>2.2073998000000001</c:v>
                </c:pt>
                <c:pt idx="1038">
                  <c:v>2.2076001000000001</c:v>
                </c:pt>
                <c:pt idx="1039">
                  <c:v>2.2077998999999999</c:v>
                </c:pt>
                <c:pt idx="1040">
                  <c:v>2.2079998999999999</c:v>
                </c:pt>
                <c:pt idx="1041">
                  <c:v>2.2082000000000002</c:v>
                </c:pt>
                <c:pt idx="1042">
                  <c:v>2.2083998</c:v>
                </c:pt>
                <c:pt idx="1043">
                  <c:v>2.2086000000000001</c:v>
                </c:pt>
                <c:pt idx="1044">
                  <c:v>2.2087998</c:v>
                </c:pt>
                <c:pt idx="1045">
                  <c:v>2.2089998999999998</c:v>
                </c:pt>
                <c:pt idx="1046">
                  <c:v>2.2092000999999999</c:v>
                </c:pt>
                <c:pt idx="1047">
                  <c:v>2.2093999000000002</c:v>
                </c:pt>
                <c:pt idx="1048">
                  <c:v>2.2096</c:v>
                </c:pt>
                <c:pt idx="1049">
                  <c:v>2.2097997999999999</c:v>
                </c:pt>
                <c:pt idx="1050">
                  <c:v>2.2099997999999998</c:v>
                </c:pt>
                <c:pt idx="1051">
                  <c:v>2.2102000999999998</c:v>
                </c:pt>
                <c:pt idx="1052">
                  <c:v>2.2103999000000001</c:v>
                </c:pt>
                <c:pt idx="1053">
                  <c:v>2.2105999000000001</c:v>
                </c:pt>
                <c:pt idx="1054">
                  <c:v>2.2108002</c:v>
                </c:pt>
                <c:pt idx="1055">
                  <c:v>2.2109999999999999</c:v>
                </c:pt>
                <c:pt idx="1056">
                  <c:v>2.2111999999999998</c:v>
                </c:pt>
                <c:pt idx="1057">
                  <c:v>2.2113998000000001</c:v>
                </c:pt>
                <c:pt idx="1058">
                  <c:v>2.2115998000000001</c:v>
                </c:pt>
                <c:pt idx="1059">
                  <c:v>2.2118001</c:v>
                </c:pt>
                <c:pt idx="1060">
                  <c:v>2.2119998999999999</c:v>
                </c:pt>
                <c:pt idx="1061">
                  <c:v>2.2121998999999999</c:v>
                </c:pt>
                <c:pt idx="1062">
                  <c:v>2.2124000000000001</c:v>
                </c:pt>
                <c:pt idx="1063">
                  <c:v>2.2126000000000001</c:v>
                </c:pt>
                <c:pt idx="1064">
                  <c:v>2.2128000000000001</c:v>
                </c:pt>
                <c:pt idx="1065">
                  <c:v>2.2129998</c:v>
                </c:pt>
                <c:pt idx="1066">
                  <c:v>2.2131999000000002</c:v>
                </c:pt>
                <c:pt idx="1067">
                  <c:v>2.2133999000000002</c:v>
                </c:pt>
                <c:pt idx="1068">
                  <c:v>2.2135999000000002</c:v>
                </c:pt>
                <c:pt idx="1069">
                  <c:v>2.2138</c:v>
                </c:pt>
                <c:pt idx="1070">
                  <c:v>2.214</c:v>
                </c:pt>
                <c:pt idx="1071">
                  <c:v>2.2141999999999999</c:v>
                </c:pt>
                <c:pt idx="1072">
                  <c:v>2.2144001000000002</c:v>
                </c:pt>
                <c:pt idx="1073">
                  <c:v>2.2145997999999998</c:v>
                </c:pt>
                <c:pt idx="1074">
                  <c:v>2.2147999</c:v>
                </c:pt>
                <c:pt idx="1075">
                  <c:v>2.2149999</c:v>
                </c:pt>
                <c:pt idx="1076">
                  <c:v>2.2151999</c:v>
                </c:pt>
                <c:pt idx="1077">
                  <c:v>2.2153999999999998</c:v>
                </c:pt>
                <c:pt idx="1078">
                  <c:v>2.2155999999999998</c:v>
                </c:pt>
                <c:pt idx="1079">
                  <c:v>2.2158000000000002</c:v>
                </c:pt>
                <c:pt idx="1080">
                  <c:v>2.2159998000000001</c:v>
                </c:pt>
                <c:pt idx="1081">
                  <c:v>2.2161998999999999</c:v>
                </c:pt>
                <c:pt idx="1082">
                  <c:v>2.2163998999999999</c:v>
                </c:pt>
                <c:pt idx="1083">
                  <c:v>2.2165998999999998</c:v>
                </c:pt>
                <c:pt idx="1084">
                  <c:v>2.2168000000000001</c:v>
                </c:pt>
                <c:pt idx="1085">
                  <c:v>2.2169998</c:v>
                </c:pt>
                <c:pt idx="1086">
                  <c:v>2.2172000000000001</c:v>
                </c:pt>
                <c:pt idx="1087">
                  <c:v>2.2174000999999999</c:v>
                </c:pt>
                <c:pt idx="1088">
                  <c:v>2.2175999000000002</c:v>
                </c:pt>
                <c:pt idx="1089">
                  <c:v>2.2177999000000002</c:v>
                </c:pt>
                <c:pt idx="1090">
                  <c:v>2.2179997</c:v>
                </c:pt>
                <c:pt idx="1091">
                  <c:v>2.2181999999999999</c:v>
                </c:pt>
                <c:pt idx="1092">
                  <c:v>2.2183999999999999</c:v>
                </c:pt>
                <c:pt idx="1093">
                  <c:v>2.2185997999999998</c:v>
                </c:pt>
                <c:pt idx="1094">
                  <c:v>2.2188001000000002</c:v>
                </c:pt>
                <c:pt idx="1095">
                  <c:v>2.2190001000000001</c:v>
                </c:pt>
                <c:pt idx="1096">
                  <c:v>2.2191999</c:v>
                </c:pt>
                <c:pt idx="1097">
                  <c:v>2.2193999</c:v>
                </c:pt>
                <c:pt idx="1098">
                  <c:v>2.2195996999999998</c:v>
                </c:pt>
                <c:pt idx="1099">
                  <c:v>2.2198000000000002</c:v>
                </c:pt>
                <c:pt idx="1100">
                  <c:v>2.2200000000000002</c:v>
                </c:pt>
                <c:pt idx="1101">
                  <c:v>2.2201998000000001</c:v>
                </c:pt>
                <c:pt idx="1102">
                  <c:v>2.2204001</c:v>
                </c:pt>
                <c:pt idx="1103">
                  <c:v>2.2205998999999998</c:v>
                </c:pt>
                <c:pt idx="1104">
                  <c:v>2.2207998999999998</c:v>
                </c:pt>
                <c:pt idx="1105">
                  <c:v>2.2210000000000001</c:v>
                </c:pt>
                <c:pt idx="1106">
                  <c:v>2.2211997999999999</c:v>
                </c:pt>
                <c:pt idx="1107">
                  <c:v>2.2214</c:v>
                </c:pt>
                <c:pt idx="1108">
                  <c:v>2.2216000999999999</c:v>
                </c:pt>
                <c:pt idx="1109">
                  <c:v>2.2217999000000002</c:v>
                </c:pt>
                <c:pt idx="1110">
                  <c:v>2.2220000999999998</c:v>
                </c:pt>
                <c:pt idx="1111">
                  <c:v>2.2221999000000001</c:v>
                </c:pt>
                <c:pt idx="1112">
                  <c:v>2.2223999999999999</c:v>
                </c:pt>
                <c:pt idx="1113">
                  <c:v>2.2225999999999999</c:v>
                </c:pt>
                <c:pt idx="1114">
                  <c:v>2.2227998000000002</c:v>
                </c:pt>
                <c:pt idx="1115">
                  <c:v>2.2229999999999999</c:v>
                </c:pt>
                <c:pt idx="1116">
                  <c:v>2.2231998000000002</c:v>
                </c:pt>
                <c:pt idx="1117">
                  <c:v>2.2233999</c:v>
                </c:pt>
                <c:pt idx="1118">
                  <c:v>2.2236001000000001</c:v>
                </c:pt>
                <c:pt idx="1119">
                  <c:v>2.2237998999999999</c:v>
                </c:pt>
                <c:pt idx="1120">
                  <c:v>2.2240000000000002</c:v>
                </c:pt>
                <c:pt idx="1121">
                  <c:v>2.2241998000000001</c:v>
                </c:pt>
                <c:pt idx="1122">
                  <c:v>2.2243998</c:v>
                </c:pt>
                <c:pt idx="1123">
                  <c:v>2.2246001</c:v>
                </c:pt>
                <c:pt idx="1124">
                  <c:v>2.2247998999999998</c:v>
                </c:pt>
                <c:pt idx="1125">
                  <c:v>2.2249998999999998</c:v>
                </c:pt>
                <c:pt idx="1126">
                  <c:v>2.2252002000000002</c:v>
                </c:pt>
                <c:pt idx="1127">
                  <c:v>2.2254</c:v>
                </c:pt>
                <c:pt idx="1128">
                  <c:v>2.2256</c:v>
                </c:pt>
                <c:pt idx="1129">
                  <c:v>2.2257997999999999</c:v>
                </c:pt>
                <c:pt idx="1130">
                  <c:v>2.2259997999999999</c:v>
                </c:pt>
                <c:pt idx="1131">
                  <c:v>2.2262000999999998</c:v>
                </c:pt>
                <c:pt idx="1132">
                  <c:v>2.2263999000000001</c:v>
                </c:pt>
                <c:pt idx="1133">
                  <c:v>2.2265999000000001</c:v>
                </c:pt>
                <c:pt idx="1134">
                  <c:v>2.2267999999999999</c:v>
                </c:pt>
                <c:pt idx="1135">
                  <c:v>2.2269999999999999</c:v>
                </c:pt>
                <c:pt idx="1136">
                  <c:v>2.2271999999999998</c:v>
                </c:pt>
                <c:pt idx="1137">
                  <c:v>2.2273998000000002</c:v>
                </c:pt>
                <c:pt idx="1138">
                  <c:v>2.2275999</c:v>
                </c:pt>
                <c:pt idx="1139">
                  <c:v>2.2277998999999999</c:v>
                </c:pt>
                <c:pt idx="1140">
                  <c:v>2.2279998999999999</c:v>
                </c:pt>
                <c:pt idx="1141">
                  <c:v>2.2282000000000002</c:v>
                </c:pt>
                <c:pt idx="1142">
                  <c:v>2.2284000000000002</c:v>
                </c:pt>
                <c:pt idx="1143">
                  <c:v>2.2286000000000001</c:v>
                </c:pt>
                <c:pt idx="1144">
                  <c:v>2.2287998</c:v>
                </c:pt>
                <c:pt idx="1145">
                  <c:v>2.2289998999999998</c:v>
                </c:pt>
                <c:pt idx="1146">
                  <c:v>2.2291998999999998</c:v>
                </c:pt>
                <c:pt idx="1147">
                  <c:v>2.2293999000000002</c:v>
                </c:pt>
                <c:pt idx="1148">
                  <c:v>2.2296</c:v>
                </c:pt>
                <c:pt idx="1149">
                  <c:v>2.2298</c:v>
                </c:pt>
                <c:pt idx="1150">
                  <c:v>2.23</c:v>
                </c:pt>
                <c:pt idx="1151">
                  <c:v>2.2302000999999998</c:v>
                </c:pt>
                <c:pt idx="1152">
                  <c:v>2.2303997999999998</c:v>
                </c:pt>
                <c:pt idx="1153">
                  <c:v>2.2305999000000001</c:v>
                </c:pt>
                <c:pt idx="1154">
                  <c:v>2.2307999000000001</c:v>
                </c:pt>
                <c:pt idx="1155">
                  <c:v>2.2309999</c:v>
                </c:pt>
                <c:pt idx="1156">
                  <c:v>2.2311999999999999</c:v>
                </c:pt>
                <c:pt idx="1157">
                  <c:v>2.2313998000000002</c:v>
                </c:pt>
                <c:pt idx="1158">
                  <c:v>2.2315999999999998</c:v>
                </c:pt>
                <c:pt idx="1159">
                  <c:v>2.2318001000000001</c:v>
                </c:pt>
                <c:pt idx="1160">
                  <c:v>2.2319998999999999</c:v>
                </c:pt>
                <c:pt idx="1161">
                  <c:v>2.2321998999999999</c:v>
                </c:pt>
                <c:pt idx="1162">
                  <c:v>2.2323997000000002</c:v>
                </c:pt>
                <c:pt idx="1163">
                  <c:v>2.2326000000000001</c:v>
                </c:pt>
                <c:pt idx="1164">
                  <c:v>2.2328000000000001</c:v>
                </c:pt>
                <c:pt idx="1165">
                  <c:v>2.2329998</c:v>
                </c:pt>
                <c:pt idx="1166">
                  <c:v>2.2332000999999999</c:v>
                </c:pt>
                <c:pt idx="1167">
                  <c:v>2.2334000999999999</c:v>
                </c:pt>
                <c:pt idx="1168">
                  <c:v>2.2335999000000002</c:v>
                </c:pt>
                <c:pt idx="1169">
                  <c:v>2.2337999000000002</c:v>
                </c:pt>
                <c:pt idx="1170">
                  <c:v>2.2339997</c:v>
                </c:pt>
                <c:pt idx="1171">
                  <c:v>2.2342</c:v>
                </c:pt>
                <c:pt idx="1172">
                  <c:v>2.2343999999999999</c:v>
                </c:pt>
                <c:pt idx="1173">
                  <c:v>2.2345997999999998</c:v>
                </c:pt>
                <c:pt idx="1174">
                  <c:v>2.2348001000000002</c:v>
                </c:pt>
                <c:pt idx="1175">
                  <c:v>2.2349999</c:v>
                </c:pt>
                <c:pt idx="1176">
                  <c:v>2.2351999</c:v>
                </c:pt>
                <c:pt idx="1177">
                  <c:v>2.2353999999999998</c:v>
                </c:pt>
                <c:pt idx="1178">
                  <c:v>2.2355998000000001</c:v>
                </c:pt>
                <c:pt idx="1179">
                  <c:v>2.2357999999999998</c:v>
                </c:pt>
                <c:pt idx="1180">
                  <c:v>2.2359998000000001</c:v>
                </c:pt>
                <c:pt idx="1181">
                  <c:v>2.2361998999999999</c:v>
                </c:pt>
                <c:pt idx="1182">
                  <c:v>2.2364001</c:v>
                </c:pt>
                <c:pt idx="1183">
                  <c:v>2.2365998999999999</c:v>
                </c:pt>
                <c:pt idx="1184">
                  <c:v>2.2368000000000001</c:v>
                </c:pt>
                <c:pt idx="1185">
                  <c:v>2.2370000000000001</c:v>
                </c:pt>
                <c:pt idx="1186">
                  <c:v>2.2371998</c:v>
                </c:pt>
                <c:pt idx="1187">
                  <c:v>2.2374000999999999</c:v>
                </c:pt>
                <c:pt idx="1188">
                  <c:v>2.2375997999999999</c:v>
                </c:pt>
                <c:pt idx="1189">
                  <c:v>2.2377999000000002</c:v>
                </c:pt>
                <c:pt idx="1190">
                  <c:v>2.2380002000000001</c:v>
                </c:pt>
                <c:pt idx="1191">
                  <c:v>2.2381999000000001</c:v>
                </c:pt>
                <c:pt idx="1192">
                  <c:v>2.2383999999999999</c:v>
                </c:pt>
                <c:pt idx="1193">
                  <c:v>2.2385997999999998</c:v>
                </c:pt>
                <c:pt idx="1194">
                  <c:v>2.2387997999999998</c:v>
                </c:pt>
                <c:pt idx="1195">
                  <c:v>2.2390001000000002</c:v>
                </c:pt>
                <c:pt idx="1196">
                  <c:v>2.2391999</c:v>
                </c:pt>
                <c:pt idx="1197">
                  <c:v>2.2393999</c:v>
                </c:pt>
                <c:pt idx="1198">
                  <c:v>2.2396001999999999</c:v>
                </c:pt>
                <c:pt idx="1199">
                  <c:v>2.2397999999999998</c:v>
                </c:pt>
                <c:pt idx="1200">
                  <c:v>2.2400000000000002</c:v>
                </c:pt>
                <c:pt idx="1201">
                  <c:v>2.2401998000000001</c:v>
                </c:pt>
                <c:pt idx="1202">
                  <c:v>2.2403998000000001</c:v>
                </c:pt>
                <c:pt idx="1203">
                  <c:v>2.2406001</c:v>
                </c:pt>
                <c:pt idx="1204">
                  <c:v>2.2407998999999998</c:v>
                </c:pt>
                <c:pt idx="1205">
                  <c:v>2.2409998999999998</c:v>
                </c:pt>
                <c:pt idx="1206">
                  <c:v>2.2412000000000001</c:v>
                </c:pt>
                <c:pt idx="1207">
                  <c:v>2.2414000000000001</c:v>
                </c:pt>
                <c:pt idx="1208">
                  <c:v>2.2416</c:v>
                </c:pt>
                <c:pt idx="1209">
                  <c:v>2.2417997999999999</c:v>
                </c:pt>
                <c:pt idx="1210">
                  <c:v>2.2419999000000002</c:v>
                </c:pt>
                <c:pt idx="1211">
                  <c:v>2.2421999000000001</c:v>
                </c:pt>
                <c:pt idx="1212">
                  <c:v>2.2423999000000001</c:v>
                </c:pt>
                <c:pt idx="1213">
                  <c:v>2.2425999999999999</c:v>
                </c:pt>
                <c:pt idx="1214">
                  <c:v>2.2427999999999999</c:v>
                </c:pt>
                <c:pt idx="1215">
                  <c:v>2.2429999999999999</c:v>
                </c:pt>
                <c:pt idx="1216">
                  <c:v>2.2431998000000002</c:v>
                </c:pt>
                <c:pt idx="1217">
                  <c:v>2.2433999</c:v>
                </c:pt>
                <c:pt idx="1218">
                  <c:v>2.2435999</c:v>
                </c:pt>
                <c:pt idx="1219">
                  <c:v>2.2437999</c:v>
                </c:pt>
                <c:pt idx="1220">
                  <c:v>2.2440000000000002</c:v>
                </c:pt>
                <c:pt idx="1221">
                  <c:v>2.2442000000000002</c:v>
                </c:pt>
                <c:pt idx="1222">
                  <c:v>2.2444000000000002</c:v>
                </c:pt>
                <c:pt idx="1223">
                  <c:v>2.2446001</c:v>
                </c:pt>
                <c:pt idx="1224">
                  <c:v>2.2447998999999998</c:v>
                </c:pt>
                <c:pt idx="1225">
                  <c:v>2.2449998999999998</c:v>
                </c:pt>
                <c:pt idx="1226">
                  <c:v>2.2451998999999998</c:v>
                </c:pt>
                <c:pt idx="1227">
                  <c:v>2.2454000000000001</c:v>
                </c:pt>
                <c:pt idx="1228">
                  <c:v>2.2456</c:v>
                </c:pt>
                <c:pt idx="1229">
                  <c:v>2.2457997999999999</c:v>
                </c:pt>
                <c:pt idx="1230">
                  <c:v>2.2460000999999998</c:v>
                </c:pt>
                <c:pt idx="1231">
                  <c:v>2.2462000999999998</c:v>
                </c:pt>
                <c:pt idx="1232">
                  <c:v>2.2463999000000001</c:v>
                </c:pt>
                <c:pt idx="1233">
                  <c:v>2.2465999000000001</c:v>
                </c:pt>
                <c:pt idx="1234">
                  <c:v>2.2467997</c:v>
                </c:pt>
                <c:pt idx="1235">
                  <c:v>2.2469999999999999</c:v>
                </c:pt>
                <c:pt idx="1236">
                  <c:v>2.2471999999999999</c:v>
                </c:pt>
                <c:pt idx="1237">
                  <c:v>2.2473998000000002</c:v>
                </c:pt>
                <c:pt idx="1238">
                  <c:v>2.2476001000000001</c:v>
                </c:pt>
                <c:pt idx="1239">
                  <c:v>2.2478001000000001</c:v>
                </c:pt>
                <c:pt idx="1240">
                  <c:v>2.2479998999999999</c:v>
                </c:pt>
                <c:pt idx="1241">
                  <c:v>2.2481998999999999</c:v>
                </c:pt>
                <c:pt idx="1242">
                  <c:v>2.2483996999999998</c:v>
                </c:pt>
                <c:pt idx="1243">
                  <c:v>2.2486000000000002</c:v>
                </c:pt>
                <c:pt idx="1244">
                  <c:v>2.2488000000000001</c:v>
                </c:pt>
                <c:pt idx="1245">
                  <c:v>2.2489998</c:v>
                </c:pt>
                <c:pt idx="1246">
                  <c:v>2.2492000999999999</c:v>
                </c:pt>
                <c:pt idx="1247">
                  <c:v>2.2493998999999998</c:v>
                </c:pt>
                <c:pt idx="1248">
                  <c:v>2.2495999000000002</c:v>
                </c:pt>
                <c:pt idx="1249">
                  <c:v>2.2498</c:v>
                </c:pt>
                <c:pt idx="1250">
                  <c:v>2.2499997999999999</c:v>
                </c:pt>
                <c:pt idx="1251">
                  <c:v>2.2502</c:v>
                </c:pt>
                <c:pt idx="1252">
                  <c:v>2.2503997999999998</c:v>
                </c:pt>
                <c:pt idx="1253">
                  <c:v>2.2505999000000001</c:v>
                </c:pt>
                <c:pt idx="1254">
                  <c:v>2.2508001000000002</c:v>
                </c:pt>
                <c:pt idx="1255">
                  <c:v>2.2509999000000001</c:v>
                </c:pt>
                <c:pt idx="1256">
                  <c:v>2.2511999999999999</c:v>
                </c:pt>
                <c:pt idx="1257">
                  <c:v>2.2513998000000002</c:v>
                </c:pt>
                <c:pt idx="1258">
                  <c:v>2.2515998000000002</c:v>
                </c:pt>
                <c:pt idx="1259">
                  <c:v>2.2518001000000001</c:v>
                </c:pt>
                <c:pt idx="1260">
                  <c:v>2.2519998999999999</c:v>
                </c:pt>
                <c:pt idx="1261">
                  <c:v>2.2521998999999999</c:v>
                </c:pt>
                <c:pt idx="1262">
                  <c:v>2.2524001999999999</c:v>
                </c:pt>
                <c:pt idx="1263">
                  <c:v>2.2526000000000002</c:v>
                </c:pt>
                <c:pt idx="1264">
                  <c:v>2.2528000000000001</c:v>
                </c:pt>
                <c:pt idx="1265">
                  <c:v>2.2529998</c:v>
                </c:pt>
                <c:pt idx="1266">
                  <c:v>2.2531998</c:v>
                </c:pt>
                <c:pt idx="1267">
                  <c:v>2.2534000999999999</c:v>
                </c:pt>
                <c:pt idx="1268">
                  <c:v>2.2535999000000002</c:v>
                </c:pt>
                <c:pt idx="1269">
                  <c:v>2.2537999000000002</c:v>
                </c:pt>
                <c:pt idx="1270">
                  <c:v>2.2539999000000002</c:v>
                </c:pt>
                <c:pt idx="1271">
                  <c:v>2.2542</c:v>
                </c:pt>
                <c:pt idx="1272">
                  <c:v>2.2544</c:v>
                </c:pt>
                <c:pt idx="1273">
                  <c:v>2.2545997999999998</c:v>
                </c:pt>
                <c:pt idx="1274">
                  <c:v>2.2547997999999998</c:v>
                </c:pt>
                <c:pt idx="1275">
                  <c:v>2.2550001000000002</c:v>
                </c:pt>
                <c:pt idx="1276">
                  <c:v>2.2551999</c:v>
                </c:pt>
                <c:pt idx="1277">
                  <c:v>2.2553999</c:v>
                </c:pt>
                <c:pt idx="1278">
                  <c:v>2.2555999999999998</c:v>
                </c:pt>
                <c:pt idx="1279">
                  <c:v>2.2557999999999998</c:v>
                </c:pt>
                <c:pt idx="1280">
                  <c:v>2.2559999999999998</c:v>
                </c:pt>
                <c:pt idx="1281">
                  <c:v>2.2561998000000001</c:v>
                </c:pt>
                <c:pt idx="1282">
                  <c:v>2.2563998999999999</c:v>
                </c:pt>
                <c:pt idx="1283">
                  <c:v>2.2565998999999999</c:v>
                </c:pt>
                <c:pt idx="1284">
                  <c:v>2.2567998999999999</c:v>
                </c:pt>
                <c:pt idx="1285">
                  <c:v>2.2570000000000001</c:v>
                </c:pt>
                <c:pt idx="1286">
                  <c:v>2.2572000000000001</c:v>
                </c:pt>
                <c:pt idx="1287">
                  <c:v>2.2574000000000001</c:v>
                </c:pt>
                <c:pt idx="1288">
                  <c:v>2.2575997999999999</c:v>
                </c:pt>
                <c:pt idx="1289">
                  <c:v>2.2577999000000002</c:v>
                </c:pt>
                <c:pt idx="1290">
                  <c:v>2.2579999000000002</c:v>
                </c:pt>
                <c:pt idx="1291">
                  <c:v>2.2581999000000001</c:v>
                </c:pt>
                <c:pt idx="1292">
                  <c:v>2.2584</c:v>
                </c:pt>
                <c:pt idx="1293">
                  <c:v>2.2585997999999998</c:v>
                </c:pt>
                <c:pt idx="1294">
                  <c:v>2.2587999999999999</c:v>
                </c:pt>
                <c:pt idx="1295">
                  <c:v>2.2590001000000002</c:v>
                </c:pt>
                <c:pt idx="1296">
                  <c:v>2.2591999</c:v>
                </c:pt>
                <c:pt idx="1297">
                  <c:v>2.2593999</c:v>
                </c:pt>
                <c:pt idx="1298">
                  <c:v>2.2595999</c:v>
                </c:pt>
                <c:pt idx="1299">
                  <c:v>2.2597999999999998</c:v>
                </c:pt>
                <c:pt idx="1300">
                  <c:v>2.2599999999999998</c:v>
                </c:pt>
                <c:pt idx="1301">
                  <c:v>2.2601998000000001</c:v>
                </c:pt>
                <c:pt idx="1302">
                  <c:v>2.2604001</c:v>
                </c:pt>
                <c:pt idx="1303">
                  <c:v>2.2606001</c:v>
                </c:pt>
                <c:pt idx="1304">
                  <c:v>2.2607998999999999</c:v>
                </c:pt>
                <c:pt idx="1305">
                  <c:v>2.2609998999999998</c:v>
                </c:pt>
                <c:pt idx="1306">
                  <c:v>2.2611997000000001</c:v>
                </c:pt>
                <c:pt idx="1307">
                  <c:v>2.2614000000000001</c:v>
                </c:pt>
                <c:pt idx="1308">
                  <c:v>2.2616000000000001</c:v>
                </c:pt>
                <c:pt idx="1309">
                  <c:v>2.2617997999999999</c:v>
                </c:pt>
                <c:pt idx="1310">
                  <c:v>2.2620000999999998</c:v>
                </c:pt>
                <c:pt idx="1311">
                  <c:v>2.2622000999999998</c:v>
                </c:pt>
                <c:pt idx="1312">
                  <c:v>2.2623999000000001</c:v>
                </c:pt>
                <c:pt idx="1313">
                  <c:v>2.2625999000000001</c:v>
                </c:pt>
                <c:pt idx="1314">
                  <c:v>2.2627997</c:v>
                </c:pt>
                <c:pt idx="1315">
                  <c:v>2.2629999999999999</c:v>
                </c:pt>
                <c:pt idx="1316">
                  <c:v>2.2631999999999999</c:v>
                </c:pt>
                <c:pt idx="1317">
                  <c:v>2.2633998000000002</c:v>
                </c:pt>
                <c:pt idx="1318">
                  <c:v>2.2636001000000001</c:v>
                </c:pt>
                <c:pt idx="1319">
                  <c:v>2.2637999</c:v>
                </c:pt>
                <c:pt idx="1320">
                  <c:v>2.2639999</c:v>
                </c:pt>
                <c:pt idx="1321">
                  <c:v>2.2642000000000002</c:v>
                </c:pt>
                <c:pt idx="1322">
                  <c:v>2.2643998000000001</c:v>
                </c:pt>
                <c:pt idx="1323">
                  <c:v>2.2646000000000002</c:v>
                </c:pt>
                <c:pt idx="1324">
                  <c:v>2.2647998</c:v>
                </c:pt>
                <c:pt idx="1325">
                  <c:v>2.2649998999999998</c:v>
                </c:pt>
                <c:pt idx="1326">
                  <c:v>2.2652000999999999</c:v>
                </c:pt>
                <c:pt idx="1327">
                  <c:v>2.2653998999999998</c:v>
                </c:pt>
                <c:pt idx="1328">
                  <c:v>2.2656000000000001</c:v>
                </c:pt>
                <c:pt idx="1329">
                  <c:v>2.2657997999999999</c:v>
                </c:pt>
                <c:pt idx="1330">
                  <c:v>2.2659997999999999</c:v>
                </c:pt>
                <c:pt idx="1331">
                  <c:v>2.2662000999999998</c:v>
                </c:pt>
                <c:pt idx="1332">
                  <c:v>2.2663999000000001</c:v>
                </c:pt>
                <c:pt idx="1333">
                  <c:v>2.2665999000000001</c:v>
                </c:pt>
                <c:pt idx="1334">
                  <c:v>2.2668002</c:v>
                </c:pt>
                <c:pt idx="1335">
                  <c:v>2.2669999999999999</c:v>
                </c:pt>
                <c:pt idx="1336">
                  <c:v>2.2671999999999999</c:v>
                </c:pt>
                <c:pt idx="1337">
                  <c:v>2.2673998000000002</c:v>
                </c:pt>
                <c:pt idx="1338">
                  <c:v>2.2675998000000002</c:v>
                </c:pt>
                <c:pt idx="1339">
                  <c:v>2.2678001000000001</c:v>
                </c:pt>
                <c:pt idx="1340">
                  <c:v>2.2679999</c:v>
                </c:pt>
                <c:pt idx="1341">
                  <c:v>2.2681998999999999</c:v>
                </c:pt>
                <c:pt idx="1342">
                  <c:v>2.2684000000000002</c:v>
                </c:pt>
                <c:pt idx="1343">
                  <c:v>2.2686000000000002</c:v>
                </c:pt>
                <c:pt idx="1344">
                  <c:v>2.2688000000000001</c:v>
                </c:pt>
                <c:pt idx="1345">
                  <c:v>2.2689998</c:v>
                </c:pt>
                <c:pt idx="1346">
                  <c:v>2.2691998</c:v>
                </c:pt>
                <c:pt idx="1347">
                  <c:v>2.2693998999999998</c:v>
                </c:pt>
                <c:pt idx="1348">
                  <c:v>2.2695998999999998</c:v>
                </c:pt>
                <c:pt idx="1349">
                  <c:v>2.2697999000000002</c:v>
                </c:pt>
                <c:pt idx="1350">
                  <c:v>2.27</c:v>
                </c:pt>
                <c:pt idx="1351">
                  <c:v>2.2702</c:v>
                </c:pt>
                <c:pt idx="1352">
                  <c:v>2.2704</c:v>
                </c:pt>
                <c:pt idx="1353">
                  <c:v>2.2705997999999998</c:v>
                </c:pt>
                <c:pt idx="1354">
                  <c:v>2.2707999000000001</c:v>
                </c:pt>
                <c:pt idx="1355">
                  <c:v>2.2709999000000001</c:v>
                </c:pt>
                <c:pt idx="1356">
                  <c:v>2.2711999</c:v>
                </c:pt>
                <c:pt idx="1357">
                  <c:v>2.2713999999999999</c:v>
                </c:pt>
                <c:pt idx="1358">
                  <c:v>2.2715999999999998</c:v>
                </c:pt>
                <c:pt idx="1359">
                  <c:v>2.2717999999999998</c:v>
                </c:pt>
                <c:pt idx="1360">
                  <c:v>2.2719998000000001</c:v>
                </c:pt>
                <c:pt idx="1361">
                  <c:v>2.2721998999999999</c:v>
                </c:pt>
                <c:pt idx="1362">
                  <c:v>2.2723998999999999</c:v>
                </c:pt>
                <c:pt idx="1363">
                  <c:v>2.2725998999999999</c:v>
                </c:pt>
                <c:pt idx="1364">
                  <c:v>2.2728000000000002</c:v>
                </c:pt>
                <c:pt idx="1365">
                  <c:v>2.2729998</c:v>
                </c:pt>
                <c:pt idx="1366">
                  <c:v>2.2732000000000001</c:v>
                </c:pt>
                <c:pt idx="1367">
                  <c:v>2.2734000999999999</c:v>
                </c:pt>
                <c:pt idx="1368">
                  <c:v>2.2735998999999998</c:v>
                </c:pt>
                <c:pt idx="1369">
                  <c:v>2.2737999000000002</c:v>
                </c:pt>
                <c:pt idx="1370">
                  <c:v>2.2739997000000001</c:v>
                </c:pt>
                <c:pt idx="1371">
                  <c:v>2.2742</c:v>
                </c:pt>
                <c:pt idx="1372">
                  <c:v>2.2744</c:v>
                </c:pt>
                <c:pt idx="1373">
                  <c:v>2.2745997999999998</c:v>
                </c:pt>
                <c:pt idx="1374">
                  <c:v>2.2748001000000002</c:v>
                </c:pt>
                <c:pt idx="1375">
                  <c:v>2.2750001000000002</c:v>
                </c:pt>
                <c:pt idx="1376">
                  <c:v>2.2751999000000001</c:v>
                </c:pt>
                <c:pt idx="1377">
                  <c:v>2.2753999</c:v>
                </c:pt>
                <c:pt idx="1378">
                  <c:v>2.2755996999999999</c:v>
                </c:pt>
                <c:pt idx="1379">
                  <c:v>2.2757999999999998</c:v>
                </c:pt>
                <c:pt idx="1380">
                  <c:v>2.2759999999999998</c:v>
                </c:pt>
                <c:pt idx="1381">
                  <c:v>2.2761998000000001</c:v>
                </c:pt>
                <c:pt idx="1382">
                  <c:v>2.2764001</c:v>
                </c:pt>
                <c:pt idx="1383">
                  <c:v>2.2765998999999999</c:v>
                </c:pt>
                <c:pt idx="1384">
                  <c:v>2.2767998999999999</c:v>
                </c:pt>
                <c:pt idx="1385">
                  <c:v>2.2770000000000001</c:v>
                </c:pt>
                <c:pt idx="1386">
                  <c:v>2.2771997000000002</c:v>
                </c:pt>
                <c:pt idx="1387">
                  <c:v>2.2774000000000001</c:v>
                </c:pt>
                <c:pt idx="1388">
                  <c:v>2.2776000000000001</c:v>
                </c:pt>
                <c:pt idx="1389">
                  <c:v>2.2777997999999999</c:v>
                </c:pt>
                <c:pt idx="1390">
                  <c:v>2.2780000999999999</c:v>
                </c:pt>
                <c:pt idx="1391">
                  <c:v>2.2781999000000002</c:v>
                </c:pt>
                <c:pt idx="1392">
                  <c:v>2.2783999000000001</c:v>
                </c:pt>
                <c:pt idx="1393">
                  <c:v>2.2786</c:v>
                </c:pt>
                <c:pt idx="1394">
                  <c:v>2.2787997999999998</c:v>
                </c:pt>
                <c:pt idx="1395">
                  <c:v>2.2789999999999999</c:v>
                </c:pt>
                <c:pt idx="1396">
                  <c:v>2.2791998000000002</c:v>
                </c:pt>
                <c:pt idx="1397">
                  <c:v>2.2793999</c:v>
                </c:pt>
                <c:pt idx="1398">
                  <c:v>2.2796001000000001</c:v>
                </c:pt>
                <c:pt idx="1399">
                  <c:v>2.2797999</c:v>
                </c:pt>
                <c:pt idx="1400">
                  <c:v>2.2799999999999998</c:v>
                </c:pt>
                <c:pt idx="1401">
                  <c:v>2.2801998000000001</c:v>
                </c:pt>
                <c:pt idx="1402">
                  <c:v>2.2803998000000001</c:v>
                </c:pt>
                <c:pt idx="1403">
                  <c:v>2.2806001</c:v>
                </c:pt>
                <c:pt idx="1404">
                  <c:v>2.2807998999999999</c:v>
                </c:pt>
                <c:pt idx="1405">
                  <c:v>2.2809998999999999</c:v>
                </c:pt>
                <c:pt idx="1406">
                  <c:v>2.2812001999999998</c:v>
                </c:pt>
                <c:pt idx="1407">
                  <c:v>2.2814000000000001</c:v>
                </c:pt>
                <c:pt idx="1408">
                  <c:v>2.2816000000000001</c:v>
                </c:pt>
                <c:pt idx="1409">
                  <c:v>2.2817997999999999</c:v>
                </c:pt>
                <c:pt idx="1410">
                  <c:v>2.2819997999999999</c:v>
                </c:pt>
                <c:pt idx="1411">
                  <c:v>2.2822000999999998</c:v>
                </c:pt>
                <c:pt idx="1412">
                  <c:v>2.2823999000000001</c:v>
                </c:pt>
                <c:pt idx="1413">
                  <c:v>2.2825999000000001</c:v>
                </c:pt>
                <c:pt idx="1414">
                  <c:v>2.2827999999999999</c:v>
                </c:pt>
                <c:pt idx="1415">
                  <c:v>2.2829999999999999</c:v>
                </c:pt>
                <c:pt idx="1416">
                  <c:v>2.2831999999999999</c:v>
                </c:pt>
                <c:pt idx="1417">
                  <c:v>2.2833998000000002</c:v>
                </c:pt>
                <c:pt idx="1418">
                  <c:v>2.2835999</c:v>
                </c:pt>
                <c:pt idx="1419">
                  <c:v>2.2837999</c:v>
                </c:pt>
                <c:pt idx="1420">
                  <c:v>2.2839999</c:v>
                </c:pt>
                <c:pt idx="1421">
                  <c:v>2.2841999999999998</c:v>
                </c:pt>
                <c:pt idx="1422">
                  <c:v>2.2844000000000002</c:v>
                </c:pt>
                <c:pt idx="1423">
                  <c:v>2.2846000000000002</c:v>
                </c:pt>
                <c:pt idx="1424">
                  <c:v>2.2848001</c:v>
                </c:pt>
                <c:pt idx="1425">
                  <c:v>2.2849998</c:v>
                </c:pt>
                <c:pt idx="1426">
                  <c:v>2.2851998999999998</c:v>
                </c:pt>
                <c:pt idx="1427">
                  <c:v>2.2853998999999998</c:v>
                </c:pt>
                <c:pt idx="1428">
                  <c:v>2.2855998999999998</c:v>
                </c:pt>
                <c:pt idx="1429">
                  <c:v>2.2858000000000001</c:v>
                </c:pt>
                <c:pt idx="1430">
                  <c:v>2.286</c:v>
                </c:pt>
                <c:pt idx="1431">
                  <c:v>2.2862</c:v>
                </c:pt>
                <c:pt idx="1432">
                  <c:v>2.2863997999999999</c:v>
                </c:pt>
                <c:pt idx="1433">
                  <c:v>2.2865999000000001</c:v>
                </c:pt>
                <c:pt idx="1434">
                  <c:v>2.2867999000000001</c:v>
                </c:pt>
                <c:pt idx="1435">
                  <c:v>2.2869999000000001</c:v>
                </c:pt>
                <c:pt idx="1436">
                  <c:v>2.2871999999999999</c:v>
                </c:pt>
                <c:pt idx="1437">
                  <c:v>2.2873998000000002</c:v>
                </c:pt>
                <c:pt idx="1438">
                  <c:v>2.2875999999999999</c:v>
                </c:pt>
                <c:pt idx="1439">
                  <c:v>2.2878001000000001</c:v>
                </c:pt>
                <c:pt idx="1440">
                  <c:v>2.2879999</c:v>
                </c:pt>
                <c:pt idx="1441">
                  <c:v>2.2881999</c:v>
                </c:pt>
                <c:pt idx="1442">
                  <c:v>2.2883996999999998</c:v>
                </c:pt>
                <c:pt idx="1443">
                  <c:v>2.2886000000000002</c:v>
                </c:pt>
                <c:pt idx="1444">
                  <c:v>2.2888000000000002</c:v>
                </c:pt>
                <c:pt idx="1445">
                  <c:v>2.2889998</c:v>
                </c:pt>
                <c:pt idx="1446">
                  <c:v>2.2892001</c:v>
                </c:pt>
                <c:pt idx="1447">
                  <c:v>2.2894000999999999</c:v>
                </c:pt>
                <c:pt idx="1448">
                  <c:v>2.2895998999999998</c:v>
                </c:pt>
                <c:pt idx="1449">
                  <c:v>2.2897999000000002</c:v>
                </c:pt>
                <c:pt idx="1450">
                  <c:v>2.2899997000000001</c:v>
                </c:pt>
                <c:pt idx="1451">
                  <c:v>2.2902</c:v>
                </c:pt>
                <c:pt idx="1452">
                  <c:v>2.2904</c:v>
                </c:pt>
                <c:pt idx="1453">
                  <c:v>2.2905997999999999</c:v>
                </c:pt>
                <c:pt idx="1454">
                  <c:v>2.2908000999999998</c:v>
                </c:pt>
                <c:pt idx="1455">
                  <c:v>2.2909999000000001</c:v>
                </c:pt>
                <c:pt idx="1456">
                  <c:v>2.2911999000000001</c:v>
                </c:pt>
                <c:pt idx="1457">
                  <c:v>2.2913999999999999</c:v>
                </c:pt>
                <c:pt idx="1458">
                  <c:v>2.2915998000000002</c:v>
                </c:pt>
                <c:pt idx="1459">
                  <c:v>2.2917999999999998</c:v>
                </c:pt>
                <c:pt idx="1460">
                  <c:v>2.2919998000000001</c:v>
                </c:pt>
                <c:pt idx="1461">
                  <c:v>2.2921999</c:v>
                </c:pt>
                <c:pt idx="1462">
                  <c:v>2.2924001000000001</c:v>
                </c:pt>
                <c:pt idx="1463">
                  <c:v>2.2925998999999999</c:v>
                </c:pt>
                <c:pt idx="1464">
                  <c:v>2.2927998999999999</c:v>
                </c:pt>
                <c:pt idx="1465">
                  <c:v>2.2930000000000001</c:v>
                </c:pt>
                <c:pt idx="1466">
                  <c:v>2.2931998</c:v>
                </c:pt>
                <c:pt idx="1467">
                  <c:v>2.2934000000000001</c:v>
                </c:pt>
                <c:pt idx="1468">
                  <c:v>2.2935998</c:v>
                </c:pt>
                <c:pt idx="1469">
                  <c:v>2.2937998999999998</c:v>
                </c:pt>
                <c:pt idx="1470">
                  <c:v>2.2940000999999999</c:v>
                </c:pt>
                <c:pt idx="1471">
                  <c:v>2.2941999000000002</c:v>
                </c:pt>
                <c:pt idx="1472">
                  <c:v>2.2944</c:v>
                </c:pt>
                <c:pt idx="1473">
                  <c:v>2.2945997999999999</c:v>
                </c:pt>
                <c:pt idx="1474">
                  <c:v>2.2947997999999998</c:v>
                </c:pt>
                <c:pt idx="1475">
                  <c:v>2.2950001000000002</c:v>
                </c:pt>
                <c:pt idx="1476">
                  <c:v>2.2951999000000001</c:v>
                </c:pt>
                <c:pt idx="1477">
                  <c:v>2.2953999</c:v>
                </c:pt>
                <c:pt idx="1478">
                  <c:v>2.2956002</c:v>
                </c:pt>
                <c:pt idx="1479">
                  <c:v>2.2957999999999998</c:v>
                </c:pt>
                <c:pt idx="1480">
                  <c:v>2.2959999999999998</c:v>
                </c:pt>
                <c:pt idx="1481">
                  <c:v>2.2961998000000001</c:v>
                </c:pt>
                <c:pt idx="1482">
                  <c:v>2.2963998000000001</c:v>
                </c:pt>
                <c:pt idx="1483">
                  <c:v>2.2966001</c:v>
                </c:pt>
                <c:pt idx="1484">
                  <c:v>2.2967998999999999</c:v>
                </c:pt>
                <c:pt idx="1485">
                  <c:v>2.2969998999999999</c:v>
                </c:pt>
                <c:pt idx="1486">
                  <c:v>2.2972000000000001</c:v>
                </c:pt>
                <c:pt idx="1487">
                  <c:v>2.2974000000000001</c:v>
                </c:pt>
                <c:pt idx="1488">
                  <c:v>2.2976000000000001</c:v>
                </c:pt>
                <c:pt idx="1489">
                  <c:v>2.2977997999999999</c:v>
                </c:pt>
                <c:pt idx="1490">
                  <c:v>2.2979999000000002</c:v>
                </c:pt>
                <c:pt idx="1491">
                  <c:v>2.2981999000000002</c:v>
                </c:pt>
                <c:pt idx="1492">
                  <c:v>2.2983999000000002</c:v>
                </c:pt>
                <c:pt idx="1493">
                  <c:v>2.2986</c:v>
                </c:pt>
                <c:pt idx="1494">
                  <c:v>2.2988</c:v>
                </c:pt>
                <c:pt idx="1495">
                  <c:v>2.2989999999999999</c:v>
                </c:pt>
                <c:pt idx="1496">
                  <c:v>2.2991997999999998</c:v>
                </c:pt>
                <c:pt idx="1497">
                  <c:v>2.2993999000000001</c:v>
                </c:pt>
                <c:pt idx="1498">
                  <c:v>2.2995999</c:v>
                </c:pt>
                <c:pt idx="1499">
                  <c:v>2.2997999</c:v>
                </c:pt>
                <c:pt idx="1500">
                  <c:v>2.2999999999999998</c:v>
                </c:pt>
                <c:pt idx="1501">
                  <c:v>2.3001999999999998</c:v>
                </c:pt>
                <c:pt idx="1502">
                  <c:v>2.3003999999999998</c:v>
                </c:pt>
                <c:pt idx="1503">
                  <c:v>2.3006001</c:v>
                </c:pt>
                <c:pt idx="1504">
                  <c:v>2.3007998000000001</c:v>
                </c:pt>
                <c:pt idx="1505">
                  <c:v>2.3009998999999999</c:v>
                </c:pt>
                <c:pt idx="1506">
                  <c:v>2.3011998999999999</c:v>
                </c:pt>
                <c:pt idx="1507">
                  <c:v>2.3013998999999998</c:v>
                </c:pt>
                <c:pt idx="1508">
                  <c:v>2.3016000000000001</c:v>
                </c:pt>
                <c:pt idx="1509">
                  <c:v>2.3017998</c:v>
                </c:pt>
                <c:pt idx="1510">
                  <c:v>2.302</c:v>
                </c:pt>
                <c:pt idx="1511">
                  <c:v>2.3022000999999999</c:v>
                </c:pt>
                <c:pt idx="1512">
                  <c:v>2.3023999000000002</c:v>
                </c:pt>
                <c:pt idx="1513">
                  <c:v>2.3025999000000001</c:v>
                </c:pt>
                <c:pt idx="1514">
                  <c:v>2.3027997</c:v>
                </c:pt>
                <c:pt idx="1515">
                  <c:v>2.3029999999999999</c:v>
                </c:pt>
                <c:pt idx="1516">
                  <c:v>2.3031999999999999</c:v>
                </c:pt>
                <c:pt idx="1517">
                  <c:v>2.3033998000000002</c:v>
                </c:pt>
                <c:pt idx="1518">
                  <c:v>2.3036001000000002</c:v>
                </c:pt>
                <c:pt idx="1519">
                  <c:v>2.3038001000000001</c:v>
                </c:pt>
                <c:pt idx="1520">
                  <c:v>2.3039999</c:v>
                </c:pt>
                <c:pt idx="1521">
                  <c:v>2.3041999</c:v>
                </c:pt>
                <c:pt idx="1522">
                  <c:v>2.3043996999999998</c:v>
                </c:pt>
                <c:pt idx="1523">
                  <c:v>2.3046000000000002</c:v>
                </c:pt>
                <c:pt idx="1524">
                  <c:v>2.3048000000000002</c:v>
                </c:pt>
                <c:pt idx="1525">
                  <c:v>2.3049998</c:v>
                </c:pt>
                <c:pt idx="1526">
                  <c:v>2.3052001</c:v>
                </c:pt>
                <c:pt idx="1527">
                  <c:v>2.3053998999999998</c:v>
                </c:pt>
                <c:pt idx="1528">
                  <c:v>2.3055998999999998</c:v>
                </c:pt>
                <c:pt idx="1529">
                  <c:v>2.3058000000000001</c:v>
                </c:pt>
                <c:pt idx="1530">
                  <c:v>2.3059997999999999</c:v>
                </c:pt>
                <c:pt idx="1531">
                  <c:v>2.3062</c:v>
                </c:pt>
                <c:pt idx="1532">
                  <c:v>2.3063997999999999</c:v>
                </c:pt>
                <c:pt idx="1533">
                  <c:v>2.3065999000000001</c:v>
                </c:pt>
                <c:pt idx="1534">
                  <c:v>2.3068000999999998</c:v>
                </c:pt>
                <c:pt idx="1535">
                  <c:v>2.3069999000000001</c:v>
                </c:pt>
                <c:pt idx="1536">
                  <c:v>2.3071999999999999</c:v>
                </c:pt>
                <c:pt idx="1537">
                  <c:v>2.3073999999999999</c:v>
                </c:pt>
                <c:pt idx="1538">
                  <c:v>2.3075998000000002</c:v>
                </c:pt>
                <c:pt idx="1539">
                  <c:v>2.3078001000000001</c:v>
                </c:pt>
                <c:pt idx="1540">
                  <c:v>2.3079998000000002</c:v>
                </c:pt>
                <c:pt idx="1541">
                  <c:v>2.3081999</c:v>
                </c:pt>
                <c:pt idx="1542">
                  <c:v>2.3084001999999999</c:v>
                </c:pt>
                <c:pt idx="1543">
                  <c:v>2.3085998999999999</c:v>
                </c:pt>
                <c:pt idx="1544">
                  <c:v>2.3088000000000002</c:v>
                </c:pt>
                <c:pt idx="1545">
                  <c:v>2.3089998</c:v>
                </c:pt>
                <c:pt idx="1546">
                  <c:v>2.3091998</c:v>
                </c:pt>
                <c:pt idx="1547">
                  <c:v>2.3094001</c:v>
                </c:pt>
                <c:pt idx="1548">
                  <c:v>2.3095998999999998</c:v>
                </c:pt>
                <c:pt idx="1549">
                  <c:v>2.3097998999999998</c:v>
                </c:pt>
                <c:pt idx="1550">
                  <c:v>2.3100002000000002</c:v>
                </c:pt>
                <c:pt idx="1551">
                  <c:v>2.3102</c:v>
                </c:pt>
                <c:pt idx="1552">
                  <c:v>2.3104</c:v>
                </c:pt>
                <c:pt idx="1553">
                  <c:v>2.3105997999999999</c:v>
                </c:pt>
                <c:pt idx="1554">
                  <c:v>2.3107997999999998</c:v>
                </c:pt>
                <c:pt idx="1555">
                  <c:v>2.3110000999999998</c:v>
                </c:pt>
                <c:pt idx="1556">
                  <c:v>2.3111999000000001</c:v>
                </c:pt>
                <c:pt idx="1557">
                  <c:v>2.3113999000000001</c:v>
                </c:pt>
                <c:pt idx="1558">
                  <c:v>2.3115999999999999</c:v>
                </c:pt>
                <c:pt idx="1559">
                  <c:v>2.3117999999999999</c:v>
                </c:pt>
                <c:pt idx="1560">
                  <c:v>2.3119999999999998</c:v>
                </c:pt>
                <c:pt idx="1561">
                  <c:v>2.3121998000000001</c:v>
                </c:pt>
                <c:pt idx="1562">
                  <c:v>2.3123999</c:v>
                </c:pt>
                <c:pt idx="1563">
                  <c:v>2.3125998999999999</c:v>
                </c:pt>
                <c:pt idx="1564">
                  <c:v>2.3127998999999999</c:v>
                </c:pt>
                <c:pt idx="1565">
                  <c:v>2.3130000000000002</c:v>
                </c:pt>
                <c:pt idx="1566">
                  <c:v>2.3132000000000001</c:v>
                </c:pt>
                <c:pt idx="1567">
                  <c:v>2.3134000000000001</c:v>
                </c:pt>
                <c:pt idx="1568">
                  <c:v>2.3135998</c:v>
                </c:pt>
                <c:pt idx="1569">
                  <c:v>2.3137998999999998</c:v>
                </c:pt>
                <c:pt idx="1570">
                  <c:v>2.3139999000000002</c:v>
                </c:pt>
                <c:pt idx="1571">
                  <c:v>2.3141999000000002</c:v>
                </c:pt>
                <c:pt idx="1572">
                  <c:v>2.3144</c:v>
                </c:pt>
                <c:pt idx="1573">
                  <c:v>2.3145997999999999</c:v>
                </c:pt>
                <c:pt idx="1574">
                  <c:v>2.3148</c:v>
                </c:pt>
                <c:pt idx="1575">
                  <c:v>2.3150000999999998</c:v>
                </c:pt>
                <c:pt idx="1576">
                  <c:v>2.3151999000000001</c:v>
                </c:pt>
                <c:pt idx="1577">
                  <c:v>2.3153999000000001</c:v>
                </c:pt>
                <c:pt idx="1578">
                  <c:v>2.3155999</c:v>
                </c:pt>
                <c:pt idx="1579">
                  <c:v>2.3157999999999999</c:v>
                </c:pt>
                <c:pt idx="1580">
                  <c:v>2.3159999999999998</c:v>
                </c:pt>
                <c:pt idx="1581">
                  <c:v>2.3161998000000001</c:v>
                </c:pt>
                <c:pt idx="1582">
                  <c:v>2.3164001000000001</c:v>
                </c:pt>
                <c:pt idx="1583">
                  <c:v>2.3166001000000001</c:v>
                </c:pt>
                <c:pt idx="1584">
                  <c:v>2.3167998999999999</c:v>
                </c:pt>
                <c:pt idx="1585">
                  <c:v>2.3169998999999999</c:v>
                </c:pt>
                <c:pt idx="1586">
                  <c:v>2.3171997000000002</c:v>
                </c:pt>
                <c:pt idx="1587">
                  <c:v>2.3174000000000001</c:v>
                </c:pt>
                <c:pt idx="1588">
                  <c:v>2.3176000000000001</c:v>
                </c:pt>
                <c:pt idx="1589">
                  <c:v>2.3177998</c:v>
                </c:pt>
                <c:pt idx="1590">
                  <c:v>2.3180000999999999</c:v>
                </c:pt>
                <c:pt idx="1591">
                  <c:v>2.3182000999999999</c:v>
                </c:pt>
                <c:pt idx="1592">
                  <c:v>2.3183999000000002</c:v>
                </c:pt>
                <c:pt idx="1593">
                  <c:v>2.3185999000000002</c:v>
                </c:pt>
                <c:pt idx="1594">
                  <c:v>2.3187997</c:v>
                </c:pt>
                <c:pt idx="1595">
                  <c:v>2.319</c:v>
                </c:pt>
                <c:pt idx="1596">
                  <c:v>2.3191999999999999</c:v>
                </c:pt>
                <c:pt idx="1597">
                  <c:v>2.3193997999999998</c:v>
                </c:pt>
                <c:pt idx="1598">
                  <c:v>2.3196001000000002</c:v>
                </c:pt>
                <c:pt idx="1599">
                  <c:v>2.3197999</c:v>
                </c:pt>
                <c:pt idx="1600">
                  <c:v>2.3199999</c:v>
                </c:pt>
                <c:pt idx="1601">
                  <c:v>2.3201999999999998</c:v>
                </c:pt>
                <c:pt idx="1602">
                  <c:v>2.3203998000000001</c:v>
                </c:pt>
                <c:pt idx="1603">
                  <c:v>2.3206000000000002</c:v>
                </c:pt>
                <c:pt idx="1604">
                  <c:v>2.3207998000000001</c:v>
                </c:pt>
                <c:pt idx="1605">
                  <c:v>2.3209998999999999</c:v>
                </c:pt>
                <c:pt idx="1606">
                  <c:v>2.3212001</c:v>
                </c:pt>
                <c:pt idx="1607">
                  <c:v>2.3213998999999998</c:v>
                </c:pt>
                <c:pt idx="1608">
                  <c:v>2.3216000000000001</c:v>
                </c:pt>
                <c:pt idx="1609">
                  <c:v>2.3217998</c:v>
                </c:pt>
                <c:pt idx="1610">
                  <c:v>2.3219997999999999</c:v>
                </c:pt>
                <c:pt idx="1611">
                  <c:v>2.3222000999999999</c:v>
                </c:pt>
                <c:pt idx="1612">
                  <c:v>2.3223999000000002</c:v>
                </c:pt>
                <c:pt idx="1613">
                  <c:v>2.3225999000000002</c:v>
                </c:pt>
                <c:pt idx="1614">
                  <c:v>2.3228002000000001</c:v>
                </c:pt>
                <c:pt idx="1615">
                  <c:v>2.323</c:v>
                </c:pt>
                <c:pt idx="1616">
                  <c:v>2.3231999999999999</c:v>
                </c:pt>
                <c:pt idx="1617">
                  <c:v>2.3233997999999998</c:v>
                </c:pt>
                <c:pt idx="1618">
                  <c:v>2.3235998000000002</c:v>
                </c:pt>
                <c:pt idx="1619">
                  <c:v>2.3238001000000001</c:v>
                </c:pt>
                <c:pt idx="1620">
                  <c:v>2.3239999</c:v>
                </c:pt>
                <c:pt idx="1621">
                  <c:v>2.3241999</c:v>
                </c:pt>
                <c:pt idx="1622">
                  <c:v>2.3243999</c:v>
                </c:pt>
                <c:pt idx="1623">
                  <c:v>2.3246000000000002</c:v>
                </c:pt>
                <c:pt idx="1624">
                  <c:v>2.3248000000000002</c:v>
                </c:pt>
                <c:pt idx="1625">
                  <c:v>2.3249998000000001</c:v>
                </c:pt>
                <c:pt idx="1626">
                  <c:v>2.3251998</c:v>
                </c:pt>
                <c:pt idx="1627">
                  <c:v>2.3254001</c:v>
                </c:pt>
                <c:pt idx="1628">
                  <c:v>2.3255998999999998</c:v>
                </c:pt>
                <c:pt idx="1629">
                  <c:v>2.3257998999999998</c:v>
                </c:pt>
                <c:pt idx="1630">
                  <c:v>2.3260000000000001</c:v>
                </c:pt>
                <c:pt idx="1631">
                  <c:v>2.3262</c:v>
                </c:pt>
                <c:pt idx="1632">
                  <c:v>2.3264</c:v>
                </c:pt>
                <c:pt idx="1633">
                  <c:v>2.3265997999999999</c:v>
                </c:pt>
                <c:pt idx="1634">
                  <c:v>2.3267999000000001</c:v>
                </c:pt>
                <c:pt idx="1635">
                  <c:v>2.3269999000000001</c:v>
                </c:pt>
                <c:pt idx="1636">
                  <c:v>2.3271999000000001</c:v>
                </c:pt>
                <c:pt idx="1637">
                  <c:v>2.3273999999999999</c:v>
                </c:pt>
                <c:pt idx="1638">
                  <c:v>2.3275999999999999</c:v>
                </c:pt>
                <c:pt idx="1639">
                  <c:v>2.3277999999999999</c:v>
                </c:pt>
                <c:pt idx="1640">
                  <c:v>2.3279998000000002</c:v>
                </c:pt>
                <c:pt idx="1641">
                  <c:v>2.3281999</c:v>
                </c:pt>
                <c:pt idx="1642">
                  <c:v>2.3283999</c:v>
                </c:pt>
                <c:pt idx="1643">
                  <c:v>2.3285998999999999</c:v>
                </c:pt>
                <c:pt idx="1644">
                  <c:v>2.3288000000000002</c:v>
                </c:pt>
                <c:pt idx="1645">
                  <c:v>2.3289998000000001</c:v>
                </c:pt>
                <c:pt idx="1646">
                  <c:v>2.3292000000000002</c:v>
                </c:pt>
                <c:pt idx="1647">
                  <c:v>2.3294001</c:v>
                </c:pt>
                <c:pt idx="1648">
                  <c:v>2.3295998999999998</c:v>
                </c:pt>
                <c:pt idx="1649">
                  <c:v>2.3297998999999998</c:v>
                </c:pt>
                <c:pt idx="1650">
                  <c:v>2.3299998999999998</c:v>
                </c:pt>
                <c:pt idx="1651">
                  <c:v>2.3302</c:v>
                </c:pt>
                <c:pt idx="1652">
                  <c:v>2.3304</c:v>
                </c:pt>
                <c:pt idx="1653">
                  <c:v>2.3305997999999999</c:v>
                </c:pt>
                <c:pt idx="1654">
                  <c:v>2.3308000999999998</c:v>
                </c:pt>
                <c:pt idx="1655">
                  <c:v>2.3310000999999998</c:v>
                </c:pt>
                <c:pt idx="1656">
                  <c:v>2.3311999000000001</c:v>
                </c:pt>
                <c:pt idx="1657">
                  <c:v>2.3313999000000001</c:v>
                </c:pt>
                <c:pt idx="1658">
                  <c:v>2.3315996999999999</c:v>
                </c:pt>
                <c:pt idx="1659">
                  <c:v>2.3317999999999999</c:v>
                </c:pt>
                <c:pt idx="1660">
                  <c:v>2.3319999999999999</c:v>
                </c:pt>
                <c:pt idx="1661">
                  <c:v>2.3321998000000002</c:v>
                </c:pt>
                <c:pt idx="1662">
                  <c:v>2.3324001000000001</c:v>
                </c:pt>
                <c:pt idx="1663">
                  <c:v>2.3326001000000001</c:v>
                </c:pt>
                <c:pt idx="1664">
                  <c:v>2.3327998999999999</c:v>
                </c:pt>
                <c:pt idx="1665">
                  <c:v>2.3329998999999999</c:v>
                </c:pt>
                <c:pt idx="1666">
                  <c:v>2.3331997000000002</c:v>
                </c:pt>
                <c:pt idx="1667">
                  <c:v>2.3334000000000001</c:v>
                </c:pt>
                <c:pt idx="1668">
                  <c:v>2.3336000000000001</c:v>
                </c:pt>
                <c:pt idx="1669">
                  <c:v>2.3337998</c:v>
                </c:pt>
                <c:pt idx="1670">
                  <c:v>2.3340000999999999</c:v>
                </c:pt>
                <c:pt idx="1671">
                  <c:v>2.3341999000000002</c:v>
                </c:pt>
                <c:pt idx="1672">
                  <c:v>2.3343999000000002</c:v>
                </c:pt>
                <c:pt idx="1673">
                  <c:v>2.3346</c:v>
                </c:pt>
                <c:pt idx="1674">
                  <c:v>2.3347997999999999</c:v>
                </c:pt>
                <c:pt idx="1675">
                  <c:v>2.335</c:v>
                </c:pt>
                <c:pt idx="1676">
                  <c:v>2.3351997999999998</c:v>
                </c:pt>
                <c:pt idx="1677">
                  <c:v>2.3353999000000001</c:v>
                </c:pt>
                <c:pt idx="1678">
                  <c:v>2.3356001000000002</c:v>
                </c:pt>
                <c:pt idx="1679">
                  <c:v>2.3357999</c:v>
                </c:pt>
                <c:pt idx="1680">
                  <c:v>2.3359999999999999</c:v>
                </c:pt>
                <c:pt idx="1681">
                  <c:v>2.3361998000000002</c:v>
                </c:pt>
                <c:pt idx="1682">
                  <c:v>2.3363998000000001</c:v>
                </c:pt>
                <c:pt idx="1683">
                  <c:v>2.3366001000000001</c:v>
                </c:pt>
                <c:pt idx="1684">
                  <c:v>2.3367998999999999</c:v>
                </c:pt>
                <c:pt idx="1685">
                  <c:v>2.3369998999999999</c:v>
                </c:pt>
                <c:pt idx="1686">
                  <c:v>2.3372001999999998</c:v>
                </c:pt>
                <c:pt idx="1687">
                  <c:v>2.3374000000000001</c:v>
                </c:pt>
                <c:pt idx="1688">
                  <c:v>2.3376000000000001</c:v>
                </c:pt>
                <c:pt idx="1689">
                  <c:v>2.3377998</c:v>
                </c:pt>
                <c:pt idx="1690">
                  <c:v>2.3379998</c:v>
                </c:pt>
                <c:pt idx="1691">
                  <c:v>2.3382000999999999</c:v>
                </c:pt>
                <c:pt idx="1692">
                  <c:v>2.3383999000000002</c:v>
                </c:pt>
                <c:pt idx="1693">
                  <c:v>2.3385999000000002</c:v>
                </c:pt>
                <c:pt idx="1694">
                  <c:v>2.3388</c:v>
                </c:pt>
                <c:pt idx="1695">
                  <c:v>2.339</c:v>
                </c:pt>
                <c:pt idx="1696">
                  <c:v>2.3391999999999999</c:v>
                </c:pt>
                <c:pt idx="1697">
                  <c:v>2.3393997999999998</c:v>
                </c:pt>
                <c:pt idx="1698">
                  <c:v>2.3395997999999998</c:v>
                </c:pt>
                <c:pt idx="1699">
                  <c:v>2.3397999</c:v>
                </c:pt>
                <c:pt idx="1700">
                  <c:v>2.3399999</c:v>
                </c:pt>
                <c:pt idx="1701">
                  <c:v>2.3401999</c:v>
                </c:pt>
                <c:pt idx="1702">
                  <c:v>2.3403999999999998</c:v>
                </c:pt>
                <c:pt idx="1703">
                  <c:v>2.3405999999999998</c:v>
                </c:pt>
                <c:pt idx="1704">
                  <c:v>2.3408000000000002</c:v>
                </c:pt>
                <c:pt idx="1705">
                  <c:v>2.3409998000000001</c:v>
                </c:pt>
                <c:pt idx="1706">
                  <c:v>2.3411998999999999</c:v>
                </c:pt>
                <c:pt idx="1707">
                  <c:v>2.3413998999999999</c:v>
                </c:pt>
                <c:pt idx="1708">
                  <c:v>2.3415998999999998</c:v>
                </c:pt>
                <c:pt idx="1709">
                  <c:v>2.3418000000000001</c:v>
                </c:pt>
                <c:pt idx="1710">
                  <c:v>2.3420000000000001</c:v>
                </c:pt>
                <c:pt idx="1711">
                  <c:v>2.3422000000000001</c:v>
                </c:pt>
                <c:pt idx="1712">
                  <c:v>2.3423997999999999</c:v>
                </c:pt>
                <c:pt idx="1713">
                  <c:v>2.3425999000000002</c:v>
                </c:pt>
                <c:pt idx="1714">
                  <c:v>2.3427999000000002</c:v>
                </c:pt>
                <c:pt idx="1715">
                  <c:v>2.3429999000000001</c:v>
                </c:pt>
                <c:pt idx="1716">
                  <c:v>2.3431999999999999</c:v>
                </c:pt>
                <c:pt idx="1717">
                  <c:v>2.3433997999999998</c:v>
                </c:pt>
                <c:pt idx="1718">
                  <c:v>2.3435999999999999</c:v>
                </c:pt>
                <c:pt idx="1719">
                  <c:v>2.3438001000000002</c:v>
                </c:pt>
                <c:pt idx="1720">
                  <c:v>2.3439999</c:v>
                </c:pt>
                <c:pt idx="1721">
                  <c:v>2.3441999</c:v>
                </c:pt>
                <c:pt idx="1722">
                  <c:v>2.3443996999999999</c:v>
                </c:pt>
                <c:pt idx="1723">
                  <c:v>2.3445999999999998</c:v>
                </c:pt>
                <c:pt idx="1724">
                  <c:v>2.3448000000000002</c:v>
                </c:pt>
                <c:pt idx="1725">
                  <c:v>2.3449998000000001</c:v>
                </c:pt>
                <c:pt idx="1726">
                  <c:v>2.3452001</c:v>
                </c:pt>
                <c:pt idx="1727">
                  <c:v>2.3454001</c:v>
                </c:pt>
                <c:pt idx="1728">
                  <c:v>2.3455998999999998</c:v>
                </c:pt>
                <c:pt idx="1729">
                  <c:v>2.3457998999999998</c:v>
                </c:pt>
                <c:pt idx="1730">
                  <c:v>2.3459997000000001</c:v>
                </c:pt>
                <c:pt idx="1731">
                  <c:v>2.3462000000000001</c:v>
                </c:pt>
                <c:pt idx="1732">
                  <c:v>2.3464</c:v>
                </c:pt>
                <c:pt idx="1733">
                  <c:v>2.3465997999999999</c:v>
                </c:pt>
                <c:pt idx="1734">
                  <c:v>2.3468000999999998</c:v>
                </c:pt>
                <c:pt idx="1735">
                  <c:v>2.3469999000000001</c:v>
                </c:pt>
                <c:pt idx="1736">
                  <c:v>2.3471999000000001</c:v>
                </c:pt>
                <c:pt idx="1737">
                  <c:v>2.3473999999999999</c:v>
                </c:pt>
                <c:pt idx="1738">
                  <c:v>2.3475997</c:v>
                </c:pt>
                <c:pt idx="1739">
                  <c:v>2.3477999999999999</c:v>
                </c:pt>
                <c:pt idx="1740">
                  <c:v>2.3479999999999999</c:v>
                </c:pt>
                <c:pt idx="1741">
                  <c:v>2.3481998000000002</c:v>
                </c:pt>
                <c:pt idx="1742">
                  <c:v>2.3484001000000001</c:v>
                </c:pt>
                <c:pt idx="1743">
                  <c:v>2.3485999</c:v>
                </c:pt>
                <c:pt idx="1744">
                  <c:v>2.3487998999999999</c:v>
                </c:pt>
                <c:pt idx="1745">
                  <c:v>2.3490000000000002</c:v>
                </c:pt>
                <c:pt idx="1746">
                  <c:v>2.3491998000000001</c:v>
                </c:pt>
                <c:pt idx="1747">
                  <c:v>2.3494000000000002</c:v>
                </c:pt>
                <c:pt idx="1748">
                  <c:v>2.3495998</c:v>
                </c:pt>
                <c:pt idx="1749">
                  <c:v>2.3497998999999998</c:v>
                </c:pt>
                <c:pt idx="1750">
                  <c:v>2.3500000999999999</c:v>
                </c:pt>
                <c:pt idx="1751">
                  <c:v>2.3501998999999998</c:v>
                </c:pt>
                <c:pt idx="1752">
                  <c:v>2.3504</c:v>
                </c:pt>
                <c:pt idx="1753">
                  <c:v>2.3505997999999999</c:v>
                </c:pt>
                <c:pt idx="1754">
                  <c:v>2.3507997999999999</c:v>
                </c:pt>
                <c:pt idx="1755">
                  <c:v>2.3510000999999998</c:v>
                </c:pt>
                <c:pt idx="1756">
                  <c:v>2.3511999000000001</c:v>
                </c:pt>
                <c:pt idx="1757">
                  <c:v>2.3513999000000001</c:v>
                </c:pt>
                <c:pt idx="1758">
                  <c:v>2.3516002</c:v>
                </c:pt>
                <c:pt idx="1759">
                  <c:v>2.3517999999999999</c:v>
                </c:pt>
                <c:pt idx="1760">
                  <c:v>2.3519999999999999</c:v>
                </c:pt>
                <c:pt idx="1761">
                  <c:v>2.3521998000000002</c:v>
                </c:pt>
                <c:pt idx="1762">
                  <c:v>2.3523998000000002</c:v>
                </c:pt>
                <c:pt idx="1763">
                  <c:v>2.3526001000000001</c:v>
                </c:pt>
                <c:pt idx="1764">
                  <c:v>2.3527998999999999</c:v>
                </c:pt>
                <c:pt idx="1765">
                  <c:v>2.3529998999999999</c:v>
                </c:pt>
                <c:pt idx="1766">
                  <c:v>2.3532000000000002</c:v>
                </c:pt>
                <c:pt idx="1767">
                  <c:v>2.3534000000000002</c:v>
                </c:pt>
                <c:pt idx="1768">
                  <c:v>2.3536000000000001</c:v>
                </c:pt>
                <c:pt idx="1769">
                  <c:v>2.3537998</c:v>
                </c:pt>
                <c:pt idx="1770">
                  <c:v>2.3539998999999998</c:v>
                </c:pt>
                <c:pt idx="1771">
                  <c:v>2.3541998999999998</c:v>
                </c:pt>
                <c:pt idx="1772">
                  <c:v>2.3543999000000002</c:v>
                </c:pt>
                <c:pt idx="1773">
                  <c:v>2.3546</c:v>
                </c:pt>
                <c:pt idx="1774">
                  <c:v>2.3548</c:v>
                </c:pt>
                <c:pt idx="1775">
                  <c:v>2.355</c:v>
                </c:pt>
                <c:pt idx="1776">
                  <c:v>2.3552000999999998</c:v>
                </c:pt>
                <c:pt idx="1777">
                  <c:v>2.3553997999999998</c:v>
                </c:pt>
                <c:pt idx="1778">
                  <c:v>2.3555999000000001</c:v>
                </c:pt>
                <c:pt idx="1779">
                  <c:v>2.3557999000000001</c:v>
                </c:pt>
                <c:pt idx="1780">
                  <c:v>2.3559999</c:v>
                </c:pt>
                <c:pt idx="1781">
                  <c:v>2.3561999999999999</c:v>
                </c:pt>
                <c:pt idx="1782">
                  <c:v>2.3563999999999998</c:v>
                </c:pt>
                <c:pt idx="1783">
                  <c:v>2.3565999999999998</c:v>
                </c:pt>
                <c:pt idx="1784">
                  <c:v>2.3567998000000001</c:v>
                </c:pt>
                <c:pt idx="1785">
                  <c:v>2.3569998999999999</c:v>
                </c:pt>
                <c:pt idx="1786">
                  <c:v>2.3571998999999999</c:v>
                </c:pt>
                <c:pt idx="1787">
                  <c:v>2.3573998999999999</c:v>
                </c:pt>
                <c:pt idx="1788">
                  <c:v>2.3576000000000001</c:v>
                </c:pt>
                <c:pt idx="1789">
                  <c:v>2.3577998</c:v>
                </c:pt>
                <c:pt idx="1790">
                  <c:v>2.3580000000000001</c:v>
                </c:pt>
                <c:pt idx="1791">
                  <c:v>2.3582000999999999</c:v>
                </c:pt>
                <c:pt idx="1792">
                  <c:v>2.3583999000000002</c:v>
                </c:pt>
                <c:pt idx="1793">
                  <c:v>2.3585999000000002</c:v>
                </c:pt>
                <c:pt idx="1794">
                  <c:v>2.3587997000000001</c:v>
                </c:pt>
                <c:pt idx="1795">
                  <c:v>2.359</c:v>
                </c:pt>
                <c:pt idx="1796">
                  <c:v>2.3592</c:v>
                </c:pt>
                <c:pt idx="1797">
                  <c:v>2.3593997999999998</c:v>
                </c:pt>
                <c:pt idx="1798">
                  <c:v>2.3596001000000002</c:v>
                </c:pt>
                <c:pt idx="1799">
                  <c:v>2.3598001000000002</c:v>
                </c:pt>
                <c:pt idx="1800">
                  <c:v>2.3599999</c:v>
                </c:pt>
                <c:pt idx="1801">
                  <c:v>2.3601999</c:v>
                </c:pt>
                <c:pt idx="1802">
                  <c:v>2.3603996999999999</c:v>
                </c:pt>
                <c:pt idx="1803">
                  <c:v>2.3605999999999998</c:v>
                </c:pt>
                <c:pt idx="1804">
                  <c:v>2.3607999999999998</c:v>
                </c:pt>
                <c:pt idx="1805">
                  <c:v>2.3609998000000001</c:v>
                </c:pt>
                <c:pt idx="1806">
                  <c:v>2.3612001</c:v>
                </c:pt>
                <c:pt idx="1807">
                  <c:v>2.3613998999999999</c:v>
                </c:pt>
                <c:pt idx="1808">
                  <c:v>2.3615998999999999</c:v>
                </c:pt>
                <c:pt idx="1809">
                  <c:v>2.3618000000000001</c:v>
                </c:pt>
                <c:pt idx="1810">
                  <c:v>2.3619998</c:v>
                </c:pt>
                <c:pt idx="1811">
                  <c:v>2.3622000000000001</c:v>
                </c:pt>
                <c:pt idx="1812">
                  <c:v>2.3623997999999999</c:v>
                </c:pt>
                <c:pt idx="1813">
                  <c:v>2.3625997999999999</c:v>
                </c:pt>
                <c:pt idx="1814">
                  <c:v>2.3628000999999998</c:v>
                </c:pt>
                <c:pt idx="1815">
                  <c:v>2.3629999000000002</c:v>
                </c:pt>
                <c:pt idx="1816">
                  <c:v>2.3631999000000001</c:v>
                </c:pt>
                <c:pt idx="1817">
                  <c:v>2.3633999999999999</c:v>
                </c:pt>
                <c:pt idx="1818">
                  <c:v>2.3635997999999998</c:v>
                </c:pt>
                <c:pt idx="1819">
                  <c:v>2.3637999999999999</c:v>
                </c:pt>
                <c:pt idx="1820">
                  <c:v>2.3639998000000002</c:v>
                </c:pt>
                <c:pt idx="1821">
                  <c:v>2.3641999</c:v>
                </c:pt>
                <c:pt idx="1822">
                  <c:v>2.3644001000000001</c:v>
                </c:pt>
                <c:pt idx="1823">
                  <c:v>2.3645999</c:v>
                </c:pt>
                <c:pt idx="1824">
                  <c:v>2.3647999999999998</c:v>
                </c:pt>
                <c:pt idx="1825">
                  <c:v>2.3649998000000001</c:v>
                </c:pt>
                <c:pt idx="1826">
                  <c:v>2.3651998000000001</c:v>
                </c:pt>
                <c:pt idx="1827">
                  <c:v>2.3654001</c:v>
                </c:pt>
                <c:pt idx="1828">
                  <c:v>2.3655998999999999</c:v>
                </c:pt>
                <c:pt idx="1829">
                  <c:v>2.3657998999999998</c:v>
                </c:pt>
                <c:pt idx="1830">
                  <c:v>2.3660002000000002</c:v>
                </c:pt>
                <c:pt idx="1831">
                  <c:v>2.3662000000000001</c:v>
                </c:pt>
                <c:pt idx="1832">
                  <c:v>2.3664000000000001</c:v>
                </c:pt>
                <c:pt idx="1833">
                  <c:v>2.3665997999999999</c:v>
                </c:pt>
                <c:pt idx="1834">
                  <c:v>2.3667997999999999</c:v>
                </c:pt>
                <c:pt idx="1835">
                  <c:v>2.3670000999999998</c:v>
                </c:pt>
                <c:pt idx="1836">
                  <c:v>2.3671999000000001</c:v>
                </c:pt>
                <c:pt idx="1837">
                  <c:v>2.3673999000000001</c:v>
                </c:pt>
                <c:pt idx="1838">
                  <c:v>2.3675999999999999</c:v>
                </c:pt>
                <c:pt idx="1839">
                  <c:v>2.3677999999999999</c:v>
                </c:pt>
                <c:pt idx="1840">
                  <c:v>2.3679999999999999</c:v>
                </c:pt>
                <c:pt idx="1841">
                  <c:v>2.3681998000000002</c:v>
                </c:pt>
                <c:pt idx="1842">
                  <c:v>2.3683999</c:v>
                </c:pt>
                <c:pt idx="1843">
                  <c:v>2.3685999</c:v>
                </c:pt>
                <c:pt idx="1844">
                  <c:v>2.3687999</c:v>
                </c:pt>
                <c:pt idx="1845">
                  <c:v>2.3690000000000002</c:v>
                </c:pt>
                <c:pt idx="1846">
                  <c:v>2.3692000000000002</c:v>
                </c:pt>
                <c:pt idx="1847">
                  <c:v>2.3694000000000002</c:v>
                </c:pt>
                <c:pt idx="1848">
                  <c:v>2.3695998</c:v>
                </c:pt>
                <c:pt idx="1849">
                  <c:v>2.3697998999999998</c:v>
                </c:pt>
                <c:pt idx="1850">
                  <c:v>2.3699998999999998</c:v>
                </c:pt>
                <c:pt idx="1851">
                  <c:v>2.3701998999999998</c:v>
                </c:pt>
                <c:pt idx="1852">
                  <c:v>2.3704000000000001</c:v>
                </c:pt>
                <c:pt idx="1853">
                  <c:v>2.3706</c:v>
                </c:pt>
                <c:pt idx="1854">
                  <c:v>2.3708</c:v>
                </c:pt>
                <c:pt idx="1855">
                  <c:v>2.3710000999999998</c:v>
                </c:pt>
                <c:pt idx="1856">
                  <c:v>2.3711997999999999</c:v>
                </c:pt>
                <c:pt idx="1857">
                  <c:v>2.3713999000000001</c:v>
                </c:pt>
                <c:pt idx="1858">
                  <c:v>2.3715999000000001</c:v>
                </c:pt>
                <c:pt idx="1859">
                  <c:v>2.3717999000000001</c:v>
                </c:pt>
                <c:pt idx="1860">
                  <c:v>2.3719999999999999</c:v>
                </c:pt>
                <c:pt idx="1861">
                  <c:v>2.3721998000000002</c:v>
                </c:pt>
                <c:pt idx="1862">
                  <c:v>2.3723999999999998</c:v>
                </c:pt>
                <c:pt idx="1863">
                  <c:v>2.3726001000000001</c:v>
                </c:pt>
                <c:pt idx="1864">
                  <c:v>2.3727999</c:v>
                </c:pt>
                <c:pt idx="1865">
                  <c:v>2.3729998999999999</c:v>
                </c:pt>
                <c:pt idx="1866">
                  <c:v>2.3731996999999998</c:v>
                </c:pt>
                <c:pt idx="1867">
                  <c:v>2.3734000000000002</c:v>
                </c:pt>
                <c:pt idx="1868">
                  <c:v>2.3736000000000002</c:v>
                </c:pt>
                <c:pt idx="1869">
                  <c:v>2.3737998</c:v>
                </c:pt>
                <c:pt idx="1870">
                  <c:v>2.3740000999999999</c:v>
                </c:pt>
                <c:pt idx="1871">
                  <c:v>2.3742000999999999</c:v>
                </c:pt>
                <c:pt idx="1872">
                  <c:v>2.3743998999999998</c:v>
                </c:pt>
                <c:pt idx="1873">
                  <c:v>2.3745999000000002</c:v>
                </c:pt>
                <c:pt idx="1874">
                  <c:v>2.3747997000000001</c:v>
                </c:pt>
                <c:pt idx="1875">
                  <c:v>2.375</c:v>
                </c:pt>
                <c:pt idx="1876">
                  <c:v>2.3752</c:v>
                </c:pt>
                <c:pt idx="1877">
                  <c:v>2.3753997999999998</c:v>
                </c:pt>
                <c:pt idx="1878">
                  <c:v>2.3756001000000002</c:v>
                </c:pt>
                <c:pt idx="1879">
                  <c:v>2.3757999000000001</c:v>
                </c:pt>
                <c:pt idx="1880">
                  <c:v>2.3759999000000001</c:v>
                </c:pt>
                <c:pt idx="1881">
                  <c:v>2.3761999999999999</c:v>
                </c:pt>
                <c:pt idx="1882">
                  <c:v>2.3763998000000002</c:v>
                </c:pt>
                <c:pt idx="1883">
                  <c:v>2.3765999999999998</c:v>
                </c:pt>
                <c:pt idx="1884">
                  <c:v>2.3767998000000001</c:v>
                </c:pt>
                <c:pt idx="1885">
                  <c:v>2.3769998999999999</c:v>
                </c:pt>
                <c:pt idx="1886">
                  <c:v>2.3772001</c:v>
                </c:pt>
                <c:pt idx="1887">
                  <c:v>2.3773998999999999</c:v>
                </c:pt>
                <c:pt idx="1888">
                  <c:v>2.3776000000000002</c:v>
                </c:pt>
                <c:pt idx="1889">
                  <c:v>2.3778000000000001</c:v>
                </c:pt>
                <c:pt idx="1890">
                  <c:v>2.3779998</c:v>
                </c:pt>
                <c:pt idx="1891">
                  <c:v>2.3782000999999999</c:v>
                </c:pt>
                <c:pt idx="1892">
                  <c:v>2.3783998</c:v>
                </c:pt>
                <c:pt idx="1893">
                  <c:v>2.3785999000000002</c:v>
                </c:pt>
                <c:pt idx="1894">
                  <c:v>2.3788002000000001</c:v>
                </c:pt>
                <c:pt idx="1895">
                  <c:v>2.3789999000000002</c:v>
                </c:pt>
                <c:pt idx="1896">
                  <c:v>2.3792</c:v>
                </c:pt>
                <c:pt idx="1897">
                  <c:v>2.3793997999999998</c:v>
                </c:pt>
                <c:pt idx="1898">
                  <c:v>2.3795997999999998</c:v>
                </c:pt>
                <c:pt idx="1899">
                  <c:v>2.3798001000000002</c:v>
                </c:pt>
                <c:pt idx="1900">
                  <c:v>2.3799999000000001</c:v>
                </c:pt>
                <c:pt idx="1901">
                  <c:v>2.3801999</c:v>
                </c:pt>
                <c:pt idx="1902">
                  <c:v>2.3803999</c:v>
                </c:pt>
                <c:pt idx="1903">
                  <c:v>2.3805999999999998</c:v>
                </c:pt>
                <c:pt idx="1904">
                  <c:v>2.3807999999999998</c:v>
                </c:pt>
                <c:pt idx="1905">
                  <c:v>2.3809998000000001</c:v>
                </c:pt>
                <c:pt idx="1906">
                  <c:v>2.3811998000000001</c:v>
                </c:pt>
                <c:pt idx="1907">
                  <c:v>2.3814001</c:v>
                </c:pt>
                <c:pt idx="1908">
                  <c:v>2.3815998999999999</c:v>
                </c:pt>
                <c:pt idx="1909">
                  <c:v>2.3817998999999999</c:v>
                </c:pt>
                <c:pt idx="1910">
                  <c:v>2.3820000000000001</c:v>
                </c:pt>
                <c:pt idx="1911">
                  <c:v>2.3822000000000001</c:v>
                </c:pt>
                <c:pt idx="1912">
                  <c:v>2.3824000000000001</c:v>
                </c:pt>
                <c:pt idx="1913">
                  <c:v>2.3825997999999999</c:v>
                </c:pt>
                <c:pt idx="1914">
                  <c:v>2.3827999000000002</c:v>
                </c:pt>
                <c:pt idx="1915">
                  <c:v>2.3829999000000002</c:v>
                </c:pt>
                <c:pt idx="1916">
                  <c:v>2.3831999000000001</c:v>
                </c:pt>
                <c:pt idx="1917">
                  <c:v>2.3834</c:v>
                </c:pt>
                <c:pt idx="1918">
                  <c:v>2.3835999999999999</c:v>
                </c:pt>
                <c:pt idx="1919">
                  <c:v>2.3837999999999999</c:v>
                </c:pt>
                <c:pt idx="1920">
                  <c:v>2.3839997999999998</c:v>
                </c:pt>
                <c:pt idx="1921">
                  <c:v>2.3841999</c:v>
                </c:pt>
                <c:pt idx="1922">
                  <c:v>2.3843999</c:v>
                </c:pt>
                <c:pt idx="1923">
                  <c:v>2.3845999</c:v>
                </c:pt>
                <c:pt idx="1924">
                  <c:v>2.3847999999999998</c:v>
                </c:pt>
                <c:pt idx="1925">
                  <c:v>2.3849998000000001</c:v>
                </c:pt>
                <c:pt idx="1926">
                  <c:v>2.3852000000000002</c:v>
                </c:pt>
                <c:pt idx="1927">
                  <c:v>2.3854001</c:v>
                </c:pt>
                <c:pt idx="1928">
                  <c:v>2.3855998999999999</c:v>
                </c:pt>
                <c:pt idx="1929">
                  <c:v>2.3857998999999999</c:v>
                </c:pt>
                <c:pt idx="1930">
                  <c:v>2.3859998999999998</c:v>
                </c:pt>
                <c:pt idx="1931">
                  <c:v>2.3862000000000001</c:v>
                </c:pt>
                <c:pt idx="1932">
                  <c:v>2.3864000000000001</c:v>
                </c:pt>
                <c:pt idx="1933">
                  <c:v>2.3865997999999999</c:v>
                </c:pt>
                <c:pt idx="1934">
                  <c:v>2.3868000999999999</c:v>
                </c:pt>
                <c:pt idx="1935">
                  <c:v>2.3870000999999998</c:v>
                </c:pt>
                <c:pt idx="1936">
                  <c:v>2.3871999000000002</c:v>
                </c:pt>
                <c:pt idx="1937">
                  <c:v>2.3873999000000001</c:v>
                </c:pt>
                <c:pt idx="1938">
                  <c:v>2.3875997</c:v>
                </c:pt>
                <c:pt idx="1939">
                  <c:v>2.3877999999999999</c:v>
                </c:pt>
                <c:pt idx="1940">
                  <c:v>2.3879999999999999</c:v>
                </c:pt>
                <c:pt idx="1941">
                  <c:v>2.3881998000000002</c:v>
                </c:pt>
                <c:pt idx="1942">
                  <c:v>2.3884001000000001</c:v>
                </c:pt>
                <c:pt idx="1943">
                  <c:v>2.3886001000000001</c:v>
                </c:pt>
                <c:pt idx="1944">
                  <c:v>2.3887999</c:v>
                </c:pt>
                <c:pt idx="1945">
                  <c:v>2.3889999</c:v>
                </c:pt>
                <c:pt idx="1946">
                  <c:v>2.3891996999999998</c:v>
                </c:pt>
                <c:pt idx="1947">
                  <c:v>2.3894000000000002</c:v>
                </c:pt>
                <c:pt idx="1948">
                  <c:v>2.3896000000000002</c:v>
                </c:pt>
                <c:pt idx="1949">
                  <c:v>2.3897998</c:v>
                </c:pt>
                <c:pt idx="1950">
                  <c:v>2.3900001</c:v>
                </c:pt>
                <c:pt idx="1951">
                  <c:v>2.3901998999999998</c:v>
                </c:pt>
                <c:pt idx="1952">
                  <c:v>2.3903998999999998</c:v>
                </c:pt>
                <c:pt idx="1953">
                  <c:v>2.3906000000000001</c:v>
                </c:pt>
                <c:pt idx="1954">
                  <c:v>2.3907997999999999</c:v>
                </c:pt>
                <c:pt idx="1955">
                  <c:v>2.391</c:v>
                </c:pt>
                <c:pt idx="1956">
                  <c:v>2.3911997999999999</c:v>
                </c:pt>
                <c:pt idx="1957">
                  <c:v>2.3913999000000001</c:v>
                </c:pt>
                <c:pt idx="1958">
                  <c:v>2.3916000999999998</c:v>
                </c:pt>
                <c:pt idx="1959">
                  <c:v>2.3917999000000001</c:v>
                </c:pt>
                <c:pt idx="1960">
                  <c:v>2.3919999999999999</c:v>
                </c:pt>
                <c:pt idx="1961">
                  <c:v>2.3921998000000002</c:v>
                </c:pt>
                <c:pt idx="1962">
                  <c:v>2.3923998000000002</c:v>
                </c:pt>
                <c:pt idx="1963">
                  <c:v>2.3926001000000001</c:v>
                </c:pt>
                <c:pt idx="1964">
                  <c:v>2.3927999</c:v>
                </c:pt>
                <c:pt idx="1965">
                  <c:v>2.3929999</c:v>
                </c:pt>
                <c:pt idx="1966">
                  <c:v>2.3932001999999999</c:v>
                </c:pt>
                <c:pt idx="1967">
                  <c:v>2.3934000000000002</c:v>
                </c:pt>
                <c:pt idx="1968">
                  <c:v>2.3936000000000002</c:v>
                </c:pt>
                <c:pt idx="1969">
                  <c:v>2.3937998</c:v>
                </c:pt>
                <c:pt idx="1970">
                  <c:v>2.3939998</c:v>
                </c:pt>
                <c:pt idx="1971">
                  <c:v>2.3942000999999999</c:v>
                </c:pt>
                <c:pt idx="1972">
                  <c:v>2.3943998999999998</c:v>
                </c:pt>
                <c:pt idx="1973">
                  <c:v>2.3945998999999998</c:v>
                </c:pt>
                <c:pt idx="1974">
                  <c:v>2.3947999000000002</c:v>
                </c:pt>
                <c:pt idx="1975">
                  <c:v>2.395</c:v>
                </c:pt>
                <c:pt idx="1976">
                  <c:v>2.3952</c:v>
                </c:pt>
                <c:pt idx="1977">
                  <c:v>2.3953997999999999</c:v>
                </c:pt>
                <c:pt idx="1978">
                  <c:v>2.3955997999999998</c:v>
                </c:pt>
                <c:pt idx="1979">
                  <c:v>2.3958001000000002</c:v>
                </c:pt>
                <c:pt idx="1980">
                  <c:v>2.3959999000000001</c:v>
                </c:pt>
                <c:pt idx="1981">
                  <c:v>2.3961999</c:v>
                </c:pt>
                <c:pt idx="1982">
                  <c:v>2.3963999999999999</c:v>
                </c:pt>
                <c:pt idx="1983">
                  <c:v>2.3965999999999998</c:v>
                </c:pt>
                <c:pt idx="1984">
                  <c:v>2.3967999999999998</c:v>
                </c:pt>
                <c:pt idx="1985">
                  <c:v>2.3969998000000001</c:v>
                </c:pt>
                <c:pt idx="1986">
                  <c:v>2.3971998999999999</c:v>
                </c:pt>
                <c:pt idx="1987">
                  <c:v>2.3973998999999999</c:v>
                </c:pt>
                <c:pt idx="1988">
                  <c:v>2.3975998999999999</c:v>
                </c:pt>
                <c:pt idx="1989">
                  <c:v>2.3978000000000002</c:v>
                </c:pt>
                <c:pt idx="1990">
                  <c:v>2.3980000000000001</c:v>
                </c:pt>
                <c:pt idx="1991">
                  <c:v>2.3982000000000001</c:v>
                </c:pt>
                <c:pt idx="1992">
                  <c:v>2.3983998</c:v>
                </c:pt>
                <c:pt idx="1993">
                  <c:v>2.3985998999999998</c:v>
                </c:pt>
                <c:pt idx="1994">
                  <c:v>2.3987999000000002</c:v>
                </c:pt>
                <c:pt idx="1995">
                  <c:v>2.3989999000000002</c:v>
                </c:pt>
                <c:pt idx="1996">
                  <c:v>2.3992</c:v>
                </c:pt>
                <c:pt idx="1997">
                  <c:v>2.3993997999999999</c:v>
                </c:pt>
                <c:pt idx="1998">
                  <c:v>2.3996</c:v>
                </c:pt>
                <c:pt idx="1999">
                  <c:v>2.3998001000000002</c:v>
                </c:pt>
                <c:pt idx="2000">
                  <c:v>2.3999999000000001</c:v>
                </c:pt>
                <c:pt idx="2001">
                  <c:v>2.4001999000000001</c:v>
                </c:pt>
                <c:pt idx="2002">
                  <c:v>2.4003996999999999</c:v>
                </c:pt>
                <c:pt idx="2003">
                  <c:v>2.4005999999999998</c:v>
                </c:pt>
                <c:pt idx="2004">
                  <c:v>2.4007999999999998</c:v>
                </c:pt>
                <c:pt idx="2005">
                  <c:v>2.4009998000000001</c:v>
                </c:pt>
                <c:pt idx="2006">
                  <c:v>2.4012001000000001</c:v>
                </c:pt>
                <c:pt idx="2007">
                  <c:v>2.4014001</c:v>
                </c:pt>
                <c:pt idx="2008">
                  <c:v>2.4015998999999999</c:v>
                </c:pt>
                <c:pt idx="2009">
                  <c:v>2.4017998999999999</c:v>
                </c:pt>
                <c:pt idx="2010">
                  <c:v>2.4019997000000002</c:v>
                </c:pt>
                <c:pt idx="2011">
                  <c:v>2.4022000000000001</c:v>
                </c:pt>
                <c:pt idx="2012">
                  <c:v>2.4024000000000001</c:v>
                </c:pt>
                <c:pt idx="2013">
                  <c:v>2.4025998</c:v>
                </c:pt>
                <c:pt idx="2014">
                  <c:v>2.4028000999999999</c:v>
                </c:pt>
                <c:pt idx="2015">
                  <c:v>2.4029999000000002</c:v>
                </c:pt>
                <c:pt idx="2016">
                  <c:v>2.4031999000000002</c:v>
                </c:pt>
                <c:pt idx="2017">
                  <c:v>2.4033999000000001</c:v>
                </c:pt>
                <c:pt idx="2018">
                  <c:v>2.4035997</c:v>
                </c:pt>
                <c:pt idx="2019">
                  <c:v>2.4037999999999999</c:v>
                </c:pt>
                <c:pt idx="2020">
                  <c:v>2.4039999999999999</c:v>
                </c:pt>
                <c:pt idx="2021">
                  <c:v>2.4041998000000002</c:v>
                </c:pt>
                <c:pt idx="2022">
                  <c:v>2.4044001000000002</c:v>
                </c:pt>
                <c:pt idx="2023">
                  <c:v>2.4045999</c:v>
                </c:pt>
                <c:pt idx="2024">
                  <c:v>2.4047999</c:v>
                </c:pt>
                <c:pt idx="2025">
                  <c:v>2.4049999999999998</c:v>
                </c:pt>
                <c:pt idx="2026">
                  <c:v>2.4051998000000001</c:v>
                </c:pt>
                <c:pt idx="2027">
                  <c:v>2.4054000000000002</c:v>
                </c:pt>
                <c:pt idx="2028">
                  <c:v>2.4055998000000001</c:v>
                </c:pt>
                <c:pt idx="2029">
                  <c:v>2.4057998999999999</c:v>
                </c:pt>
                <c:pt idx="2030">
                  <c:v>2.4060001</c:v>
                </c:pt>
                <c:pt idx="2031">
                  <c:v>2.4061998999999998</c:v>
                </c:pt>
                <c:pt idx="2032">
                  <c:v>2.4064000000000001</c:v>
                </c:pt>
                <c:pt idx="2033">
                  <c:v>2.4065998</c:v>
                </c:pt>
                <c:pt idx="2034">
                  <c:v>2.4067997999999999</c:v>
                </c:pt>
                <c:pt idx="2035">
                  <c:v>2.4070000999999999</c:v>
                </c:pt>
                <c:pt idx="2036">
                  <c:v>2.4071999000000002</c:v>
                </c:pt>
                <c:pt idx="2037">
                  <c:v>2.4073999000000001</c:v>
                </c:pt>
                <c:pt idx="2038">
                  <c:v>2.4076002000000001</c:v>
                </c:pt>
                <c:pt idx="2039">
                  <c:v>2.4077999999999999</c:v>
                </c:pt>
                <c:pt idx="2040">
                  <c:v>2.4079999999999999</c:v>
                </c:pt>
                <c:pt idx="2041">
                  <c:v>2.4081997999999998</c:v>
                </c:pt>
                <c:pt idx="2042">
                  <c:v>2.4083998000000002</c:v>
                </c:pt>
                <c:pt idx="2043">
                  <c:v>2.4086001000000001</c:v>
                </c:pt>
                <c:pt idx="2044">
                  <c:v>2.4087999</c:v>
                </c:pt>
                <c:pt idx="2045">
                  <c:v>2.4089999</c:v>
                </c:pt>
                <c:pt idx="2046">
                  <c:v>2.4091999999999998</c:v>
                </c:pt>
                <c:pt idx="2047">
                  <c:v>2.4094000000000002</c:v>
                </c:pt>
                <c:pt idx="2048">
                  <c:v>2.4096000000000002</c:v>
                </c:pt>
                <c:pt idx="2049">
                  <c:v>2.4097998</c:v>
                </c:pt>
                <c:pt idx="2050">
                  <c:v>2.4099998</c:v>
                </c:pt>
                <c:pt idx="2051">
                  <c:v>2.4101998999999998</c:v>
                </c:pt>
                <c:pt idx="2052">
                  <c:v>2.4103998999999998</c:v>
                </c:pt>
                <c:pt idx="2053">
                  <c:v>2.4105998999999998</c:v>
                </c:pt>
                <c:pt idx="2054">
                  <c:v>2.4108000000000001</c:v>
                </c:pt>
                <c:pt idx="2055">
                  <c:v>2.411</c:v>
                </c:pt>
                <c:pt idx="2056">
                  <c:v>2.4112</c:v>
                </c:pt>
                <c:pt idx="2057">
                  <c:v>2.4113997999999999</c:v>
                </c:pt>
                <c:pt idx="2058">
                  <c:v>2.4115999000000001</c:v>
                </c:pt>
                <c:pt idx="2059">
                  <c:v>2.4117999000000001</c:v>
                </c:pt>
                <c:pt idx="2060">
                  <c:v>2.4119999000000001</c:v>
                </c:pt>
                <c:pt idx="2061">
                  <c:v>2.4121999999999999</c:v>
                </c:pt>
                <c:pt idx="2062">
                  <c:v>2.4123999999999999</c:v>
                </c:pt>
                <c:pt idx="2063">
                  <c:v>2.4125999999999999</c:v>
                </c:pt>
                <c:pt idx="2064">
                  <c:v>2.4127998000000002</c:v>
                </c:pt>
                <c:pt idx="2065">
                  <c:v>2.4129999</c:v>
                </c:pt>
                <c:pt idx="2066">
                  <c:v>2.4131999</c:v>
                </c:pt>
                <c:pt idx="2067">
                  <c:v>2.4133998999999999</c:v>
                </c:pt>
                <c:pt idx="2068">
                  <c:v>2.4136000000000002</c:v>
                </c:pt>
                <c:pt idx="2069">
                  <c:v>2.4137998000000001</c:v>
                </c:pt>
                <c:pt idx="2070">
                  <c:v>2.4140000000000001</c:v>
                </c:pt>
                <c:pt idx="2071">
                  <c:v>2.4142001</c:v>
                </c:pt>
                <c:pt idx="2072">
                  <c:v>2.4143998999999998</c:v>
                </c:pt>
                <c:pt idx="2073">
                  <c:v>2.4145998999999998</c:v>
                </c:pt>
                <c:pt idx="2074">
                  <c:v>2.4147997000000001</c:v>
                </c:pt>
                <c:pt idx="2075">
                  <c:v>2.415</c:v>
                </c:pt>
                <c:pt idx="2076">
                  <c:v>2.4152</c:v>
                </c:pt>
                <c:pt idx="2077">
                  <c:v>2.4153997999999999</c:v>
                </c:pt>
                <c:pt idx="2078">
                  <c:v>2.4156000999999998</c:v>
                </c:pt>
                <c:pt idx="2079">
                  <c:v>2.4158000999999998</c:v>
                </c:pt>
                <c:pt idx="2080">
                  <c:v>2.4159999000000001</c:v>
                </c:pt>
                <c:pt idx="2081">
                  <c:v>2.4161999000000001</c:v>
                </c:pt>
                <c:pt idx="2082">
                  <c:v>2.4163996999999999</c:v>
                </c:pt>
                <c:pt idx="2083">
                  <c:v>2.4165999999999999</c:v>
                </c:pt>
                <c:pt idx="2084">
                  <c:v>2.4167999999999998</c:v>
                </c:pt>
                <c:pt idx="2085">
                  <c:v>2.4169998000000001</c:v>
                </c:pt>
                <c:pt idx="2086">
                  <c:v>2.4172001000000001</c:v>
                </c:pt>
                <c:pt idx="2087">
                  <c:v>2.4173998999999999</c:v>
                </c:pt>
                <c:pt idx="2088">
                  <c:v>2.4175998999999999</c:v>
                </c:pt>
                <c:pt idx="2089">
                  <c:v>2.4177998999999999</c:v>
                </c:pt>
                <c:pt idx="2090">
                  <c:v>2.4179997000000002</c:v>
                </c:pt>
                <c:pt idx="2091">
                  <c:v>2.4182000000000001</c:v>
                </c:pt>
                <c:pt idx="2092">
                  <c:v>2.4184000000000001</c:v>
                </c:pt>
                <c:pt idx="2093">
                  <c:v>2.4185998</c:v>
                </c:pt>
                <c:pt idx="2094">
                  <c:v>2.4188000999999999</c:v>
                </c:pt>
                <c:pt idx="2095">
                  <c:v>2.4189999000000002</c:v>
                </c:pt>
                <c:pt idx="2096">
                  <c:v>2.4191999000000002</c:v>
                </c:pt>
                <c:pt idx="2097">
                  <c:v>2.4194</c:v>
                </c:pt>
                <c:pt idx="2098">
                  <c:v>2.4195997999999999</c:v>
                </c:pt>
                <c:pt idx="2099">
                  <c:v>2.4198</c:v>
                </c:pt>
                <c:pt idx="2100">
                  <c:v>2.4199997999999998</c:v>
                </c:pt>
                <c:pt idx="2101">
                  <c:v>2.4201999000000001</c:v>
                </c:pt>
                <c:pt idx="2102">
                  <c:v>2.4204001000000002</c:v>
                </c:pt>
                <c:pt idx="2103">
                  <c:v>2.4205999</c:v>
                </c:pt>
                <c:pt idx="2104">
                  <c:v>2.4207999999999998</c:v>
                </c:pt>
                <c:pt idx="2105">
                  <c:v>2.4209998000000001</c:v>
                </c:pt>
                <c:pt idx="2106">
                  <c:v>2.4211998000000001</c:v>
                </c:pt>
                <c:pt idx="2107">
                  <c:v>2.4214001000000001</c:v>
                </c:pt>
                <c:pt idx="2108">
                  <c:v>2.4215998999999999</c:v>
                </c:pt>
                <c:pt idx="2109">
                  <c:v>2.4217998999999999</c:v>
                </c:pt>
                <c:pt idx="2110">
                  <c:v>2.4220001999999998</c:v>
                </c:pt>
                <c:pt idx="2111">
                  <c:v>2.4222000000000001</c:v>
                </c:pt>
                <c:pt idx="2112">
                  <c:v>2.4224000000000001</c:v>
                </c:pt>
                <c:pt idx="2113">
                  <c:v>2.4225998</c:v>
                </c:pt>
                <c:pt idx="2114">
                  <c:v>2.4227997999999999</c:v>
                </c:pt>
                <c:pt idx="2115">
                  <c:v>2.4230000999999999</c:v>
                </c:pt>
                <c:pt idx="2116">
                  <c:v>2.4231999000000002</c:v>
                </c:pt>
                <c:pt idx="2117">
                  <c:v>2.4233999000000002</c:v>
                </c:pt>
                <c:pt idx="2118">
                  <c:v>2.4236</c:v>
                </c:pt>
                <c:pt idx="2119">
                  <c:v>2.4238</c:v>
                </c:pt>
                <c:pt idx="2120">
                  <c:v>2.4239999999999999</c:v>
                </c:pt>
                <c:pt idx="2121">
                  <c:v>2.4241997999999998</c:v>
                </c:pt>
                <c:pt idx="2122">
                  <c:v>2.4243999000000001</c:v>
                </c:pt>
                <c:pt idx="2123">
                  <c:v>2.4245999</c:v>
                </c:pt>
                <c:pt idx="2124">
                  <c:v>2.4247999</c:v>
                </c:pt>
                <c:pt idx="2125">
                  <c:v>2.4249999999999998</c:v>
                </c:pt>
                <c:pt idx="2126">
                  <c:v>2.4251999999999998</c:v>
                </c:pt>
                <c:pt idx="2127">
                  <c:v>2.4253999999999998</c:v>
                </c:pt>
                <c:pt idx="2128">
                  <c:v>2.4255998000000001</c:v>
                </c:pt>
                <c:pt idx="2129">
                  <c:v>2.4257998000000001</c:v>
                </c:pt>
                <c:pt idx="2130">
                  <c:v>2.4259998999999999</c:v>
                </c:pt>
                <c:pt idx="2131">
                  <c:v>2.4261998999999999</c:v>
                </c:pt>
                <c:pt idx="2132">
                  <c:v>2.4263998999999998</c:v>
                </c:pt>
                <c:pt idx="2133">
                  <c:v>2.4266000000000001</c:v>
                </c:pt>
                <c:pt idx="2134">
                  <c:v>2.4268000000000001</c:v>
                </c:pt>
                <c:pt idx="2135">
                  <c:v>2.427</c:v>
                </c:pt>
                <c:pt idx="2136">
                  <c:v>2.4271997999999999</c:v>
                </c:pt>
                <c:pt idx="2137">
                  <c:v>2.4273999000000002</c:v>
                </c:pt>
                <c:pt idx="2138">
                  <c:v>2.4275999000000001</c:v>
                </c:pt>
                <c:pt idx="2139">
                  <c:v>2.4277999000000001</c:v>
                </c:pt>
                <c:pt idx="2140">
                  <c:v>2.4279999999999999</c:v>
                </c:pt>
                <c:pt idx="2141">
                  <c:v>2.4281997999999998</c:v>
                </c:pt>
                <c:pt idx="2142">
                  <c:v>2.4283999999999999</c:v>
                </c:pt>
                <c:pt idx="2143">
                  <c:v>2.4286001000000002</c:v>
                </c:pt>
                <c:pt idx="2144">
                  <c:v>2.4287999</c:v>
                </c:pt>
                <c:pt idx="2145">
                  <c:v>2.4289999</c:v>
                </c:pt>
                <c:pt idx="2146">
                  <c:v>2.4291996999999999</c:v>
                </c:pt>
                <c:pt idx="2147">
                  <c:v>2.4293999999999998</c:v>
                </c:pt>
                <c:pt idx="2148">
                  <c:v>2.4296000000000002</c:v>
                </c:pt>
                <c:pt idx="2149">
                  <c:v>2.4297998000000001</c:v>
                </c:pt>
                <c:pt idx="2150">
                  <c:v>2.4300001</c:v>
                </c:pt>
                <c:pt idx="2151">
                  <c:v>2.4302001</c:v>
                </c:pt>
                <c:pt idx="2152">
                  <c:v>2.4303998999999998</c:v>
                </c:pt>
                <c:pt idx="2153">
                  <c:v>2.4305998999999998</c:v>
                </c:pt>
                <c:pt idx="2154">
                  <c:v>2.4307997000000001</c:v>
                </c:pt>
                <c:pt idx="2155">
                  <c:v>2.431</c:v>
                </c:pt>
                <c:pt idx="2156">
                  <c:v>2.4312</c:v>
                </c:pt>
                <c:pt idx="2157">
                  <c:v>2.4313997999999999</c:v>
                </c:pt>
                <c:pt idx="2158">
                  <c:v>2.4316000999999998</c:v>
                </c:pt>
                <c:pt idx="2159">
                  <c:v>2.4317999000000001</c:v>
                </c:pt>
                <c:pt idx="2160">
                  <c:v>2.4319999000000001</c:v>
                </c:pt>
                <c:pt idx="2161">
                  <c:v>2.4321999999999999</c:v>
                </c:pt>
                <c:pt idx="2162">
                  <c:v>2.4323996999999999</c:v>
                </c:pt>
                <c:pt idx="2163">
                  <c:v>2.4325999999999999</c:v>
                </c:pt>
                <c:pt idx="2164">
                  <c:v>2.4327998000000002</c:v>
                </c:pt>
                <c:pt idx="2165">
                  <c:v>2.4329998000000002</c:v>
                </c:pt>
                <c:pt idx="2166">
                  <c:v>2.4332001000000001</c:v>
                </c:pt>
                <c:pt idx="2167">
                  <c:v>2.4333998999999999</c:v>
                </c:pt>
                <c:pt idx="2168">
                  <c:v>2.4335998999999999</c:v>
                </c:pt>
                <c:pt idx="2169">
                  <c:v>2.4338000000000002</c:v>
                </c:pt>
                <c:pt idx="2170">
                  <c:v>2.4339998</c:v>
                </c:pt>
                <c:pt idx="2171">
                  <c:v>2.4342000000000001</c:v>
                </c:pt>
                <c:pt idx="2172">
                  <c:v>2.4343998</c:v>
                </c:pt>
                <c:pt idx="2173">
                  <c:v>2.4345998999999998</c:v>
                </c:pt>
                <c:pt idx="2174">
                  <c:v>2.4348000999999999</c:v>
                </c:pt>
                <c:pt idx="2175">
                  <c:v>2.4349999000000002</c:v>
                </c:pt>
                <c:pt idx="2176">
                  <c:v>2.4352</c:v>
                </c:pt>
                <c:pt idx="2177">
                  <c:v>2.4353997999999999</c:v>
                </c:pt>
                <c:pt idx="2178">
                  <c:v>2.4355997999999999</c:v>
                </c:pt>
                <c:pt idx="2179">
                  <c:v>2.4358000999999998</c:v>
                </c:pt>
                <c:pt idx="2180">
                  <c:v>2.4359999000000001</c:v>
                </c:pt>
                <c:pt idx="2181">
                  <c:v>2.4361999000000001</c:v>
                </c:pt>
                <c:pt idx="2182">
                  <c:v>2.4364002</c:v>
                </c:pt>
                <c:pt idx="2183">
                  <c:v>2.4365999999999999</c:v>
                </c:pt>
                <c:pt idx="2184">
                  <c:v>2.4367999999999999</c:v>
                </c:pt>
                <c:pt idx="2185">
                  <c:v>2.4369998000000002</c:v>
                </c:pt>
                <c:pt idx="2186">
                  <c:v>2.4371998000000001</c:v>
                </c:pt>
                <c:pt idx="2187">
                  <c:v>2.4374001000000001</c:v>
                </c:pt>
                <c:pt idx="2188">
                  <c:v>2.4375998999999999</c:v>
                </c:pt>
                <c:pt idx="2189">
                  <c:v>2.4377998999999999</c:v>
                </c:pt>
                <c:pt idx="2190">
                  <c:v>2.4380000000000002</c:v>
                </c:pt>
                <c:pt idx="2191">
                  <c:v>2.4382000000000001</c:v>
                </c:pt>
                <c:pt idx="2192">
                  <c:v>2.4384000000000001</c:v>
                </c:pt>
                <c:pt idx="2193">
                  <c:v>2.4385998</c:v>
                </c:pt>
                <c:pt idx="2194">
                  <c:v>2.4387998999999998</c:v>
                </c:pt>
                <c:pt idx="2195">
                  <c:v>2.4389999000000002</c:v>
                </c:pt>
                <c:pt idx="2196">
                  <c:v>2.4391999000000002</c:v>
                </c:pt>
                <c:pt idx="2197">
                  <c:v>2.4394</c:v>
                </c:pt>
                <c:pt idx="2198">
                  <c:v>2.4396</c:v>
                </c:pt>
                <c:pt idx="2199">
                  <c:v>2.4398</c:v>
                </c:pt>
                <c:pt idx="2200">
                  <c:v>2.4399997999999998</c:v>
                </c:pt>
                <c:pt idx="2201">
                  <c:v>2.4401999000000001</c:v>
                </c:pt>
                <c:pt idx="2202">
                  <c:v>2.4403999000000001</c:v>
                </c:pt>
                <c:pt idx="2203">
                  <c:v>2.4405999</c:v>
                </c:pt>
                <c:pt idx="2204">
                  <c:v>2.4407999999999999</c:v>
                </c:pt>
                <c:pt idx="2205">
                  <c:v>2.4409999999999998</c:v>
                </c:pt>
                <c:pt idx="2206">
                  <c:v>2.4411999999999998</c:v>
                </c:pt>
                <c:pt idx="2207">
                  <c:v>2.4414001000000001</c:v>
                </c:pt>
                <c:pt idx="2208">
                  <c:v>2.4415998000000001</c:v>
                </c:pt>
                <c:pt idx="2209">
                  <c:v>2.4417998999999999</c:v>
                </c:pt>
                <c:pt idx="2210">
                  <c:v>2.4419998999999999</c:v>
                </c:pt>
                <c:pt idx="2211">
                  <c:v>2.4421998999999999</c:v>
                </c:pt>
                <c:pt idx="2212">
                  <c:v>2.4424000000000001</c:v>
                </c:pt>
                <c:pt idx="2213">
                  <c:v>2.4425998</c:v>
                </c:pt>
                <c:pt idx="2214">
                  <c:v>2.4428000000000001</c:v>
                </c:pt>
                <c:pt idx="2215">
                  <c:v>2.4430000999999999</c:v>
                </c:pt>
                <c:pt idx="2216">
                  <c:v>2.4431999000000002</c:v>
                </c:pt>
                <c:pt idx="2217">
                  <c:v>2.4433999000000002</c:v>
                </c:pt>
                <c:pt idx="2218">
                  <c:v>2.4435997</c:v>
                </c:pt>
                <c:pt idx="2219">
                  <c:v>2.4438</c:v>
                </c:pt>
                <c:pt idx="2220">
                  <c:v>2.444</c:v>
                </c:pt>
                <c:pt idx="2221">
                  <c:v>2.4441997999999998</c:v>
                </c:pt>
                <c:pt idx="2222">
                  <c:v>2.4444001000000002</c:v>
                </c:pt>
                <c:pt idx="2223">
                  <c:v>2.4446001000000002</c:v>
                </c:pt>
                <c:pt idx="2224">
                  <c:v>2.4447999</c:v>
                </c:pt>
                <c:pt idx="2225">
                  <c:v>2.4449999</c:v>
                </c:pt>
                <c:pt idx="2226">
                  <c:v>2.4451996999999999</c:v>
                </c:pt>
                <c:pt idx="2227">
                  <c:v>2.4453999999999998</c:v>
                </c:pt>
                <c:pt idx="2228">
                  <c:v>2.4456000000000002</c:v>
                </c:pt>
                <c:pt idx="2229">
                  <c:v>2.4457998000000001</c:v>
                </c:pt>
                <c:pt idx="2230">
                  <c:v>2.4460001</c:v>
                </c:pt>
                <c:pt idx="2231">
                  <c:v>2.4461998999999999</c:v>
                </c:pt>
                <c:pt idx="2232">
                  <c:v>2.4463998999999998</c:v>
                </c:pt>
                <c:pt idx="2233">
                  <c:v>2.4466000000000001</c:v>
                </c:pt>
                <c:pt idx="2234">
                  <c:v>2.4467998</c:v>
                </c:pt>
                <c:pt idx="2235">
                  <c:v>2.4470000000000001</c:v>
                </c:pt>
                <c:pt idx="2236">
                  <c:v>2.4471997999999999</c:v>
                </c:pt>
                <c:pt idx="2237">
                  <c:v>2.4473999000000002</c:v>
                </c:pt>
                <c:pt idx="2238">
                  <c:v>2.4476000999999998</c:v>
                </c:pt>
                <c:pt idx="2239">
                  <c:v>2.4477999000000001</c:v>
                </c:pt>
                <c:pt idx="2240">
                  <c:v>2.448</c:v>
                </c:pt>
                <c:pt idx="2241">
                  <c:v>2.4481997</c:v>
                </c:pt>
                <c:pt idx="2242">
                  <c:v>2.4483997999999998</c:v>
                </c:pt>
                <c:pt idx="2243">
                  <c:v>2.4486001000000002</c:v>
                </c:pt>
                <c:pt idx="2244">
                  <c:v>2.4487998000000002</c:v>
                </c:pt>
                <c:pt idx="2245">
                  <c:v>2.4489999</c:v>
                </c:pt>
                <c:pt idx="2246">
                  <c:v>2.4492001999999999</c:v>
                </c:pt>
                <c:pt idx="2247">
                  <c:v>2.4493999</c:v>
                </c:pt>
                <c:pt idx="2248">
                  <c:v>2.4496000000000002</c:v>
                </c:pt>
                <c:pt idx="2249">
                  <c:v>2.4497998000000001</c:v>
                </c:pt>
                <c:pt idx="2250">
                  <c:v>2.4499998000000001</c:v>
                </c:pt>
                <c:pt idx="2251">
                  <c:v>2.4502001</c:v>
                </c:pt>
                <c:pt idx="2252">
                  <c:v>2.4503998999999999</c:v>
                </c:pt>
                <c:pt idx="2253">
                  <c:v>2.4505998999999998</c:v>
                </c:pt>
                <c:pt idx="2254">
                  <c:v>2.4507998999999998</c:v>
                </c:pt>
                <c:pt idx="2255">
                  <c:v>2.4510000000000001</c:v>
                </c:pt>
                <c:pt idx="2256">
                  <c:v>2.4512</c:v>
                </c:pt>
                <c:pt idx="2257">
                  <c:v>2.4513997999999999</c:v>
                </c:pt>
                <c:pt idx="2258">
                  <c:v>2.4515997999999999</c:v>
                </c:pt>
                <c:pt idx="2259">
                  <c:v>2.4518000999999998</c:v>
                </c:pt>
                <c:pt idx="2260">
                  <c:v>2.4519999000000001</c:v>
                </c:pt>
                <c:pt idx="2261">
                  <c:v>2.4521999000000001</c:v>
                </c:pt>
                <c:pt idx="2262">
                  <c:v>2.4523999999999999</c:v>
                </c:pt>
                <c:pt idx="2263">
                  <c:v>2.4525999999999999</c:v>
                </c:pt>
                <c:pt idx="2264">
                  <c:v>2.4527999999999999</c:v>
                </c:pt>
                <c:pt idx="2265">
                  <c:v>2.4529998000000002</c:v>
                </c:pt>
                <c:pt idx="2266">
                  <c:v>2.4531999</c:v>
                </c:pt>
                <c:pt idx="2267">
                  <c:v>2.4533999</c:v>
                </c:pt>
                <c:pt idx="2268">
                  <c:v>2.4535998999999999</c:v>
                </c:pt>
                <c:pt idx="2269">
                  <c:v>2.4538000000000002</c:v>
                </c:pt>
                <c:pt idx="2270">
                  <c:v>2.4540000000000002</c:v>
                </c:pt>
                <c:pt idx="2271">
                  <c:v>2.4542000000000002</c:v>
                </c:pt>
                <c:pt idx="2272">
                  <c:v>2.4543998</c:v>
                </c:pt>
                <c:pt idx="2273">
                  <c:v>2.4545998999999998</c:v>
                </c:pt>
                <c:pt idx="2274">
                  <c:v>2.4547998999999998</c:v>
                </c:pt>
                <c:pt idx="2275">
                  <c:v>2.4549998999999998</c:v>
                </c:pt>
                <c:pt idx="2276">
                  <c:v>2.4552</c:v>
                </c:pt>
                <c:pt idx="2277">
                  <c:v>2.4553997999999999</c:v>
                </c:pt>
                <c:pt idx="2278">
                  <c:v>2.4556</c:v>
                </c:pt>
                <c:pt idx="2279">
                  <c:v>2.4558000999999998</c:v>
                </c:pt>
                <c:pt idx="2280">
                  <c:v>2.4559999000000001</c:v>
                </c:pt>
                <c:pt idx="2281">
                  <c:v>2.4561999000000001</c:v>
                </c:pt>
                <c:pt idx="2282">
                  <c:v>2.4563999000000001</c:v>
                </c:pt>
                <c:pt idx="2283">
                  <c:v>2.4565999999999999</c:v>
                </c:pt>
                <c:pt idx="2284">
                  <c:v>2.4567999999999999</c:v>
                </c:pt>
                <c:pt idx="2285">
                  <c:v>2.4569998000000002</c:v>
                </c:pt>
                <c:pt idx="2286">
                  <c:v>2.4572001000000001</c:v>
                </c:pt>
                <c:pt idx="2287">
                  <c:v>2.4574001000000001</c:v>
                </c:pt>
                <c:pt idx="2288">
                  <c:v>2.4575998999999999</c:v>
                </c:pt>
                <c:pt idx="2289">
                  <c:v>2.4577998999999999</c:v>
                </c:pt>
                <c:pt idx="2290">
                  <c:v>2.4579996999999998</c:v>
                </c:pt>
                <c:pt idx="2291">
                  <c:v>2.4582000000000002</c:v>
                </c:pt>
                <c:pt idx="2292">
                  <c:v>2.4584000000000001</c:v>
                </c:pt>
                <c:pt idx="2293">
                  <c:v>2.4585998</c:v>
                </c:pt>
                <c:pt idx="2294">
                  <c:v>2.4588000999999999</c:v>
                </c:pt>
                <c:pt idx="2295">
                  <c:v>2.4590000999999999</c:v>
                </c:pt>
                <c:pt idx="2296">
                  <c:v>2.4591999000000002</c:v>
                </c:pt>
                <c:pt idx="2297">
                  <c:v>2.4593999000000002</c:v>
                </c:pt>
                <c:pt idx="2298">
                  <c:v>2.4595997000000001</c:v>
                </c:pt>
                <c:pt idx="2299">
                  <c:v>2.4598</c:v>
                </c:pt>
                <c:pt idx="2300">
                  <c:v>2.46</c:v>
                </c:pt>
                <c:pt idx="2301">
                  <c:v>2.4601997999999998</c:v>
                </c:pt>
                <c:pt idx="2302">
                  <c:v>2.4604001000000002</c:v>
                </c:pt>
                <c:pt idx="2303">
                  <c:v>2.4605999000000001</c:v>
                </c:pt>
                <c:pt idx="2304">
                  <c:v>2.4607999</c:v>
                </c:pt>
                <c:pt idx="2305">
                  <c:v>2.4609999999999999</c:v>
                </c:pt>
                <c:pt idx="2306">
                  <c:v>2.4611998000000002</c:v>
                </c:pt>
                <c:pt idx="2307">
                  <c:v>2.4613999999999998</c:v>
                </c:pt>
                <c:pt idx="2308">
                  <c:v>2.4615998000000001</c:v>
                </c:pt>
                <c:pt idx="2309">
                  <c:v>2.4617998999999999</c:v>
                </c:pt>
                <c:pt idx="2310">
                  <c:v>2.4620001</c:v>
                </c:pt>
                <c:pt idx="2311">
                  <c:v>2.4621998999999999</c:v>
                </c:pt>
                <c:pt idx="2312">
                  <c:v>2.4624000000000001</c:v>
                </c:pt>
                <c:pt idx="2313">
                  <c:v>2.4625998</c:v>
                </c:pt>
                <c:pt idx="2314">
                  <c:v>2.4627998</c:v>
                </c:pt>
                <c:pt idx="2315">
                  <c:v>2.4630000999999999</c:v>
                </c:pt>
                <c:pt idx="2316">
                  <c:v>2.4631999000000002</c:v>
                </c:pt>
                <c:pt idx="2317">
                  <c:v>2.4633999000000002</c:v>
                </c:pt>
                <c:pt idx="2318">
                  <c:v>2.4636002000000001</c:v>
                </c:pt>
                <c:pt idx="2319">
                  <c:v>2.4638</c:v>
                </c:pt>
                <c:pt idx="2320">
                  <c:v>2.464</c:v>
                </c:pt>
                <c:pt idx="2321">
                  <c:v>2.4641997999999998</c:v>
                </c:pt>
                <c:pt idx="2322">
                  <c:v>2.4643997999999998</c:v>
                </c:pt>
                <c:pt idx="2323">
                  <c:v>2.4646001000000002</c:v>
                </c:pt>
                <c:pt idx="2324">
                  <c:v>2.4647999</c:v>
                </c:pt>
                <c:pt idx="2325">
                  <c:v>2.4649999</c:v>
                </c:pt>
                <c:pt idx="2326">
                  <c:v>2.4651999</c:v>
                </c:pt>
                <c:pt idx="2327">
                  <c:v>2.4653999999999998</c:v>
                </c:pt>
                <c:pt idx="2328">
                  <c:v>2.4655999999999998</c:v>
                </c:pt>
                <c:pt idx="2329">
                  <c:v>2.4657998000000001</c:v>
                </c:pt>
                <c:pt idx="2330">
                  <c:v>2.4659998000000001</c:v>
                </c:pt>
                <c:pt idx="2331">
                  <c:v>2.4662001</c:v>
                </c:pt>
                <c:pt idx="2332">
                  <c:v>2.4663998999999999</c:v>
                </c:pt>
                <c:pt idx="2333">
                  <c:v>2.4665998999999998</c:v>
                </c:pt>
                <c:pt idx="2334">
                  <c:v>2.4668000000000001</c:v>
                </c:pt>
                <c:pt idx="2335">
                  <c:v>2.4670000000000001</c:v>
                </c:pt>
                <c:pt idx="2336">
                  <c:v>2.4672000000000001</c:v>
                </c:pt>
                <c:pt idx="2337">
                  <c:v>2.4673997999999999</c:v>
                </c:pt>
                <c:pt idx="2338">
                  <c:v>2.4675999000000002</c:v>
                </c:pt>
                <c:pt idx="2339">
                  <c:v>2.4677999000000002</c:v>
                </c:pt>
                <c:pt idx="2340">
                  <c:v>2.4679999000000001</c:v>
                </c:pt>
                <c:pt idx="2341">
                  <c:v>2.4681999999999999</c:v>
                </c:pt>
                <c:pt idx="2342">
                  <c:v>2.4683999999999999</c:v>
                </c:pt>
                <c:pt idx="2343">
                  <c:v>2.4685999999999999</c:v>
                </c:pt>
                <c:pt idx="2344">
                  <c:v>2.4687998000000002</c:v>
                </c:pt>
                <c:pt idx="2345">
                  <c:v>2.4689999</c:v>
                </c:pt>
                <c:pt idx="2346">
                  <c:v>2.4691999</c:v>
                </c:pt>
                <c:pt idx="2347">
                  <c:v>2.4693999</c:v>
                </c:pt>
                <c:pt idx="2348">
                  <c:v>2.4695999999999998</c:v>
                </c:pt>
                <c:pt idx="2349">
                  <c:v>2.4697998000000001</c:v>
                </c:pt>
                <c:pt idx="2350">
                  <c:v>2.4700000000000002</c:v>
                </c:pt>
                <c:pt idx="2351">
                  <c:v>2.4702001</c:v>
                </c:pt>
                <c:pt idx="2352">
                  <c:v>2.4703998999999999</c:v>
                </c:pt>
                <c:pt idx="2353">
                  <c:v>2.4705998999999998</c:v>
                </c:pt>
                <c:pt idx="2354">
                  <c:v>2.4707997000000002</c:v>
                </c:pt>
                <c:pt idx="2355">
                  <c:v>2.4710000000000001</c:v>
                </c:pt>
                <c:pt idx="2356">
                  <c:v>2.4712000000000001</c:v>
                </c:pt>
                <c:pt idx="2357">
                  <c:v>2.4713997999999999</c:v>
                </c:pt>
                <c:pt idx="2358">
                  <c:v>2.4716000999999999</c:v>
                </c:pt>
                <c:pt idx="2359">
                  <c:v>2.4718000999999998</c:v>
                </c:pt>
                <c:pt idx="2360">
                  <c:v>2.4719999000000001</c:v>
                </c:pt>
                <c:pt idx="2361">
                  <c:v>2.4721999000000001</c:v>
                </c:pt>
                <c:pt idx="2362">
                  <c:v>2.4723997</c:v>
                </c:pt>
                <c:pt idx="2363">
                  <c:v>2.4725999999999999</c:v>
                </c:pt>
                <c:pt idx="2364">
                  <c:v>2.4727999999999999</c:v>
                </c:pt>
                <c:pt idx="2365">
                  <c:v>2.4729998000000002</c:v>
                </c:pt>
                <c:pt idx="2366">
                  <c:v>2.4732001000000001</c:v>
                </c:pt>
                <c:pt idx="2367">
                  <c:v>2.4733999</c:v>
                </c:pt>
                <c:pt idx="2368">
                  <c:v>2.4735999</c:v>
                </c:pt>
                <c:pt idx="2369">
                  <c:v>2.4737998999999999</c:v>
                </c:pt>
                <c:pt idx="2370">
                  <c:v>2.4739996999999998</c:v>
                </c:pt>
                <c:pt idx="2371">
                  <c:v>2.4742000000000002</c:v>
                </c:pt>
                <c:pt idx="2372">
                  <c:v>2.4744000000000002</c:v>
                </c:pt>
                <c:pt idx="2373">
                  <c:v>2.4745998</c:v>
                </c:pt>
                <c:pt idx="2374">
                  <c:v>2.4748000999999999</c:v>
                </c:pt>
                <c:pt idx="2375">
                  <c:v>2.4749998999999998</c:v>
                </c:pt>
                <c:pt idx="2376">
                  <c:v>2.4751998999999998</c:v>
                </c:pt>
                <c:pt idx="2377">
                  <c:v>2.4754</c:v>
                </c:pt>
                <c:pt idx="2378">
                  <c:v>2.4755997999999999</c:v>
                </c:pt>
                <c:pt idx="2379">
                  <c:v>2.4758</c:v>
                </c:pt>
                <c:pt idx="2380">
                  <c:v>2.4759997999999999</c:v>
                </c:pt>
                <c:pt idx="2381">
                  <c:v>2.4761999000000001</c:v>
                </c:pt>
                <c:pt idx="2382">
                  <c:v>2.4764001000000002</c:v>
                </c:pt>
                <c:pt idx="2383">
                  <c:v>2.4765999000000001</c:v>
                </c:pt>
                <c:pt idx="2384">
                  <c:v>2.4767999999999999</c:v>
                </c:pt>
                <c:pt idx="2385">
                  <c:v>2.4769998000000002</c:v>
                </c:pt>
                <c:pt idx="2386">
                  <c:v>2.4771998000000002</c:v>
                </c:pt>
                <c:pt idx="2387">
                  <c:v>2.4774001000000001</c:v>
                </c:pt>
                <c:pt idx="2388">
                  <c:v>2.4775999</c:v>
                </c:pt>
                <c:pt idx="2389">
                  <c:v>2.4777998999999999</c:v>
                </c:pt>
                <c:pt idx="2390">
                  <c:v>2.4780001999999999</c:v>
                </c:pt>
                <c:pt idx="2391">
                  <c:v>2.4782000000000002</c:v>
                </c:pt>
                <c:pt idx="2392">
                  <c:v>2.4784000000000002</c:v>
                </c:pt>
                <c:pt idx="2393">
                  <c:v>2.4785998</c:v>
                </c:pt>
                <c:pt idx="2394">
                  <c:v>2.4787998</c:v>
                </c:pt>
                <c:pt idx="2395">
                  <c:v>2.4790000999999999</c:v>
                </c:pt>
                <c:pt idx="2396">
                  <c:v>2.4791998999999998</c:v>
                </c:pt>
                <c:pt idx="2397">
                  <c:v>2.4793999000000002</c:v>
                </c:pt>
                <c:pt idx="2398">
                  <c:v>2.4796</c:v>
                </c:pt>
                <c:pt idx="2399">
                  <c:v>2.4798</c:v>
                </c:pt>
                <c:pt idx="2400">
                  <c:v>2.48</c:v>
                </c:pt>
                <c:pt idx="2401">
                  <c:v>2.4801997999999998</c:v>
                </c:pt>
                <c:pt idx="2402">
                  <c:v>2.4803997999999998</c:v>
                </c:pt>
                <c:pt idx="2403">
                  <c:v>2.4805999000000001</c:v>
                </c:pt>
                <c:pt idx="2404">
                  <c:v>2.4807999000000001</c:v>
                </c:pt>
                <c:pt idx="2405">
                  <c:v>2.4809999</c:v>
                </c:pt>
                <c:pt idx="2406">
                  <c:v>2.4811999999999999</c:v>
                </c:pt>
                <c:pt idx="2407">
                  <c:v>2.4813999999999998</c:v>
                </c:pt>
                <c:pt idx="2408">
                  <c:v>2.4815999999999998</c:v>
                </c:pt>
                <c:pt idx="2409">
                  <c:v>2.4817998000000001</c:v>
                </c:pt>
                <c:pt idx="2410">
                  <c:v>2.4819998999999999</c:v>
                </c:pt>
                <c:pt idx="2411">
                  <c:v>2.4821998999999999</c:v>
                </c:pt>
                <c:pt idx="2412">
                  <c:v>2.4823998999999999</c:v>
                </c:pt>
                <c:pt idx="2413">
                  <c:v>2.4826000000000001</c:v>
                </c:pt>
                <c:pt idx="2414">
                  <c:v>2.4828000000000001</c:v>
                </c:pt>
                <c:pt idx="2415">
                  <c:v>2.4830000000000001</c:v>
                </c:pt>
                <c:pt idx="2416">
                  <c:v>2.4831998</c:v>
                </c:pt>
                <c:pt idx="2417">
                  <c:v>2.4833999000000002</c:v>
                </c:pt>
                <c:pt idx="2418">
                  <c:v>2.4835999000000002</c:v>
                </c:pt>
                <c:pt idx="2419">
                  <c:v>2.4837999000000002</c:v>
                </c:pt>
                <c:pt idx="2420">
                  <c:v>2.484</c:v>
                </c:pt>
                <c:pt idx="2421">
                  <c:v>2.4841997999999998</c:v>
                </c:pt>
                <c:pt idx="2422">
                  <c:v>2.4843999999999999</c:v>
                </c:pt>
                <c:pt idx="2423">
                  <c:v>2.4846001000000002</c:v>
                </c:pt>
                <c:pt idx="2424">
                  <c:v>2.4847999000000001</c:v>
                </c:pt>
                <c:pt idx="2425">
                  <c:v>2.4849999</c:v>
                </c:pt>
                <c:pt idx="2426">
                  <c:v>2.4851996999999999</c:v>
                </c:pt>
                <c:pt idx="2427">
                  <c:v>2.4853999999999998</c:v>
                </c:pt>
                <c:pt idx="2428">
                  <c:v>2.4855999999999998</c:v>
                </c:pt>
                <c:pt idx="2429">
                  <c:v>2.4857998000000001</c:v>
                </c:pt>
                <c:pt idx="2430">
                  <c:v>2.4860001</c:v>
                </c:pt>
                <c:pt idx="2431">
                  <c:v>2.4862001</c:v>
                </c:pt>
                <c:pt idx="2432">
                  <c:v>2.4863998999999999</c:v>
                </c:pt>
                <c:pt idx="2433">
                  <c:v>2.4865998999999999</c:v>
                </c:pt>
                <c:pt idx="2434">
                  <c:v>2.4867997000000002</c:v>
                </c:pt>
                <c:pt idx="2435">
                  <c:v>2.4870000000000001</c:v>
                </c:pt>
                <c:pt idx="2436">
                  <c:v>2.4872000000000001</c:v>
                </c:pt>
                <c:pt idx="2437">
                  <c:v>2.4873997999999999</c:v>
                </c:pt>
                <c:pt idx="2438">
                  <c:v>2.4876000999999999</c:v>
                </c:pt>
                <c:pt idx="2439">
                  <c:v>2.4877999000000002</c:v>
                </c:pt>
                <c:pt idx="2440">
                  <c:v>2.4879999000000002</c:v>
                </c:pt>
                <c:pt idx="2441">
                  <c:v>2.4881999000000001</c:v>
                </c:pt>
                <c:pt idx="2442">
                  <c:v>2.4883997</c:v>
                </c:pt>
                <c:pt idx="2443">
                  <c:v>2.4885999999999999</c:v>
                </c:pt>
                <c:pt idx="2444">
                  <c:v>2.4887997999999998</c:v>
                </c:pt>
                <c:pt idx="2445">
                  <c:v>2.4889998000000002</c:v>
                </c:pt>
                <c:pt idx="2446">
                  <c:v>2.4892001000000001</c:v>
                </c:pt>
                <c:pt idx="2447">
                  <c:v>2.4893999</c:v>
                </c:pt>
                <c:pt idx="2448">
                  <c:v>2.4895999</c:v>
                </c:pt>
                <c:pt idx="2449">
                  <c:v>2.4897999999999998</c:v>
                </c:pt>
                <c:pt idx="2450">
                  <c:v>2.4899998000000001</c:v>
                </c:pt>
                <c:pt idx="2451">
                  <c:v>2.4902000000000002</c:v>
                </c:pt>
                <c:pt idx="2452">
                  <c:v>2.4903998000000001</c:v>
                </c:pt>
                <c:pt idx="2453">
                  <c:v>2.4905998999999999</c:v>
                </c:pt>
                <c:pt idx="2454">
                  <c:v>2.4908001</c:v>
                </c:pt>
                <c:pt idx="2455">
                  <c:v>2.4909998999999998</c:v>
                </c:pt>
                <c:pt idx="2456">
                  <c:v>2.4912000000000001</c:v>
                </c:pt>
                <c:pt idx="2457">
                  <c:v>2.4913997999999999</c:v>
                </c:pt>
                <c:pt idx="2458">
                  <c:v>2.4915997999999999</c:v>
                </c:pt>
                <c:pt idx="2459">
                  <c:v>2.4918000999999999</c:v>
                </c:pt>
                <c:pt idx="2460">
                  <c:v>2.4919999000000002</c:v>
                </c:pt>
                <c:pt idx="2461">
                  <c:v>2.4921999000000001</c:v>
                </c:pt>
                <c:pt idx="2462">
                  <c:v>2.4924002000000001</c:v>
                </c:pt>
                <c:pt idx="2463">
                  <c:v>2.4925999999999999</c:v>
                </c:pt>
                <c:pt idx="2464">
                  <c:v>2.4927999999999999</c:v>
                </c:pt>
                <c:pt idx="2465">
                  <c:v>2.4929998000000002</c:v>
                </c:pt>
                <c:pt idx="2466">
                  <c:v>2.4931998000000002</c:v>
                </c:pt>
                <c:pt idx="2467">
                  <c:v>2.4934001000000001</c:v>
                </c:pt>
                <c:pt idx="2468">
                  <c:v>2.4935999</c:v>
                </c:pt>
                <c:pt idx="2469">
                  <c:v>2.4937999</c:v>
                </c:pt>
                <c:pt idx="2470">
                  <c:v>2.4940000000000002</c:v>
                </c:pt>
                <c:pt idx="2471">
                  <c:v>2.4942000000000002</c:v>
                </c:pt>
                <c:pt idx="2472">
                  <c:v>2.4944000000000002</c:v>
                </c:pt>
                <c:pt idx="2473">
                  <c:v>2.4945998</c:v>
                </c:pt>
                <c:pt idx="2474">
                  <c:v>2.4947998999999998</c:v>
                </c:pt>
                <c:pt idx="2475">
                  <c:v>2.4949998999999998</c:v>
                </c:pt>
                <c:pt idx="2476">
                  <c:v>2.4951998999999998</c:v>
                </c:pt>
                <c:pt idx="2477">
                  <c:v>2.4954000000000001</c:v>
                </c:pt>
                <c:pt idx="2478">
                  <c:v>2.4956</c:v>
                </c:pt>
                <c:pt idx="2479">
                  <c:v>2.4958</c:v>
                </c:pt>
                <c:pt idx="2480">
                  <c:v>2.4959997999999999</c:v>
                </c:pt>
                <c:pt idx="2481">
                  <c:v>2.4961997999999999</c:v>
                </c:pt>
                <c:pt idx="2482">
                  <c:v>2.4963999000000001</c:v>
                </c:pt>
                <c:pt idx="2483">
                  <c:v>2.4965999000000001</c:v>
                </c:pt>
                <c:pt idx="2484">
                  <c:v>2.4967999000000001</c:v>
                </c:pt>
                <c:pt idx="2485">
                  <c:v>2.4969999999999999</c:v>
                </c:pt>
                <c:pt idx="2486">
                  <c:v>2.4971999999999999</c:v>
                </c:pt>
                <c:pt idx="2487">
                  <c:v>2.4973999999999998</c:v>
                </c:pt>
                <c:pt idx="2488">
                  <c:v>2.4975998000000001</c:v>
                </c:pt>
                <c:pt idx="2489">
                  <c:v>2.4977999</c:v>
                </c:pt>
                <c:pt idx="2490">
                  <c:v>2.4979998999999999</c:v>
                </c:pt>
                <c:pt idx="2491">
                  <c:v>2.4981998999999999</c:v>
                </c:pt>
                <c:pt idx="2492">
                  <c:v>2.4984000000000002</c:v>
                </c:pt>
                <c:pt idx="2493">
                  <c:v>2.4985998</c:v>
                </c:pt>
                <c:pt idx="2494">
                  <c:v>2.4988000000000001</c:v>
                </c:pt>
                <c:pt idx="2495">
                  <c:v>2.4990000999999999</c:v>
                </c:pt>
                <c:pt idx="2496">
                  <c:v>2.4991998999999998</c:v>
                </c:pt>
                <c:pt idx="2497">
                  <c:v>2.4993998999999998</c:v>
                </c:pt>
                <c:pt idx="2498">
                  <c:v>2.4995997000000001</c:v>
                </c:pt>
                <c:pt idx="2499">
                  <c:v>2.4998</c:v>
                </c:pt>
                <c:pt idx="2500">
                  <c:v>2.5</c:v>
                </c:pt>
                <c:pt idx="2501">
                  <c:v>2.5001997999999999</c:v>
                </c:pt>
                <c:pt idx="2502">
                  <c:v>2.5004000999999998</c:v>
                </c:pt>
                <c:pt idx="2503">
                  <c:v>2.5006001000000002</c:v>
                </c:pt>
                <c:pt idx="2504">
                  <c:v>2.5007999000000001</c:v>
                </c:pt>
                <c:pt idx="2505">
                  <c:v>2.5009999000000001</c:v>
                </c:pt>
                <c:pt idx="2506">
                  <c:v>2.5011996999999999</c:v>
                </c:pt>
                <c:pt idx="2507">
                  <c:v>2.5013999999999998</c:v>
                </c:pt>
                <c:pt idx="2508">
                  <c:v>2.5015999999999998</c:v>
                </c:pt>
                <c:pt idx="2509">
                  <c:v>2.5017998000000001</c:v>
                </c:pt>
                <c:pt idx="2510">
                  <c:v>2.5020001000000001</c:v>
                </c:pt>
                <c:pt idx="2511">
                  <c:v>2.5021998999999999</c:v>
                </c:pt>
                <c:pt idx="2512">
                  <c:v>2.5023998999999999</c:v>
                </c:pt>
                <c:pt idx="2513">
                  <c:v>2.5026000000000002</c:v>
                </c:pt>
                <c:pt idx="2514">
                  <c:v>2.5027997000000002</c:v>
                </c:pt>
                <c:pt idx="2515">
                  <c:v>2.5030000000000001</c:v>
                </c:pt>
                <c:pt idx="2516">
                  <c:v>2.5031998</c:v>
                </c:pt>
                <c:pt idx="2517">
                  <c:v>2.5033998</c:v>
                </c:pt>
                <c:pt idx="2518">
                  <c:v>2.5036000999999999</c:v>
                </c:pt>
                <c:pt idx="2519">
                  <c:v>2.5037999000000002</c:v>
                </c:pt>
                <c:pt idx="2520">
                  <c:v>2.5039999000000002</c:v>
                </c:pt>
                <c:pt idx="2521">
                  <c:v>2.5042</c:v>
                </c:pt>
                <c:pt idx="2522">
                  <c:v>2.5043997999999998</c:v>
                </c:pt>
                <c:pt idx="2523">
                  <c:v>2.5045999999999999</c:v>
                </c:pt>
                <c:pt idx="2524">
                  <c:v>2.5047997999999998</c:v>
                </c:pt>
                <c:pt idx="2525">
                  <c:v>2.5049999000000001</c:v>
                </c:pt>
                <c:pt idx="2526">
                  <c:v>2.5052001000000002</c:v>
                </c:pt>
                <c:pt idx="2527">
                  <c:v>2.5053999</c:v>
                </c:pt>
                <c:pt idx="2528">
                  <c:v>2.5055999999999998</c:v>
                </c:pt>
                <c:pt idx="2529">
                  <c:v>2.5057998000000001</c:v>
                </c:pt>
                <c:pt idx="2530">
                  <c:v>2.5059998000000001</c:v>
                </c:pt>
                <c:pt idx="2531">
                  <c:v>2.5062001</c:v>
                </c:pt>
                <c:pt idx="2532">
                  <c:v>2.5063998999999999</c:v>
                </c:pt>
                <c:pt idx="2533">
                  <c:v>2.5065998999999999</c:v>
                </c:pt>
                <c:pt idx="2534">
                  <c:v>2.5068001999999998</c:v>
                </c:pt>
                <c:pt idx="2535">
                  <c:v>2.5070000000000001</c:v>
                </c:pt>
                <c:pt idx="2536">
                  <c:v>2.5072000000000001</c:v>
                </c:pt>
                <c:pt idx="2537">
                  <c:v>2.5073998</c:v>
                </c:pt>
                <c:pt idx="2538">
                  <c:v>2.5075997999999999</c:v>
                </c:pt>
                <c:pt idx="2539">
                  <c:v>2.5078000999999999</c:v>
                </c:pt>
                <c:pt idx="2540">
                  <c:v>2.5079999000000002</c:v>
                </c:pt>
                <c:pt idx="2541">
                  <c:v>2.5081999000000001</c:v>
                </c:pt>
                <c:pt idx="2542">
                  <c:v>2.5084</c:v>
                </c:pt>
                <c:pt idx="2543">
                  <c:v>2.5085999999999999</c:v>
                </c:pt>
                <c:pt idx="2544">
                  <c:v>2.5087999999999999</c:v>
                </c:pt>
                <c:pt idx="2545">
                  <c:v>2.5089997999999998</c:v>
                </c:pt>
                <c:pt idx="2546">
                  <c:v>2.5091999</c:v>
                </c:pt>
                <c:pt idx="2547">
                  <c:v>2.5093999</c:v>
                </c:pt>
                <c:pt idx="2548">
                  <c:v>2.5095999</c:v>
                </c:pt>
                <c:pt idx="2549">
                  <c:v>2.5097999999999998</c:v>
                </c:pt>
                <c:pt idx="2550">
                  <c:v>2.5099999999999998</c:v>
                </c:pt>
                <c:pt idx="2551">
                  <c:v>2.5102000000000002</c:v>
                </c:pt>
                <c:pt idx="2552">
                  <c:v>2.5103998000000001</c:v>
                </c:pt>
                <c:pt idx="2553">
                  <c:v>2.5105998999999999</c:v>
                </c:pt>
                <c:pt idx="2554">
                  <c:v>2.5107998999999999</c:v>
                </c:pt>
                <c:pt idx="2555">
                  <c:v>2.5109998999999998</c:v>
                </c:pt>
                <c:pt idx="2556">
                  <c:v>2.5112000000000001</c:v>
                </c:pt>
                <c:pt idx="2557">
                  <c:v>2.5113997000000001</c:v>
                </c:pt>
                <c:pt idx="2558">
                  <c:v>2.5116000000000001</c:v>
                </c:pt>
                <c:pt idx="2559">
                  <c:v>2.5118000999999999</c:v>
                </c:pt>
                <c:pt idx="2560">
                  <c:v>2.5119997999999999</c:v>
                </c:pt>
                <c:pt idx="2561">
                  <c:v>2.5121999000000002</c:v>
                </c:pt>
                <c:pt idx="2562">
                  <c:v>2.5123999000000001</c:v>
                </c:pt>
                <c:pt idx="2563">
                  <c:v>2.5125999000000001</c:v>
                </c:pt>
                <c:pt idx="2564">
                  <c:v>2.5127999999999999</c:v>
                </c:pt>
                <c:pt idx="2565">
                  <c:v>2.5129997999999998</c:v>
                </c:pt>
                <c:pt idx="2566">
                  <c:v>2.5131999999999999</c:v>
                </c:pt>
                <c:pt idx="2567">
                  <c:v>2.5134001000000001</c:v>
                </c:pt>
                <c:pt idx="2568">
                  <c:v>2.5135999</c:v>
                </c:pt>
                <c:pt idx="2569">
                  <c:v>2.5137999</c:v>
                </c:pt>
                <c:pt idx="2570">
                  <c:v>2.5139996999999998</c:v>
                </c:pt>
                <c:pt idx="2571">
                  <c:v>2.5142000000000002</c:v>
                </c:pt>
                <c:pt idx="2572">
                  <c:v>2.5144000000000002</c:v>
                </c:pt>
                <c:pt idx="2573">
                  <c:v>2.5145998000000001</c:v>
                </c:pt>
                <c:pt idx="2574">
                  <c:v>2.5148001</c:v>
                </c:pt>
                <c:pt idx="2575">
                  <c:v>2.5150001</c:v>
                </c:pt>
                <c:pt idx="2576">
                  <c:v>2.5151998999999998</c:v>
                </c:pt>
                <c:pt idx="2577">
                  <c:v>2.5153998999999998</c:v>
                </c:pt>
                <c:pt idx="2578">
                  <c:v>2.5155997000000001</c:v>
                </c:pt>
                <c:pt idx="2579">
                  <c:v>2.5158</c:v>
                </c:pt>
                <c:pt idx="2580">
                  <c:v>2.516</c:v>
                </c:pt>
                <c:pt idx="2581">
                  <c:v>2.5161997999999999</c:v>
                </c:pt>
                <c:pt idx="2582">
                  <c:v>2.5164000999999998</c:v>
                </c:pt>
                <c:pt idx="2583">
                  <c:v>2.5165999000000001</c:v>
                </c:pt>
                <c:pt idx="2584">
                  <c:v>2.5167999000000001</c:v>
                </c:pt>
                <c:pt idx="2585">
                  <c:v>2.5169999999999999</c:v>
                </c:pt>
                <c:pt idx="2586">
                  <c:v>2.5171998000000002</c:v>
                </c:pt>
                <c:pt idx="2587">
                  <c:v>2.5173999999999999</c:v>
                </c:pt>
                <c:pt idx="2588">
                  <c:v>2.5175998000000002</c:v>
                </c:pt>
                <c:pt idx="2589">
                  <c:v>2.5177999</c:v>
                </c:pt>
                <c:pt idx="2590">
                  <c:v>2.5180001000000001</c:v>
                </c:pt>
                <c:pt idx="2591">
                  <c:v>2.5181998999999999</c:v>
                </c:pt>
                <c:pt idx="2592">
                  <c:v>2.5184000000000002</c:v>
                </c:pt>
                <c:pt idx="2593">
                  <c:v>2.5185997000000002</c:v>
                </c:pt>
                <c:pt idx="2594">
                  <c:v>2.5187998</c:v>
                </c:pt>
                <c:pt idx="2595">
                  <c:v>2.5190001</c:v>
                </c:pt>
                <c:pt idx="2596">
                  <c:v>2.5191998</c:v>
                </c:pt>
                <c:pt idx="2597">
                  <c:v>2.5193998999999998</c:v>
                </c:pt>
                <c:pt idx="2598">
                  <c:v>2.5196002000000002</c:v>
                </c:pt>
                <c:pt idx="2599">
                  <c:v>2.5197999000000002</c:v>
                </c:pt>
                <c:pt idx="2600">
                  <c:v>2.52</c:v>
                </c:pt>
                <c:pt idx="2601">
                  <c:v>2.5201997999999999</c:v>
                </c:pt>
                <c:pt idx="2602">
                  <c:v>2.5203997999999999</c:v>
                </c:pt>
                <c:pt idx="2603">
                  <c:v>2.5206000999999998</c:v>
                </c:pt>
                <c:pt idx="2604">
                  <c:v>2.5207999000000001</c:v>
                </c:pt>
                <c:pt idx="2605">
                  <c:v>2.5209999000000001</c:v>
                </c:pt>
                <c:pt idx="2606">
                  <c:v>2.5211999</c:v>
                </c:pt>
                <c:pt idx="2607">
                  <c:v>2.5213999999999999</c:v>
                </c:pt>
                <c:pt idx="2608">
                  <c:v>2.5215999999999998</c:v>
                </c:pt>
                <c:pt idx="2609">
                  <c:v>2.5217998000000001</c:v>
                </c:pt>
                <c:pt idx="2610">
                  <c:v>2.5219998000000001</c:v>
                </c:pt>
                <c:pt idx="2611">
                  <c:v>2.5222001000000001</c:v>
                </c:pt>
                <c:pt idx="2612">
                  <c:v>2.5223998999999999</c:v>
                </c:pt>
                <c:pt idx="2613">
                  <c:v>2.5225998999999999</c:v>
                </c:pt>
                <c:pt idx="2614">
                  <c:v>2.5228000000000002</c:v>
                </c:pt>
                <c:pt idx="2615">
                  <c:v>2.5230000000000001</c:v>
                </c:pt>
                <c:pt idx="2616">
                  <c:v>2.5232000000000001</c:v>
                </c:pt>
                <c:pt idx="2617">
                  <c:v>2.5233998</c:v>
                </c:pt>
                <c:pt idx="2618">
                  <c:v>2.5235998999999998</c:v>
                </c:pt>
                <c:pt idx="2619">
                  <c:v>2.5237999000000002</c:v>
                </c:pt>
                <c:pt idx="2620">
                  <c:v>2.5239999000000002</c:v>
                </c:pt>
                <c:pt idx="2621">
                  <c:v>2.5242</c:v>
                </c:pt>
                <c:pt idx="2622">
                  <c:v>2.5244</c:v>
                </c:pt>
                <c:pt idx="2623">
                  <c:v>2.5246</c:v>
                </c:pt>
                <c:pt idx="2624">
                  <c:v>2.5247997999999998</c:v>
                </c:pt>
                <c:pt idx="2625">
                  <c:v>2.5249999000000001</c:v>
                </c:pt>
                <c:pt idx="2626">
                  <c:v>2.5251999000000001</c:v>
                </c:pt>
                <c:pt idx="2627">
                  <c:v>2.5253999</c:v>
                </c:pt>
                <c:pt idx="2628">
                  <c:v>2.5255999999999998</c:v>
                </c:pt>
                <c:pt idx="2629">
                  <c:v>2.5257998000000002</c:v>
                </c:pt>
                <c:pt idx="2630">
                  <c:v>2.5259999999999998</c:v>
                </c:pt>
                <c:pt idx="2631">
                  <c:v>2.5262001000000001</c:v>
                </c:pt>
                <c:pt idx="2632">
                  <c:v>2.5263998999999999</c:v>
                </c:pt>
                <c:pt idx="2633">
                  <c:v>2.5265998999999999</c:v>
                </c:pt>
                <c:pt idx="2634">
                  <c:v>2.5267998999999999</c:v>
                </c:pt>
                <c:pt idx="2635">
                  <c:v>2.5270000000000001</c:v>
                </c:pt>
                <c:pt idx="2636">
                  <c:v>2.5272000000000001</c:v>
                </c:pt>
                <c:pt idx="2637">
                  <c:v>2.5273998</c:v>
                </c:pt>
                <c:pt idx="2638">
                  <c:v>2.5276000000000001</c:v>
                </c:pt>
                <c:pt idx="2639">
                  <c:v>2.5278000999999999</c:v>
                </c:pt>
                <c:pt idx="2640">
                  <c:v>2.5279999000000002</c:v>
                </c:pt>
                <c:pt idx="2641">
                  <c:v>2.5281999000000002</c:v>
                </c:pt>
                <c:pt idx="2642">
                  <c:v>2.5283997</c:v>
                </c:pt>
                <c:pt idx="2643">
                  <c:v>2.5286</c:v>
                </c:pt>
                <c:pt idx="2644">
                  <c:v>2.5287999999999999</c:v>
                </c:pt>
                <c:pt idx="2645">
                  <c:v>2.5289997999999998</c:v>
                </c:pt>
                <c:pt idx="2646">
                  <c:v>2.5292001000000002</c:v>
                </c:pt>
                <c:pt idx="2647">
                  <c:v>2.5294001000000002</c:v>
                </c:pt>
                <c:pt idx="2648">
                  <c:v>2.5295999</c:v>
                </c:pt>
                <c:pt idx="2649">
                  <c:v>2.5297999</c:v>
                </c:pt>
                <c:pt idx="2650">
                  <c:v>2.5299996999999999</c:v>
                </c:pt>
                <c:pt idx="2651">
                  <c:v>2.5301999999999998</c:v>
                </c:pt>
                <c:pt idx="2652">
                  <c:v>2.5304000000000002</c:v>
                </c:pt>
                <c:pt idx="2653">
                  <c:v>2.5305998000000001</c:v>
                </c:pt>
                <c:pt idx="2654">
                  <c:v>2.5308001</c:v>
                </c:pt>
                <c:pt idx="2655">
                  <c:v>2.5309998999999999</c:v>
                </c:pt>
                <c:pt idx="2656">
                  <c:v>2.5311998999999998</c:v>
                </c:pt>
                <c:pt idx="2657">
                  <c:v>2.5314000000000001</c:v>
                </c:pt>
                <c:pt idx="2658">
                  <c:v>2.5315998</c:v>
                </c:pt>
                <c:pt idx="2659">
                  <c:v>2.5318000000000001</c:v>
                </c:pt>
                <c:pt idx="2660">
                  <c:v>2.5319997999999999</c:v>
                </c:pt>
                <c:pt idx="2661">
                  <c:v>2.5321999000000002</c:v>
                </c:pt>
                <c:pt idx="2662">
                  <c:v>2.5324000999999998</c:v>
                </c:pt>
                <c:pt idx="2663">
                  <c:v>2.5325999000000001</c:v>
                </c:pt>
                <c:pt idx="2664">
                  <c:v>2.5327999999999999</c:v>
                </c:pt>
                <c:pt idx="2665">
                  <c:v>2.5329997999999998</c:v>
                </c:pt>
                <c:pt idx="2666">
                  <c:v>2.5331997999999998</c:v>
                </c:pt>
                <c:pt idx="2667">
                  <c:v>2.5334001000000002</c:v>
                </c:pt>
                <c:pt idx="2668">
                  <c:v>2.5335999</c:v>
                </c:pt>
                <c:pt idx="2669">
                  <c:v>2.5337999</c:v>
                </c:pt>
                <c:pt idx="2670">
                  <c:v>2.5340001999999999</c:v>
                </c:pt>
                <c:pt idx="2671">
                  <c:v>2.5341999999999998</c:v>
                </c:pt>
                <c:pt idx="2672">
                  <c:v>2.5344000000000002</c:v>
                </c:pt>
                <c:pt idx="2673">
                  <c:v>2.5345998000000001</c:v>
                </c:pt>
                <c:pt idx="2674">
                  <c:v>2.5347998</c:v>
                </c:pt>
                <c:pt idx="2675">
                  <c:v>2.5350001</c:v>
                </c:pt>
                <c:pt idx="2676">
                  <c:v>2.5351998999999998</c:v>
                </c:pt>
                <c:pt idx="2677">
                  <c:v>2.5353998999999998</c:v>
                </c:pt>
                <c:pt idx="2678">
                  <c:v>2.5355998999999998</c:v>
                </c:pt>
                <c:pt idx="2679">
                  <c:v>2.5358000000000001</c:v>
                </c:pt>
                <c:pt idx="2680">
                  <c:v>2.536</c:v>
                </c:pt>
                <c:pt idx="2681">
                  <c:v>2.5361997999999999</c:v>
                </c:pt>
                <c:pt idx="2682">
                  <c:v>2.5363997999999999</c:v>
                </c:pt>
                <c:pt idx="2683">
                  <c:v>2.5365999000000001</c:v>
                </c:pt>
                <c:pt idx="2684">
                  <c:v>2.5367999000000001</c:v>
                </c:pt>
                <c:pt idx="2685">
                  <c:v>2.5369999000000001</c:v>
                </c:pt>
                <c:pt idx="2686">
                  <c:v>2.5371999999999999</c:v>
                </c:pt>
                <c:pt idx="2687">
                  <c:v>2.5373999999999999</c:v>
                </c:pt>
                <c:pt idx="2688">
                  <c:v>2.5375999999999999</c:v>
                </c:pt>
                <c:pt idx="2689">
                  <c:v>2.5377998000000002</c:v>
                </c:pt>
                <c:pt idx="2690">
                  <c:v>2.5379999</c:v>
                </c:pt>
                <c:pt idx="2691">
                  <c:v>2.5381999</c:v>
                </c:pt>
                <c:pt idx="2692">
                  <c:v>2.5383998999999999</c:v>
                </c:pt>
                <c:pt idx="2693">
                  <c:v>2.5386000000000002</c:v>
                </c:pt>
                <c:pt idx="2694">
                  <c:v>2.5388000000000002</c:v>
                </c:pt>
                <c:pt idx="2695">
                  <c:v>2.5390000000000001</c:v>
                </c:pt>
                <c:pt idx="2696">
                  <c:v>2.5391998</c:v>
                </c:pt>
                <c:pt idx="2697">
                  <c:v>2.5393998999999998</c:v>
                </c:pt>
                <c:pt idx="2698">
                  <c:v>2.5395998999999998</c:v>
                </c:pt>
                <c:pt idx="2699">
                  <c:v>2.5397999000000002</c:v>
                </c:pt>
                <c:pt idx="2700">
                  <c:v>2.54</c:v>
                </c:pt>
                <c:pt idx="2701">
                  <c:v>2.5401997999999999</c:v>
                </c:pt>
                <c:pt idx="2702">
                  <c:v>2.5404</c:v>
                </c:pt>
                <c:pt idx="2703">
                  <c:v>2.5406000999999998</c:v>
                </c:pt>
                <c:pt idx="2704">
                  <c:v>2.5407999000000001</c:v>
                </c:pt>
                <c:pt idx="2705">
                  <c:v>2.5409999000000001</c:v>
                </c:pt>
                <c:pt idx="2706">
                  <c:v>2.5411997</c:v>
                </c:pt>
                <c:pt idx="2707">
                  <c:v>2.5413999999999999</c:v>
                </c:pt>
                <c:pt idx="2708">
                  <c:v>2.5415999999999999</c:v>
                </c:pt>
                <c:pt idx="2709">
                  <c:v>2.5417998000000002</c:v>
                </c:pt>
                <c:pt idx="2710">
                  <c:v>2.5420001000000001</c:v>
                </c:pt>
                <c:pt idx="2711">
                  <c:v>2.5422001000000001</c:v>
                </c:pt>
                <c:pt idx="2712">
                  <c:v>2.5423998999999999</c:v>
                </c:pt>
                <c:pt idx="2713">
                  <c:v>2.5425998999999999</c:v>
                </c:pt>
                <c:pt idx="2714">
                  <c:v>2.5427997000000002</c:v>
                </c:pt>
                <c:pt idx="2715">
                  <c:v>2.5430000000000001</c:v>
                </c:pt>
                <c:pt idx="2716">
                  <c:v>2.5432000000000001</c:v>
                </c:pt>
                <c:pt idx="2717">
                  <c:v>2.5433998</c:v>
                </c:pt>
                <c:pt idx="2718">
                  <c:v>2.5436000999999999</c:v>
                </c:pt>
                <c:pt idx="2719">
                  <c:v>2.5437998999999998</c:v>
                </c:pt>
                <c:pt idx="2720">
                  <c:v>2.5439999000000002</c:v>
                </c:pt>
                <c:pt idx="2721">
                  <c:v>2.5441999000000002</c:v>
                </c:pt>
                <c:pt idx="2722">
                  <c:v>2.5443997</c:v>
                </c:pt>
                <c:pt idx="2723">
                  <c:v>2.5446</c:v>
                </c:pt>
                <c:pt idx="2724">
                  <c:v>2.5448</c:v>
                </c:pt>
                <c:pt idx="2725">
                  <c:v>2.5449997999999998</c:v>
                </c:pt>
                <c:pt idx="2726">
                  <c:v>2.5452001000000002</c:v>
                </c:pt>
                <c:pt idx="2727">
                  <c:v>2.5453999</c:v>
                </c:pt>
                <c:pt idx="2728">
                  <c:v>2.5455999</c:v>
                </c:pt>
                <c:pt idx="2729">
                  <c:v>2.5457999999999998</c:v>
                </c:pt>
                <c:pt idx="2730">
                  <c:v>2.5459998000000001</c:v>
                </c:pt>
                <c:pt idx="2731">
                  <c:v>2.5461999999999998</c:v>
                </c:pt>
                <c:pt idx="2732">
                  <c:v>2.5463998000000001</c:v>
                </c:pt>
                <c:pt idx="2733">
                  <c:v>2.5465998999999999</c:v>
                </c:pt>
                <c:pt idx="2734">
                  <c:v>2.5468001</c:v>
                </c:pt>
                <c:pt idx="2735">
                  <c:v>2.5469998999999999</c:v>
                </c:pt>
                <c:pt idx="2736">
                  <c:v>2.5472000000000001</c:v>
                </c:pt>
                <c:pt idx="2737">
                  <c:v>2.5473998</c:v>
                </c:pt>
                <c:pt idx="2738">
                  <c:v>2.5475998</c:v>
                </c:pt>
                <c:pt idx="2739">
                  <c:v>2.5478000999999999</c:v>
                </c:pt>
                <c:pt idx="2740">
                  <c:v>2.5479999000000002</c:v>
                </c:pt>
                <c:pt idx="2741">
                  <c:v>2.5481999000000002</c:v>
                </c:pt>
                <c:pt idx="2742">
                  <c:v>2.5484002000000001</c:v>
                </c:pt>
                <c:pt idx="2743">
                  <c:v>2.5486</c:v>
                </c:pt>
                <c:pt idx="2744">
                  <c:v>2.5488</c:v>
                </c:pt>
                <c:pt idx="2745">
                  <c:v>2.5489997999999998</c:v>
                </c:pt>
                <c:pt idx="2746">
                  <c:v>2.5491997999999998</c:v>
                </c:pt>
                <c:pt idx="2747">
                  <c:v>2.5494001000000002</c:v>
                </c:pt>
                <c:pt idx="2748">
                  <c:v>2.5495999</c:v>
                </c:pt>
                <c:pt idx="2749">
                  <c:v>2.5497999</c:v>
                </c:pt>
                <c:pt idx="2750">
                  <c:v>2.5499999999999998</c:v>
                </c:pt>
                <c:pt idx="2751">
                  <c:v>2.5501999999999998</c:v>
                </c:pt>
                <c:pt idx="2752">
                  <c:v>2.5503999999999998</c:v>
                </c:pt>
                <c:pt idx="2753">
                  <c:v>2.5505998000000001</c:v>
                </c:pt>
                <c:pt idx="2754">
                  <c:v>2.5507998000000001</c:v>
                </c:pt>
                <c:pt idx="2755">
                  <c:v>2.5509998999999999</c:v>
                </c:pt>
                <c:pt idx="2756">
                  <c:v>2.5511998999999999</c:v>
                </c:pt>
                <c:pt idx="2757">
                  <c:v>2.5513998999999998</c:v>
                </c:pt>
                <c:pt idx="2758">
                  <c:v>2.5516000000000001</c:v>
                </c:pt>
                <c:pt idx="2759">
                  <c:v>2.5518000000000001</c:v>
                </c:pt>
                <c:pt idx="2760">
                  <c:v>2.552</c:v>
                </c:pt>
                <c:pt idx="2761">
                  <c:v>2.5521997999999999</c:v>
                </c:pt>
                <c:pt idx="2762">
                  <c:v>2.5523999000000002</c:v>
                </c:pt>
                <c:pt idx="2763">
                  <c:v>2.5525999000000001</c:v>
                </c:pt>
                <c:pt idx="2764">
                  <c:v>2.5527999000000001</c:v>
                </c:pt>
                <c:pt idx="2765">
                  <c:v>2.5529999999999999</c:v>
                </c:pt>
                <c:pt idx="2766">
                  <c:v>2.5531999999999999</c:v>
                </c:pt>
                <c:pt idx="2767">
                  <c:v>2.5533999999999999</c:v>
                </c:pt>
                <c:pt idx="2768">
                  <c:v>2.5535998000000002</c:v>
                </c:pt>
                <c:pt idx="2769">
                  <c:v>2.5537999</c:v>
                </c:pt>
                <c:pt idx="2770">
                  <c:v>2.5539999</c:v>
                </c:pt>
                <c:pt idx="2771">
                  <c:v>2.5541999</c:v>
                </c:pt>
                <c:pt idx="2772">
                  <c:v>2.5543999999999998</c:v>
                </c:pt>
                <c:pt idx="2773">
                  <c:v>2.5545998000000001</c:v>
                </c:pt>
                <c:pt idx="2774">
                  <c:v>2.5548000000000002</c:v>
                </c:pt>
                <c:pt idx="2775">
                  <c:v>2.5550001</c:v>
                </c:pt>
                <c:pt idx="2776">
                  <c:v>2.5551998999999999</c:v>
                </c:pt>
                <c:pt idx="2777">
                  <c:v>2.5553998999999998</c:v>
                </c:pt>
                <c:pt idx="2778">
                  <c:v>2.5555997000000001</c:v>
                </c:pt>
                <c:pt idx="2779">
                  <c:v>2.5558000000000001</c:v>
                </c:pt>
                <c:pt idx="2780">
                  <c:v>2.556</c:v>
                </c:pt>
                <c:pt idx="2781">
                  <c:v>2.5561997999999999</c:v>
                </c:pt>
                <c:pt idx="2782">
                  <c:v>2.5564000999999998</c:v>
                </c:pt>
                <c:pt idx="2783">
                  <c:v>2.5566000999999998</c:v>
                </c:pt>
                <c:pt idx="2784">
                  <c:v>2.5567999000000001</c:v>
                </c:pt>
                <c:pt idx="2785">
                  <c:v>2.5569999000000001</c:v>
                </c:pt>
                <c:pt idx="2786">
                  <c:v>2.5571997</c:v>
                </c:pt>
                <c:pt idx="2787">
                  <c:v>2.5573999999999999</c:v>
                </c:pt>
                <c:pt idx="2788">
                  <c:v>2.5575999999999999</c:v>
                </c:pt>
                <c:pt idx="2789">
                  <c:v>2.5577998000000002</c:v>
                </c:pt>
                <c:pt idx="2790">
                  <c:v>2.5580001000000001</c:v>
                </c:pt>
                <c:pt idx="2791">
                  <c:v>2.5581999</c:v>
                </c:pt>
                <c:pt idx="2792">
                  <c:v>2.5583998999999999</c:v>
                </c:pt>
                <c:pt idx="2793">
                  <c:v>2.5585998999999999</c:v>
                </c:pt>
                <c:pt idx="2794">
                  <c:v>2.5587996999999998</c:v>
                </c:pt>
                <c:pt idx="2795">
                  <c:v>2.5590000000000002</c:v>
                </c:pt>
                <c:pt idx="2796">
                  <c:v>2.5591998</c:v>
                </c:pt>
                <c:pt idx="2797">
                  <c:v>2.5593998</c:v>
                </c:pt>
                <c:pt idx="2798">
                  <c:v>2.5596000999999999</c:v>
                </c:pt>
                <c:pt idx="2799">
                  <c:v>2.5597998999999998</c:v>
                </c:pt>
                <c:pt idx="2800">
                  <c:v>2.5599999000000002</c:v>
                </c:pt>
                <c:pt idx="2801">
                  <c:v>2.5602</c:v>
                </c:pt>
                <c:pt idx="2802">
                  <c:v>2.5603997999999999</c:v>
                </c:pt>
                <c:pt idx="2803">
                  <c:v>2.5606</c:v>
                </c:pt>
                <c:pt idx="2804">
                  <c:v>2.5607997999999998</c:v>
                </c:pt>
                <c:pt idx="2805">
                  <c:v>2.5609999000000001</c:v>
                </c:pt>
                <c:pt idx="2806">
                  <c:v>2.5612001000000002</c:v>
                </c:pt>
                <c:pt idx="2807">
                  <c:v>2.5613999000000001</c:v>
                </c:pt>
                <c:pt idx="2808">
                  <c:v>2.5615999999999999</c:v>
                </c:pt>
                <c:pt idx="2809">
                  <c:v>2.5617998000000002</c:v>
                </c:pt>
                <c:pt idx="2810">
                  <c:v>2.5619998000000002</c:v>
                </c:pt>
                <c:pt idx="2811">
                  <c:v>2.5622001000000001</c:v>
                </c:pt>
                <c:pt idx="2812">
                  <c:v>2.5623999</c:v>
                </c:pt>
                <c:pt idx="2813">
                  <c:v>2.5625998999999999</c:v>
                </c:pt>
                <c:pt idx="2814">
                  <c:v>2.5628001999999999</c:v>
                </c:pt>
                <c:pt idx="2815">
                  <c:v>2.5630000000000002</c:v>
                </c:pt>
                <c:pt idx="2816">
                  <c:v>2.5632000000000001</c:v>
                </c:pt>
                <c:pt idx="2817">
                  <c:v>2.5633998</c:v>
                </c:pt>
                <c:pt idx="2818">
                  <c:v>2.5635998</c:v>
                </c:pt>
                <c:pt idx="2819">
                  <c:v>2.5638000999999999</c:v>
                </c:pt>
                <c:pt idx="2820">
                  <c:v>2.5639999000000002</c:v>
                </c:pt>
                <c:pt idx="2821">
                  <c:v>2.5641999000000002</c:v>
                </c:pt>
                <c:pt idx="2822">
                  <c:v>2.5644</c:v>
                </c:pt>
                <c:pt idx="2823">
                  <c:v>2.5646</c:v>
                </c:pt>
                <c:pt idx="2824">
                  <c:v>2.5648</c:v>
                </c:pt>
                <c:pt idx="2825">
                  <c:v>2.5649997999999998</c:v>
                </c:pt>
                <c:pt idx="2826">
                  <c:v>2.5651999000000001</c:v>
                </c:pt>
                <c:pt idx="2827">
                  <c:v>2.5653999000000001</c:v>
                </c:pt>
                <c:pt idx="2828">
                  <c:v>2.5655999</c:v>
                </c:pt>
                <c:pt idx="2829">
                  <c:v>2.5657999999999999</c:v>
                </c:pt>
                <c:pt idx="2830">
                  <c:v>2.5659999999999998</c:v>
                </c:pt>
                <c:pt idx="2831">
                  <c:v>2.5661999999999998</c:v>
                </c:pt>
                <c:pt idx="2832">
                  <c:v>2.5663998000000001</c:v>
                </c:pt>
                <c:pt idx="2833">
                  <c:v>2.5665998000000001</c:v>
                </c:pt>
                <c:pt idx="2834">
                  <c:v>2.5667998999999999</c:v>
                </c:pt>
                <c:pt idx="2835">
                  <c:v>2.5669998999999999</c:v>
                </c:pt>
                <c:pt idx="2836">
                  <c:v>2.5671998999999999</c:v>
                </c:pt>
                <c:pt idx="2837">
                  <c:v>2.5674000000000001</c:v>
                </c:pt>
                <c:pt idx="2838">
                  <c:v>2.5676000000000001</c:v>
                </c:pt>
                <c:pt idx="2839">
                  <c:v>2.5678000000000001</c:v>
                </c:pt>
                <c:pt idx="2840">
                  <c:v>2.5679997999999999</c:v>
                </c:pt>
                <c:pt idx="2841">
                  <c:v>2.5681999000000002</c:v>
                </c:pt>
                <c:pt idx="2842">
                  <c:v>2.5683999000000002</c:v>
                </c:pt>
                <c:pt idx="2843">
                  <c:v>2.5685999000000002</c:v>
                </c:pt>
                <c:pt idx="2844">
                  <c:v>2.5688</c:v>
                </c:pt>
                <c:pt idx="2845">
                  <c:v>2.5689997999999998</c:v>
                </c:pt>
                <c:pt idx="2846">
                  <c:v>2.5691999999999999</c:v>
                </c:pt>
                <c:pt idx="2847">
                  <c:v>2.5694001000000002</c:v>
                </c:pt>
                <c:pt idx="2848">
                  <c:v>2.5695999</c:v>
                </c:pt>
                <c:pt idx="2849">
                  <c:v>2.5697999</c:v>
                </c:pt>
                <c:pt idx="2850">
                  <c:v>2.5699996999999999</c:v>
                </c:pt>
                <c:pt idx="2851">
                  <c:v>2.5701999999999998</c:v>
                </c:pt>
                <c:pt idx="2852">
                  <c:v>2.5703999999999998</c:v>
                </c:pt>
                <c:pt idx="2853">
                  <c:v>2.5705998000000001</c:v>
                </c:pt>
                <c:pt idx="2854">
                  <c:v>2.5708001</c:v>
                </c:pt>
                <c:pt idx="2855">
                  <c:v>2.5710001</c:v>
                </c:pt>
                <c:pt idx="2856">
                  <c:v>2.5711998999999999</c:v>
                </c:pt>
                <c:pt idx="2857">
                  <c:v>2.5713998999999998</c:v>
                </c:pt>
                <c:pt idx="2858">
                  <c:v>2.5715997000000002</c:v>
                </c:pt>
                <c:pt idx="2859">
                  <c:v>2.5718000000000001</c:v>
                </c:pt>
                <c:pt idx="2860">
                  <c:v>2.5720000000000001</c:v>
                </c:pt>
                <c:pt idx="2861">
                  <c:v>2.5721997999999999</c:v>
                </c:pt>
                <c:pt idx="2862">
                  <c:v>2.5724000999999999</c:v>
                </c:pt>
                <c:pt idx="2863">
                  <c:v>2.5725999000000002</c:v>
                </c:pt>
                <c:pt idx="2864">
                  <c:v>2.5727999000000001</c:v>
                </c:pt>
                <c:pt idx="2865">
                  <c:v>2.573</c:v>
                </c:pt>
                <c:pt idx="2866">
                  <c:v>2.5731997</c:v>
                </c:pt>
                <c:pt idx="2867">
                  <c:v>2.5733999999999999</c:v>
                </c:pt>
                <c:pt idx="2868">
                  <c:v>2.5735998000000002</c:v>
                </c:pt>
                <c:pt idx="2869">
                  <c:v>2.5737998000000002</c:v>
                </c:pt>
                <c:pt idx="2870">
                  <c:v>2.5740001000000001</c:v>
                </c:pt>
                <c:pt idx="2871">
                  <c:v>2.5741999</c:v>
                </c:pt>
                <c:pt idx="2872">
                  <c:v>2.5743999</c:v>
                </c:pt>
                <c:pt idx="2873">
                  <c:v>2.5746000000000002</c:v>
                </c:pt>
                <c:pt idx="2874">
                  <c:v>2.5747998000000001</c:v>
                </c:pt>
                <c:pt idx="2875">
                  <c:v>2.5750000000000002</c:v>
                </c:pt>
                <c:pt idx="2876">
                  <c:v>2.5751998</c:v>
                </c:pt>
                <c:pt idx="2877">
                  <c:v>2.5753998999999999</c:v>
                </c:pt>
                <c:pt idx="2878">
                  <c:v>2.5756000999999999</c:v>
                </c:pt>
                <c:pt idx="2879">
                  <c:v>2.5757998999999998</c:v>
                </c:pt>
                <c:pt idx="2880">
                  <c:v>2.5760000000000001</c:v>
                </c:pt>
                <c:pt idx="2881">
                  <c:v>2.5761997999999999</c:v>
                </c:pt>
                <c:pt idx="2882">
                  <c:v>2.5763997999999999</c:v>
                </c:pt>
                <c:pt idx="2883">
                  <c:v>2.5766000999999998</c:v>
                </c:pt>
                <c:pt idx="2884">
                  <c:v>2.5767999000000001</c:v>
                </c:pt>
                <c:pt idx="2885">
                  <c:v>2.5769999000000001</c:v>
                </c:pt>
                <c:pt idx="2886">
                  <c:v>2.5771999000000001</c:v>
                </c:pt>
                <c:pt idx="2887">
                  <c:v>2.5773999999999999</c:v>
                </c:pt>
                <c:pt idx="2888">
                  <c:v>2.5775999999999999</c:v>
                </c:pt>
                <c:pt idx="2889">
                  <c:v>2.5777998000000002</c:v>
                </c:pt>
                <c:pt idx="2890">
                  <c:v>2.5779998000000002</c:v>
                </c:pt>
                <c:pt idx="2891">
                  <c:v>2.5782001000000001</c:v>
                </c:pt>
                <c:pt idx="2892">
                  <c:v>2.5783999</c:v>
                </c:pt>
                <c:pt idx="2893">
                  <c:v>2.5785998999999999</c:v>
                </c:pt>
                <c:pt idx="2894">
                  <c:v>2.5788000000000002</c:v>
                </c:pt>
                <c:pt idx="2895">
                  <c:v>2.5790000000000002</c:v>
                </c:pt>
                <c:pt idx="2896">
                  <c:v>2.5792000000000002</c:v>
                </c:pt>
                <c:pt idx="2897">
                  <c:v>2.5793998</c:v>
                </c:pt>
                <c:pt idx="2898">
                  <c:v>2.5795998999999998</c:v>
                </c:pt>
                <c:pt idx="2899">
                  <c:v>2.5797998999999998</c:v>
                </c:pt>
                <c:pt idx="2900">
                  <c:v>2.5799998999999998</c:v>
                </c:pt>
                <c:pt idx="2901">
                  <c:v>2.5802</c:v>
                </c:pt>
                <c:pt idx="2902">
                  <c:v>2.5804</c:v>
                </c:pt>
                <c:pt idx="2903">
                  <c:v>2.5806</c:v>
                </c:pt>
                <c:pt idx="2904">
                  <c:v>2.5807997999999999</c:v>
                </c:pt>
                <c:pt idx="2905">
                  <c:v>2.5809999000000001</c:v>
                </c:pt>
                <c:pt idx="2906">
                  <c:v>2.5811999000000001</c:v>
                </c:pt>
                <c:pt idx="2907">
                  <c:v>2.5813999000000001</c:v>
                </c:pt>
                <c:pt idx="2908">
                  <c:v>2.5815999999999999</c:v>
                </c:pt>
                <c:pt idx="2909">
                  <c:v>2.5817996999999999</c:v>
                </c:pt>
                <c:pt idx="2910">
                  <c:v>2.5819999999999999</c:v>
                </c:pt>
                <c:pt idx="2911">
                  <c:v>2.5822001000000001</c:v>
                </c:pt>
                <c:pt idx="2912">
                  <c:v>2.5823998000000001</c:v>
                </c:pt>
                <c:pt idx="2913">
                  <c:v>2.5825998999999999</c:v>
                </c:pt>
                <c:pt idx="2914">
                  <c:v>2.5827998999999999</c:v>
                </c:pt>
                <c:pt idx="2915">
                  <c:v>2.5829998999999999</c:v>
                </c:pt>
                <c:pt idx="2916">
                  <c:v>2.5832000000000002</c:v>
                </c:pt>
                <c:pt idx="2917">
                  <c:v>2.5833998</c:v>
                </c:pt>
                <c:pt idx="2918">
                  <c:v>2.5836000000000001</c:v>
                </c:pt>
                <c:pt idx="2919">
                  <c:v>2.5838000999999999</c:v>
                </c:pt>
                <c:pt idx="2920">
                  <c:v>2.5839998999999998</c:v>
                </c:pt>
                <c:pt idx="2921">
                  <c:v>2.5841999000000002</c:v>
                </c:pt>
                <c:pt idx="2922">
                  <c:v>2.5843997000000001</c:v>
                </c:pt>
                <c:pt idx="2923">
                  <c:v>2.5846</c:v>
                </c:pt>
                <c:pt idx="2924">
                  <c:v>2.5848</c:v>
                </c:pt>
                <c:pt idx="2925">
                  <c:v>2.5849997999999998</c:v>
                </c:pt>
                <c:pt idx="2926">
                  <c:v>2.5852000999999998</c:v>
                </c:pt>
                <c:pt idx="2927">
                  <c:v>2.5854001000000002</c:v>
                </c:pt>
                <c:pt idx="2928">
                  <c:v>2.5855999000000001</c:v>
                </c:pt>
                <c:pt idx="2929">
                  <c:v>2.5857999</c:v>
                </c:pt>
                <c:pt idx="2930">
                  <c:v>2.5859996999999999</c:v>
                </c:pt>
                <c:pt idx="2931">
                  <c:v>2.5861999999999998</c:v>
                </c:pt>
                <c:pt idx="2932">
                  <c:v>2.5863999999999998</c:v>
                </c:pt>
                <c:pt idx="2933">
                  <c:v>2.5865998000000001</c:v>
                </c:pt>
                <c:pt idx="2934">
                  <c:v>2.5868001</c:v>
                </c:pt>
                <c:pt idx="2935">
                  <c:v>2.5869998999999999</c:v>
                </c:pt>
                <c:pt idx="2936">
                  <c:v>2.5871998999999999</c:v>
                </c:pt>
                <c:pt idx="2937">
                  <c:v>2.5874000000000001</c:v>
                </c:pt>
                <c:pt idx="2938">
                  <c:v>2.5875998</c:v>
                </c:pt>
                <c:pt idx="2939">
                  <c:v>2.5878000000000001</c:v>
                </c:pt>
                <c:pt idx="2940">
                  <c:v>2.5879998</c:v>
                </c:pt>
                <c:pt idx="2941">
                  <c:v>2.5881999000000002</c:v>
                </c:pt>
                <c:pt idx="2942">
                  <c:v>2.5884000999999999</c:v>
                </c:pt>
                <c:pt idx="2943">
                  <c:v>2.5885999000000002</c:v>
                </c:pt>
                <c:pt idx="2944">
                  <c:v>2.5888</c:v>
                </c:pt>
                <c:pt idx="2945">
                  <c:v>2.5889997</c:v>
                </c:pt>
                <c:pt idx="2946">
                  <c:v>2.5891997999999998</c:v>
                </c:pt>
                <c:pt idx="2947">
                  <c:v>2.5894001000000002</c:v>
                </c:pt>
                <c:pt idx="2948">
                  <c:v>2.5895997999999998</c:v>
                </c:pt>
                <c:pt idx="2949">
                  <c:v>2.5897999</c:v>
                </c:pt>
                <c:pt idx="2950">
                  <c:v>2.5900002</c:v>
                </c:pt>
                <c:pt idx="2951">
                  <c:v>2.5901999</c:v>
                </c:pt>
                <c:pt idx="2952">
                  <c:v>2.5903999999999998</c:v>
                </c:pt>
                <c:pt idx="2953">
                  <c:v>2.5905998000000001</c:v>
                </c:pt>
                <c:pt idx="2954">
                  <c:v>2.5907998000000001</c:v>
                </c:pt>
                <c:pt idx="2955">
                  <c:v>2.5910001</c:v>
                </c:pt>
                <c:pt idx="2956">
                  <c:v>2.5911998999999999</c:v>
                </c:pt>
                <c:pt idx="2957">
                  <c:v>2.5913998999999999</c:v>
                </c:pt>
                <c:pt idx="2958">
                  <c:v>2.5915998999999998</c:v>
                </c:pt>
                <c:pt idx="2959">
                  <c:v>2.5918000000000001</c:v>
                </c:pt>
                <c:pt idx="2960">
                  <c:v>2.5920000000000001</c:v>
                </c:pt>
                <c:pt idx="2961">
                  <c:v>2.5921997999999999</c:v>
                </c:pt>
                <c:pt idx="2962">
                  <c:v>2.5923997999999999</c:v>
                </c:pt>
                <c:pt idx="2963">
                  <c:v>2.5926000999999999</c:v>
                </c:pt>
                <c:pt idx="2964">
                  <c:v>2.5927999000000002</c:v>
                </c:pt>
                <c:pt idx="2965">
                  <c:v>2.5929999000000001</c:v>
                </c:pt>
                <c:pt idx="2966">
                  <c:v>2.5931999999999999</c:v>
                </c:pt>
                <c:pt idx="2967">
                  <c:v>2.5933999999999999</c:v>
                </c:pt>
                <c:pt idx="2968">
                  <c:v>2.5935999999999999</c:v>
                </c:pt>
                <c:pt idx="2969">
                  <c:v>2.5937998000000002</c:v>
                </c:pt>
                <c:pt idx="2970">
                  <c:v>2.5939999</c:v>
                </c:pt>
                <c:pt idx="2971">
                  <c:v>2.5941999</c:v>
                </c:pt>
                <c:pt idx="2972">
                  <c:v>2.5943999</c:v>
                </c:pt>
                <c:pt idx="2973">
                  <c:v>2.5945999999999998</c:v>
                </c:pt>
                <c:pt idx="2974">
                  <c:v>2.5948000000000002</c:v>
                </c:pt>
                <c:pt idx="2975">
                  <c:v>2.5950000000000002</c:v>
                </c:pt>
                <c:pt idx="2976">
                  <c:v>2.5951998000000001</c:v>
                </c:pt>
                <c:pt idx="2977">
                  <c:v>2.5953998999999999</c:v>
                </c:pt>
                <c:pt idx="2978">
                  <c:v>2.5955998999999998</c:v>
                </c:pt>
                <c:pt idx="2979">
                  <c:v>2.5957998999999998</c:v>
                </c:pt>
                <c:pt idx="2980">
                  <c:v>2.5960000000000001</c:v>
                </c:pt>
                <c:pt idx="2981">
                  <c:v>2.5961997999999999</c:v>
                </c:pt>
                <c:pt idx="2982">
                  <c:v>2.5964</c:v>
                </c:pt>
                <c:pt idx="2983">
                  <c:v>2.5966000999999999</c:v>
                </c:pt>
                <c:pt idx="2984">
                  <c:v>2.5967999000000002</c:v>
                </c:pt>
                <c:pt idx="2985">
                  <c:v>2.5969999000000001</c:v>
                </c:pt>
                <c:pt idx="2986">
                  <c:v>2.5971999000000001</c:v>
                </c:pt>
                <c:pt idx="2987">
                  <c:v>2.5973999999999999</c:v>
                </c:pt>
                <c:pt idx="2988">
                  <c:v>2.5975999999999999</c:v>
                </c:pt>
                <c:pt idx="2989">
                  <c:v>2.5977998000000002</c:v>
                </c:pt>
                <c:pt idx="2990">
                  <c:v>2.5979999999999999</c:v>
                </c:pt>
                <c:pt idx="2991">
                  <c:v>2.5982001000000001</c:v>
                </c:pt>
                <c:pt idx="2992">
                  <c:v>2.5983999</c:v>
                </c:pt>
                <c:pt idx="2993">
                  <c:v>2.5985999</c:v>
                </c:pt>
                <c:pt idx="2994">
                  <c:v>2.5987996999999998</c:v>
                </c:pt>
                <c:pt idx="2995">
                  <c:v>2.5990000000000002</c:v>
                </c:pt>
                <c:pt idx="2996">
                  <c:v>2.5992000000000002</c:v>
                </c:pt>
                <c:pt idx="2997">
                  <c:v>2.5993998</c:v>
                </c:pt>
                <c:pt idx="2998">
                  <c:v>2.5996001</c:v>
                </c:pt>
                <c:pt idx="2999">
                  <c:v>2.5997998999999998</c:v>
                </c:pt>
                <c:pt idx="3000">
                  <c:v>2.5999998999999998</c:v>
                </c:pt>
                <c:pt idx="3001">
                  <c:v>2.6001998999999998</c:v>
                </c:pt>
                <c:pt idx="3002">
                  <c:v>2.6003997000000001</c:v>
                </c:pt>
                <c:pt idx="3003">
                  <c:v>2.6006</c:v>
                </c:pt>
                <c:pt idx="3004">
                  <c:v>2.6008</c:v>
                </c:pt>
                <c:pt idx="3005">
                  <c:v>2.6009997999999999</c:v>
                </c:pt>
                <c:pt idx="3006">
                  <c:v>2.6012000999999998</c:v>
                </c:pt>
                <c:pt idx="3007">
                  <c:v>2.6013999000000001</c:v>
                </c:pt>
                <c:pt idx="3008">
                  <c:v>2.6015999000000001</c:v>
                </c:pt>
                <c:pt idx="3009">
                  <c:v>2.6017999999999999</c:v>
                </c:pt>
                <c:pt idx="3010">
                  <c:v>2.6019998000000002</c:v>
                </c:pt>
                <c:pt idx="3011">
                  <c:v>2.6021999999999998</c:v>
                </c:pt>
                <c:pt idx="3012">
                  <c:v>2.6023998000000002</c:v>
                </c:pt>
                <c:pt idx="3013">
                  <c:v>2.6025999</c:v>
                </c:pt>
                <c:pt idx="3014">
                  <c:v>2.6028001000000001</c:v>
                </c:pt>
                <c:pt idx="3015">
                  <c:v>2.6029998999999999</c:v>
                </c:pt>
                <c:pt idx="3016">
                  <c:v>2.6032000000000002</c:v>
                </c:pt>
                <c:pt idx="3017">
                  <c:v>2.6033998</c:v>
                </c:pt>
                <c:pt idx="3018">
                  <c:v>2.6035998</c:v>
                </c:pt>
                <c:pt idx="3019">
                  <c:v>2.6038001</c:v>
                </c:pt>
                <c:pt idx="3020">
                  <c:v>2.6039998999999998</c:v>
                </c:pt>
                <c:pt idx="3021">
                  <c:v>2.6041998999999998</c:v>
                </c:pt>
                <c:pt idx="3022">
                  <c:v>2.6044002000000002</c:v>
                </c:pt>
                <c:pt idx="3023">
                  <c:v>2.6046</c:v>
                </c:pt>
                <c:pt idx="3024">
                  <c:v>2.6048</c:v>
                </c:pt>
                <c:pt idx="3025">
                  <c:v>2.6049997999999999</c:v>
                </c:pt>
                <c:pt idx="3026">
                  <c:v>2.6051997999999998</c:v>
                </c:pt>
                <c:pt idx="3027">
                  <c:v>2.6054001000000002</c:v>
                </c:pt>
                <c:pt idx="3028">
                  <c:v>2.6055999000000001</c:v>
                </c:pt>
                <c:pt idx="3029">
                  <c:v>2.6057999000000001</c:v>
                </c:pt>
                <c:pt idx="3030">
                  <c:v>2.6059999</c:v>
                </c:pt>
                <c:pt idx="3031">
                  <c:v>2.6061999999999999</c:v>
                </c:pt>
                <c:pt idx="3032">
                  <c:v>2.6063999999999998</c:v>
                </c:pt>
                <c:pt idx="3033">
                  <c:v>2.6065998000000001</c:v>
                </c:pt>
                <c:pt idx="3034">
                  <c:v>2.6067998000000001</c:v>
                </c:pt>
                <c:pt idx="3035">
                  <c:v>2.6069998999999999</c:v>
                </c:pt>
                <c:pt idx="3036">
                  <c:v>2.6071998999999999</c:v>
                </c:pt>
                <c:pt idx="3037">
                  <c:v>2.6073998999999999</c:v>
                </c:pt>
                <c:pt idx="3038">
                  <c:v>2.6076000000000001</c:v>
                </c:pt>
                <c:pt idx="3039">
                  <c:v>2.6078000000000001</c:v>
                </c:pt>
                <c:pt idx="3040">
                  <c:v>2.6080000000000001</c:v>
                </c:pt>
                <c:pt idx="3041">
                  <c:v>2.6081998</c:v>
                </c:pt>
                <c:pt idx="3042">
                  <c:v>2.6083999000000002</c:v>
                </c:pt>
                <c:pt idx="3043">
                  <c:v>2.6085999000000002</c:v>
                </c:pt>
                <c:pt idx="3044">
                  <c:v>2.6087999000000002</c:v>
                </c:pt>
                <c:pt idx="3045">
                  <c:v>2.609</c:v>
                </c:pt>
                <c:pt idx="3046">
                  <c:v>2.6092</c:v>
                </c:pt>
                <c:pt idx="3047">
                  <c:v>2.6093999999999999</c:v>
                </c:pt>
                <c:pt idx="3048">
                  <c:v>2.6095997999999998</c:v>
                </c:pt>
                <c:pt idx="3049">
                  <c:v>2.6097999000000001</c:v>
                </c:pt>
                <c:pt idx="3050">
                  <c:v>2.6099999</c:v>
                </c:pt>
                <c:pt idx="3051">
                  <c:v>2.6101999</c:v>
                </c:pt>
                <c:pt idx="3052">
                  <c:v>2.6103999999999998</c:v>
                </c:pt>
                <c:pt idx="3053">
                  <c:v>2.6105998000000001</c:v>
                </c:pt>
                <c:pt idx="3054">
                  <c:v>2.6107999999999998</c:v>
                </c:pt>
                <c:pt idx="3055">
                  <c:v>2.6110001</c:v>
                </c:pt>
                <c:pt idx="3056">
                  <c:v>2.6111998999999999</c:v>
                </c:pt>
                <c:pt idx="3057">
                  <c:v>2.6113998999999999</c:v>
                </c:pt>
                <c:pt idx="3058">
                  <c:v>2.6115997000000002</c:v>
                </c:pt>
                <c:pt idx="3059">
                  <c:v>2.6118000000000001</c:v>
                </c:pt>
                <c:pt idx="3060">
                  <c:v>2.6120000000000001</c:v>
                </c:pt>
                <c:pt idx="3061">
                  <c:v>2.6121998</c:v>
                </c:pt>
                <c:pt idx="3062">
                  <c:v>2.6124000999999999</c:v>
                </c:pt>
                <c:pt idx="3063">
                  <c:v>2.6126000999999999</c:v>
                </c:pt>
                <c:pt idx="3064">
                  <c:v>2.6127999000000002</c:v>
                </c:pt>
                <c:pt idx="3065">
                  <c:v>2.6129999000000002</c:v>
                </c:pt>
                <c:pt idx="3066">
                  <c:v>2.6131997</c:v>
                </c:pt>
                <c:pt idx="3067">
                  <c:v>2.6133999999999999</c:v>
                </c:pt>
                <c:pt idx="3068">
                  <c:v>2.6135999999999999</c:v>
                </c:pt>
                <c:pt idx="3069">
                  <c:v>2.6137997999999998</c:v>
                </c:pt>
                <c:pt idx="3070">
                  <c:v>2.6140001000000002</c:v>
                </c:pt>
                <c:pt idx="3071">
                  <c:v>2.6141999</c:v>
                </c:pt>
                <c:pt idx="3072">
                  <c:v>2.6143999</c:v>
                </c:pt>
                <c:pt idx="3073">
                  <c:v>2.6145999</c:v>
                </c:pt>
                <c:pt idx="3074">
                  <c:v>2.6147996999999998</c:v>
                </c:pt>
                <c:pt idx="3075">
                  <c:v>2.6150000000000002</c:v>
                </c:pt>
                <c:pt idx="3076">
                  <c:v>2.6152000000000002</c:v>
                </c:pt>
                <c:pt idx="3077">
                  <c:v>2.6153998000000001</c:v>
                </c:pt>
                <c:pt idx="3078">
                  <c:v>2.6156001</c:v>
                </c:pt>
                <c:pt idx="3079">
                  <c:v>2.6157998999999998</c:v>
                </c:pt>
                <c:pt idx="3080">
                  <c:v>2.6159998999999998</c:v>
                </c:pt>
                <c:pt idx="3081">
                  <c:v>2.6162000000000001</c:v>
                </c:pt>
                <c:pt idx="3082">
                  <c:v>2.6163997999999999</c:v>
                </c:pt>
                <c:pt idx="3083">
                  <c:v>2.6166</c:v>
                </c:pt>
                <c:pt idx="3084">
                  <c:v>2.6167997999999999</c:v>
                </c:pt>
                <c:pt idx="3085">
                  <c:v>2.6169999000000002</c:v>
                </c:pt>
                <c:pt idx="3086">
                  <c:v>2.6172000999999998</c:v>
                </c:pt>
                <c:pt idx="3087">
                  <c:v>2.6173999000000001</c:v>
                </c:pt>
                <c:pt idx="3088">
                  <c:v>2.6175999999999999</c:v>
                </c:pt>
                <c:pt idx="3089">
                  <c:v>2.6177997999999998</c:v>
                </c:pt>
                <c:pt idx="3090">
                  <c:v>2.6179998000000002</c:v>
                </c:pt>
                <c:pt idx="3091">
                  <c:v>2.6182001000000001</c:v>
                </c:pt>
                <c:pt idx="3092">
                  <c:v>2.6183999</c:v>
                </c:pt>
                <c:pt idx="3093">
                  <c:v>2.6185999</c:v>
                </c:pt>
                <c:pt idx="3094">
                  <c:v>2.6188001999999999</c:v>
                </c:pt>
                <c:pt idx="3095">
                  <c:v>2.6190000000000002</c:v>
                </c:pt>
                <c:pt idx="3096">
                  <c:v>2.6192000000000002</c:v>
                </c:pt>
                <c:pt idx="3097">
                  <c:v>2.6193998000000001</c:v>
                </c:pt>
                <c:pt idx="3098">
                  <c:v>2.6195998</c:v>
                </c:pt>
                <c:pt idx="3099">
                  <c:v>2.6198001</c:v>
                </c:pt>
                <c:pt idx="3100">
                  <c:v>2.6199998999999998</c:v>
                </c:pt>
                <c:pt idx="3101">
                  <c:v>2.6201998999999998</c:v>
                </c:pt>
                <c:pt idx="3102">
                  <c:v>2.6204000000000001</c:v>
                </c:pt>
                <c:pt idx="3103">
                  <c:v>2.6206</c:v>
                </c:pt>
                <c:pt idx="3104">
                  <c:v>2.6208</c:v>
                </c:pt>
                <c:pt idx="3105">
                  <c:v>2.6209997999999999</c:v>
                </c:pt>
                <c:pt idx="3106">
                  <c:v>2.6211997999999999</c:v>
                </c:pt>
                <c:pt idx="3107">
                  <c:v>2.6213999000000001</c:v>
                </c:pt>
                <c:pt idx="3108">
                  <c:v>2.6215999000000001</c:v>
                </c:pt>
                <c:pt idx="3109">
                  <c:v>2.6217999000000001</c:v>
                </c:pt>
                <c:pt idx="3110">
                  <c:v>2.6219999999999999</c:v>
                </c:pt>
                <c:pt idx="3111">
                  <c:v>2.6221999999999999</c:v>
                </c:pt>
                <c:pt idx="3112">
                  <c:v>2.6223998000000002</c:v>
                </c:pt>
                <c:pt idx="3113">
                  <c:v>2.6225998000000001</c:v>
                </c:pt>
                <c:pt idx="3114">
                  <c:v>2.6227999</c:v>
                </c:pt>
                <c:pt idx="3115">
                  <c:v>2.6229998999999999</c:v>
                </c:pt>
                <c:pt idx="3116">
                  <c:v>2.6231998999999999</c:v>
                </c:pt>
                <c:pt idx="3117">
                  <c:v>2.6234000000000002</c:v>
                </c:pt>
                <c:pt idx="3118">
                  <c:v>2.6236000000000002</c:v>
                </c:pt>
                <c:pt idx="3119">
                  <c:v>2.6238000000000001</c:v>
                </c:pt>
                <c:pt idx="3120">
                  <c:v>2.6239998</c:v>
                </c:pt>
                <c:pt idx="3121">
                  <c:v>2.6241998999999998</c:v>
                </c:pt>
                <c:pt idx="3122">
                  <c:v>2.6243998999999998</c:v>
                </c:pt>
                <c:pt idx="3123">
                  <c:v>2.6245999000000002</c:v>
                </c:pt>
                <c:pt idx="3124">
                  <c:v>2.6248</c:v>
                </c:pt>
                <c:pt idx="3125">
                  <c:v>2.6249997999999999</c:v>
                </c:pt>
                <c:pt idx="3126">
                  <c:v>2.6252</c:v>
                </c:pt>
                <c:pt idx="3127">
                  <c:v>2.6254000999999998</c:v>
                </c:pt>
                <c:pt idx="3128">
                  <c:v>2.6255999000000001</c:v>
                </c:pt>
                <c:pt idx="3129">
                  <c:v>2.6257999000000001</c:v>
                </c:pt>
                <c:pt idx="3130">
                  <c:v>2.6259996999999999</c:v>
                </c:pt>
                <c:pt idx="3131">
                  <c:v>2.6261999999999999</c:v>
                </c:pt>
                <c:pt idx="3132">
                  <c:v>2.6263999999999998</c:v>
                </c:pt>
                <c:pt idx="3133">
                  <c:v>2.6265998000000002</c:v>
                </c:pt>
                <c:pt idx="3134">
                  <c:v>2.6268001000000001</c:v>
                </c:pt>
                <c:pt idx="3135">
                  <c:v>2.6270001000000001</c:v>
                </c:pt>
                <c:pt idx="3136">
                  <c:v>2.6271998999999999</c:v>
                </c:pt>
                <c:pt idx="3137">
                  <c:v>2.6273998999999999</c:v>
                </c:pt>
                <c:pt idx="3138">
                  <c:v>2.6275997000000002</c:v>
                </c:pt>
                <c:pt idx="3139">
                  <c:v>2.6278000000000001</c:v>
                </c:pt>
                <c:pt idx="3140">
                  <c:v>2.6280000000000001</c:v>
                </c:pt>
                <c:pt idx="3141">
                  <c:v>2.6281998</c:v>
                </c:pt>
                <c:pt idx="3142">
                  <c:v>2.6284000999999999</c:v>
                </c:pt>
                <c:pt idx="3143">
                  <c:v>2.6285999000000002</c:v>
                </c:pt>
                <c:pt idx="3144">
                  <c:v>2.6287999000000002</c:v>
                </c:pt>
                <c:pt idx="3145">
                  <c:v>2.6289999000000002</c:v>
                </c:pt>
                <c:pt idx="3146">
                  <c:v>2.6291997</c:v>
                </c:pt>
                <c:pt idx="3147">
                  <c:v>2.6294</c:v>
                </c:pt>
                <c:pt idx="3148">
                  <c:v>2.6295997999999998</c:v>
                </c:pt>
                <c:pt idx="3149">
                  <c:v>2.6297997999999998</c:v>
                </c:pt>
                <c:pt idx="3150">
                  <c:v>2.6300001000000002</c:v>
                </c:pt>
                <c:pt idx="3151">
                  <c:v>2.6301999</c:v>
                </c:pt>
                <c:pt idx="3152">
                  <c:v>2.6303999</c:v>
                </c:pt>
                <c:pt idx="3153">
                  <c:v>2.6305999999999998</c:v>
                </c:pt>
                <c:pt idx="3154">
                  <c:v>2.6307998000000001</c:v>
                </c:pt>
                <c:pt idx="3155">
                  <c:v>2.6309999999999998</c:v>
                </c:pt>
                <c:pt idx="3156">
                  <c:v>2.6311998000000001</c:v>
                </c:pt>
                <c:pt idx="3157">
                  <c:v>2.6313998999999999</c:v>
                </c:pt>
                <c:pt idx="3158">
                  <c:v>2.6316001</c:v>
                </c:pt>
                <c:pt idx="3159">
                  <c:v>2.6317998999999999</c:v>
                </c:pt>
                <c:pt idx="3160">
                  <c:v>2.6320000000000001</c:v>
                </c:pt>
                <c:pt idx="3161">
                  <c:v>2.6321998</c:v>
                </c:pt>
                <c:pt idx="3162">
                  <c:v>2.6323998</c:v>
                </c:pt>
                <c:pt idx="3163">
                  <c:v>2.6326000999999999</c:v>
                </c:pt>
                <c:pt idx="3164">
                  <c:v>2.6327999000000002</c:v>
                </c:pt>
                <c:pt idx="3165">
                  <c:v>2.6329999000000002</c:v>
                </c:pt>
                <c:pt idx="3166">
                  <c:v>2.6332002000000001</c:v>
                </c:pt>
                <c:pt idx="3167">
                  <c:v>2.6334</c:v>
                </c:pt>
                <c:pt idx="3168">
                  <c:v>2.6335999999999999</c:v>
                </c:pt>
                <c:pt idx="3169">
                  <c:v>2.6337997999999998</c:v>
                </c:pt>
                <c:pt idx="3170">
                  <c:v>2.6339997999999998</c:v>
                </c:pt>
                <c:pt idx="3171">
                  <c:v>2.6342001000000002</c:v>
                </c:pt>
                <c:pt idx="3172">
                  <c:v>2.6343999</c:v>
                </c:pt>
                <c:pt idx="3173">
                  <c:v>2.6345999</c:v>
                </c:pt>
                <c:pt idx="3174">
                  <c:v>2.6347999999999998</c:v>
                </c:pt>
                <c:pt idx="3175">
                  <c:v>2.6349999999999998</c:v>
                </c:pt>
                <c:pt idx="3176">
                  <c:v>2.6352000000000002</c:v>
                </c:pt>
                <c:pt idx="3177">
                  <c:v>2.6353998000000001</c:v>
                </c:pt>
                <c:pt idx="3178">
                  <c:v>2.6355998999999999</c:v>
                </c:pt>
                <c:pt idx="3179">
                  <c:v>2.6357998999999999</c:v>
                </c:pt>
                <c:pt idx="3180">
                  <c:v>2.6359998999999998</c:v>
                </c:pt>
                <c:pt idx="3181">
                  <c:v>2.6362000000000001</c:v>
                </c:pt>
                <c:pt idx="3182">
                  <c:v>2.6364000000000001</c:v>
                </c:pt>
                <c:pt idx="3183">
                  <c:v>2.6366000000000001</c:v>
                </c:pt>
                <c:pt idx="3184">
                  <c:v>2.6367997999999999</c:v>
                </c:pt>
                <c:pt idx="3185">
                  <c:v>2.6369997999999999</c:v>
                </c:pt>
                <c:pt idx="3186">
                  <c:v>2.6371999000000002</c:v>
                </c:pt>
                <c:pt idx="3187">
                  <c:v>2.6373999000000001</c:v>
                </c:pt>
                <c:pt idx="3188">
                  <c:v>2.6375999000000001</c:v>
                </c:pt>
                <c:pt idx="3189">
                  <c:v>2.6377999999999999</c:v>
                </c:pt>
                <c:pt idx="3190">
                  <c:v>2.6379999999999999</c:v>
                </c:pt>
                <c:pt idx="3191">
                  <c:v>2.6381999999999999</c:v>
                </c:pt>
                <c:pt idx="3192">
                  <c:v>2.6383998000000002</c:v>
                </c:pt>
                <c:pt idx="3193">
                  <c:v>2.6385999</c:v>
                </c:pt>
                <c:pt idx="3194">
                  <c:v>2.6387999</c:v>
                </c:pt>
                <c:pt idx="3195">
                  <c:v>2.6389999</c:v>
                </c:pt>
                <c:pt idx="3196">
                  <c:v>2.6392000000000002</c:v>
                </c:pt>
                <c:pt idx="3197">
                  <c:v>2.6393998000000001</c:v>
                </c:pt>
                <c:pt idx="3198">
                  <c:v>2.6396000000000002</c:v>
                </c:pt>
                <c:pt idx="3199">
                  <c:v>2.6398001</c:v>
                </c:pt>
                <c:pt idx="3200">
                  <c:v>2.6399998999999998</c:v>
                </c:pt>
                <c:pt idx="3201">
                  <c:v>2.6401998999999998</c:v>
                </c:pt>
                <c:pt idx="3202">
                  <c:v>2.6403997000000001</c:v>
                </c:pt>
                <c:pt idx="3203">
                  <c:v>2.6406000000000001</c:v>
                </c:pt>
                <c:pt idx="3204">
                  <c:v>2.6408</c:v>
                </c:pt>
                <c:pt idx="3205">
                  <c:v>2.6409997999999999</c:v>
                </c:pt>
                <c:pt idx="3206">
                  <c:v>2.6412000999999998</c:v>
                </c:pt>
                <c:pt idx="3207">
                  <c:v>2.6414000999999998</c:v>
                </c:pt>
                <c:pt idx="3208">
                  <c:v>2.6415999000000001</c:v>
                </c:pt>
                <c:pt idx="3209">
                  <c:v>2.6417999000000001</c:v>
                </c:pt>
                <c:pt idx="3210">
                  <c:v>2.6419997</c:v>
                </c:pt>
                <c:pt idx="3211">
                  <c:v>2.6421999999999999</c:v>
                </c:pt>
                <c:pt idx="3212">
                  <c:v>2.6423999999999999</c:v>
                </c:pt>
                <c:pt idx="3213">
                  <c:v>2.6425998000000002</c:v>
                </c:pt>
                <c:pt idx="3214">
                  <c:v>2.6428001000000001</c:v>
                </c:pt>
                <c:pt idx="3215">
                  <c:v>2.6429999</c:v>
                </c:pt>
                <c:pt idx="3216">
                  <c:v>2.6431998999999999</c:v>
                </c:pt>
                <c:pt idx="3217">
                  <c:v>2.6434000000000002</c:v>
                </c:pt>
                <c:pt idx="3218">
                  <c:v>2.6435997000000002</c:v>
                </c:pt>
                <c:pt idx="3219">
                  <c:v>2.6438000000000001</c:v>
                </c:pt>
                <c:pt idx="3220">
                  <c:v>2.6439998</c:v>
                </c:pt>
                <c:pt idx="3221">
                  <c:v>2.6441998</c:v>
                </c:pt>
                <c:pt idx="3222">
                  <c:v>2.6444000999999999</c:v>
                </c:pt>
                <c:pt idx="3223">
                  <c:v>2.6445998999999998</c:v>
                </c:pt>
                <c:pt idx="3224">
                  <c:v>2.6447999000000002</c:v>
                </c:pt>
                <c:pt idx="3225">
                  <c:v>2.6449997000000001</c:v>
                </c:pt>
                <c:pt idx="3226">
                  <c:v>2.6451997999999999</c:v>
                </c:pt>
                <c:pt idx="3227">
                  <c:v>2.6454</c:v>
                </c:pt>
                <c:pt idx="3228">
                  <c:v>2.6455997999999998</c:v>
                </c:pt>
                <c:pt idx="3229">
                  <c:v>2.6457999000000001</c:v>
                </c:pt>
                <c:pt idx="3230">
                  <c:v>2.6460001000000002</c:v>
                </c:pt>
                <c:pt idx="3231">
                  <c:v>2.6461999</c:v>
                </c:pt>
                <c:pt idx="3232">
                  <c:v>2.6463999999999999</c:v>
                </c:pt>
                <c:pt idx="3233">
                  <c:v>2.6465998000000002</c:v>
                </c:pt>
                <c:pt idx="3234">
                  <c:v>2.6467998000000001</c:v>
                </c:pt>
                <c:pt idx="3235">
                  <c:v>2.6470001000000001</c:v>
                </c:pt>
                <c:pt idx="3236">
                  <c:v>2.6471998999999999</c:v>
                </c:pt>
                <c:pt idx="3237">
                  <c:v>2.6473998999999999</c:v>
                </c:pt>
                <c:pt idx="3238">
                  <c:v>2.6475998999999999</c:v>
                </c:pt>
                <c:pt idx="3239">
                  <c:v>2.6478000000000002</c:v>
                </c:pt>
                <c:pt idx="3240">
                  <c:v>2.6480000000000001</c:v>
                </c:pt>
                <c:pt idx="3241">
                  <c:v>2.6481998</c:v>
                </c:pt>
                <c:pt idx="3242">
                  <c:v>2.6483998</c:v>
                </c:pt>
                <c:pt idx="3243">
                  <c:v>2.6486000999999999</c:v>
                </c:pt>
                <c:pt idx="3244">
                  <c:v>2.6487999000000002</c:v>
                </c:pt>
                <c:pt idx="3245">
                  <c:v>2.6489999000000002</c:v>
                </c:pt>
                <c:pt idx="3246">
                  <c:v>2.6492</c:v>
                </c:pt>
                <c:pt idx="3247">
                  <c:v>2.6494</c:v>
                </c:pt>
                <c:pt idx="3248">
                  <c:v>2.6496</c:v>
                </c:pt>
                <c:pt idx="3249">
                  <c:v>2.6497997999999998</c:v>
                </c:pt>
                <c:pt idx="3250">
                  <c:v>2.6499999000000001</c:v>
                </c:pt>
                <c:pt idx="3251">
                  <c:v>2.6501999000000001</c:v>
                </c:pt>
                <c:pt idx="3252">
                  <c:v>2.6503999</c:v>
                </c:pt>
                <c:pt idx="3253">
                  <c:v>2.6505999999999998</c:v>
                </c:pt>
                <c:pt idx="3254">
                  <c:v>2.6507999999999998</c:v>
                </c:pt>
                <c:pt idx="3255">
                  <c:v>2.6509999999999998</c:v>
                </c:pt>
                <c:pt idx="3256">
                  <c:v>2.6511998000000001</c:v>
                </c:pt>
                <c:pt idx="3257">
                  <c:v>2.6513998999999999</c:v>
                </c:pt>
                <c:pt idx="3258">
                  <c:v>2.6515998999999999</c:v>
                </c:pt>
                <c:pt idx="3259">
                  <c:v>2.6517998999999999</c:v>
                </c:pt>
                <c:pt idx="3260">
                  <c:v>2.6520000000000001</c:v>
                </c:pt>
                <c:pt idx="3261">
                  <c:v>2.6521997000000002</c:v>
                </c:pt>
                <c:pt idx="3262">
                  <c:v>2.6524000000000001</c:v>
                </c:pt>
                <c:pt idx="3263">
                  <c:v>2.6526000000000001</c:v>
                </c:pt>
                <c:pt idx="3264">
                  <c:v>2.6527997999999999</c:v>
                </c:pt>
                <c:pt idx="3265">
                  <c:v>2.6529999000000002</c:v>
                </c:pt>
                <c:pt idx="3266">
                  <c:v>2.6531999000000002</c:v>
                </c:pt>
                <c:pt idx="3267">
                  <c:v>2.6533999000000001</c:v>
                </c:pt>
                <c:pt idx="3268">
                  <c:v>2.6536</c:v>
                </c:pt>
                <c:pt idx="3269">
                  <c:v>2.6537997999999998</c:v>
                </c:pt>
                <c:pt idx="3270">
                  <c:v>2.6539999999999999</c:v>
                </c:pt>
                <c:pt idx="3271">
                  <c:v>2.6542001000000002</c:v>
                </c:pt>
                <c:pt idx="3272">
                  <c:v>2.6543999</c:v>
                </c:pt>
                <c:pt idx="3273">
                  <c:v>2.6545999</c:v>
                </c:pt>
                <c:pt idx="3274">
                  <c:v>2.6547996999999999</c:v>
                </c:pt>
                <c:pt idx="3275">
                  <c:v>2.6549999999999998</c:v>
                </c:pt>
                <c:pt idx="3276">
                  <c:v>2.6551999999999998</c:v>
                </c:pt>
                <c:pt idx="3277">
                  <c:v>2.6553998000000001</c:v>
                </c:pt>
                <c:pt idx="3278">
                  <c:v>2.6556001</c:v>
                </c:pt>
                <c:pt idx="3279">
                  <c:v>2.6558001</c:v>
                </c:pt>
                <c:pt idx="3280">
                  <c:v>2.6559998999999999</c:v>
                </c:pt>
                <c:pt idx="3281">
                  <c:v>2.6561998999999998</c:v>
                </c:pt>
                <c:pt idx="3282">
                  <c:v>2.6563997000000001</c:v>
                </c:pt>
                <c:pt idx="3283">
                  <c:v>2.6566000000000001</c:v>
                </c:pt>
                <c:pt idx="3284">
                  <c:v>2.6568000000000001</c:v>
                </c:pt>
                <c:pt idx="3285">
                  <c:v>2.6569997999999999</c:v>
                </c:pt>
                <c:pt idx="3286">
                  <c:v>2.6572000999999998</c:v>
                </c:pt>
                <c:pt idx="3287">
                  <c:v>2.6573999000000001</c:v>
                </c:pt>
                <c:pt idx="3288">
                  <c:v>2.6575999000000001</c:v>
                </c:pt>
                <c:pt idx="3289">
                  <c:v>2.6577999999999999</c:v>
                </c:pt>
                <c:pt idx="3290">
                  <c:v>2.6579997999999998</c:v>
                </c:pt>
                <c:pt idx="3291">
                  <c:v>2.6581999999999999</c:v>
                </c:pt>
                <c:pt idx="3292">
                  <c:v>2.6583998000000002</c:v>
                </c:pt>
                <c:pt idx="3293">
                  <c:v>2.6585999</c:v>
                </c:pt>
                <c:pt idx="3294">
                  <c:v>2.6588001000000001</c:v>
                </c:pt>
                <c:pt idx="3295">
                  <c:v>2.6589999</c:v>
                </c:pt>
                <c:pt idx="3296">
                  <c:v>2.6591999999999998</c:v>
                </c:pt>
                <c:pt idx="3297">
                  <c:v>2.6593996999999998</c:v>
                </c:pt>
                <c:pt idx="3298">
                  <c:v>2.6595998000000001</c:v>
                </c:pt>
                <c:pt idx="3299">
                  <c:v>2.6598001</c:v>
                </c:pt>
                <c:pt idx="3300">
                  <c:v>2.6599998</c:v>
                </c:pt>
                <c:pt idx="3301">
                  <c:v>2.6601998999999998</c:v>
                </c:pt>
                <c:pt idx="3302">
                  <c:v>2.6604002000000002</c:v>
                </c:pt>
                <c:pt idx="3303">
                  <c:v>2.6605998999999998</c:v>
                </c:pt>
                <c:pt idx="3304">
                  <c:v>2.6608000000000001</c:v>
                </c:pt>
                <c:pt idx="3305">
                  <c:v>2.6609997999999999</c:v>
                </c:pt>
                <c:pt idx="3306">
                  <c:v>2.6611997999999999</c:v>
                </c:pt>
                <c:pt idx="3307">
                  <c:v>2.6614000999999998</c:v>
                </c:pt>
                <c:pt idx="3308">
                  <c:v>2.6615999000000001</c:v>
                </c:pt>
                <c:pt idx="3309">
                  <c:v>2.6617999000000001</c:v>
                </c:pt>
                <c:pt idx="3310">
                  <c:v>2.6619999000000001</c:v>
                </c:pt>
                <c:pt idx="3311">
                  <c:v>2.6621999999999999</c:v>
                </c:pt>
                <c:pt idx="3312">
                  <c:v>2.6623999999999999</c:v>
                </c:pt>
                <c:pt idx="3313">
                  <c:v>2.6625998000000002</c:v>
                </c:pt>
                <c:pt idx="3314">
                  <c:v>2.6627998000000002</c:v>
                </c:pt>
                <c:pt idx="3315">
                  <c:v>2.6630001000000001</c:v>
                </c:pt>
                <c:pt idx="3316">
                  <c:v>2.6631999</c:v>
                </c:pt>
                <c:pt idx="3317">
                  <c:v>2.6633998999999999</c:v>
                </c:pt>
                <c:pt idx="3318">
                  <c:v>2.6636000000000002</c:v>
                </c:pt>
                <c:pt idx="3319">
                  <c:v>2.6638000000000002</c:v>
                </c:pt>
                <c:pt idx="3320">
                  <c:v>2.6640000000000001</c:v>
                </c:pt>
                <c:pt idx="3321">
                  <c:v>2.6641998</c:v>
                </c:pt>
                <c:pt idx="3322">
                  <c:v>2.6643998999999998</c:v>
                </c:pt>
                <c:pt idx="3323">
                  <c:v>2.6645998999999998</c:v>
                </c:pt>
                <c:pt idx="3324">
                  <c:v>2.6647999000000002</c:v>
                </c:pt>
                <c:pt idx="3325">
                  <c:v>2.665</c:v>
                </c:pt>
                <c:pt idx="3326">
                  <c:v>2.6652</c:v>
                </c:pt>
                <c:pt idx="3327">
                  <c:v>2.6654</c:v>
                </c:pt>
                <c:pt idx="3328">
                  <c:v>2.6655997999999999</c:v>
                </c:pt>
                <c:pt idx="3329">
                  <c:v>2.6657999000000001</c:v>
                </c:pt>
                <c:pt idx="3330">
                  <c:v>2.6659999000000001</c:v>
                </c:pt>
                <c:pt idx="3331">
                  <c:v>2.6661999000000001</c:v>
                </c:pt>
                <c:pt idx="3332">
                  <c:v>2.6663999999999999</c:v>
                </c:pt>
                <c:pt idx="3333">
                  <c:v>2.6665998000000002</c:v>
                </c:pt>
                <c:pt idx="3334">
                  <c:v>2.6667999999999998</c:v>
                </c:pt>
                <c:pt idx="3335">
                  <c:v>2.6670001000000001</c:v>
                </c:pt>
                <c:pt idx="3336">
                  <c:v>2.6671999</c:v>
                </c:pt>
                <c:pt idx="3337">
                  <c:v>2.6673998999999999</c:v>
                </c:pt>
                <c:pt idx="3338">
                  <c:v>2.6675996999999998</c:v>
                </c:pt>
                <c:pt idx="3339">
                  <c:v>2.6677998999999999</c:v>
                </c:pt>
                <c:pt idx="3340">
                  <c:v>2.6680000000000001</c:v>
                </c:pt>
                <c:pt idx="3341">
                  <c:v>2.6681998</c:v>
                </c:pt>
                <c:pt idx="3342">
                  <c:v>2.6684000000000001</c:v>
                </c:pt>
                <c:pt idx="3343">
                  <c:v>2.6686000999999999</c:v>
                </c:pt>
                <c:pt idx="3344">
                  <c:v>2.6687998999999998</c:v>
                </c:pt>
                <c:pt idx="3345">
                  <c:v>2.6689999000000002</c:v>
                </c:pt>
                <c:pt idx="3346">
                  <c:v>2.6691997000000001</c:v>
                </c:pt>
                <c:pt idx="3347">
                  <c:v>2.6694</c:v>
                </c:pt>
                <c:pt idx="3348">
                  <c:v>2.6696</c:v>
                </c:pt>
                <c:pt idx="3349">
                  <c:v>2.6697997999999998</c:v>
                </c:pt>
                <c:pt idx="3350">
                  <c:v>2.6700001000000002</c:v>
                </c:pt>
                <c:pt idx="3351">
                  <c:v>2.6701999000000001</c:v>
                </c:pt>
                <c:pt idx="3352">
                  <c:v>2.6703999</c:v>
                </c:pt>
                <c:pt idx="3353">
                  <c:v>2.6705999</c:v>
                </c:pt>
                <c:pt idx="3354">
                  <c:v>2.6707996999999999</c:v>
                </c:pt>
                <c:pt idx="3355">
                  <c:v>2.6709999999999998</c:v>
                </c:pt>
                <c:pt idx="3356">
                  <c:v>2.6711999999999998</c:v>
                </c:pt>
                <c:pt idx="3357">
                  <c:v>2.6713998000000001</c:v>
                </c:pt>
                <c:pt idx="3358">
                  <c:v>2.6716001</c:v>
                </c:pt>
                <c:pt idx="3359">
                  <c:v>2.6717998999999999</c:v>
                </c:pt>
                <c:pt idx="3360">
                  <c:v>2.6719998999999999</c:v>
                </c:pt>
                <c:pt idx="3361">
                  <c:v>2.6722000000000001</c:v>
                </c:pt>
                <c:pt idx="3362">
                  <c:v>2.6723998</c:v>
                </c:pt>
                <c:pt idx="3363">
                  <c:v>2.6726000000000001</c:v>
                </c:pt>
                <c:pt idx="3364">
                  <c:v>2.6727997999999999</c:v>
                </c:pt>
                <c:pt idx="3365">
                  <c:v>2.6729999000000002</c:v>
                </c:pt>
                <c:pt idx="3366">
                  <c:v>2.6732000999999999</c:v>
                </c:pt>
                <c:pt idx="3367">
                  <c:v>2.6733999000000002</c:v>
                </c:pt>
                <c:pt idx="3368">
                  <c:v>2.6736</c:v>
                </c:pt>
                <c:pt idx="3369">
                  <c:v>2.6737997999999998</c:v>
                </c:pt>
                <c:pt idx="3370">
                  <c:v>2.6739997999999998</c:v>
                </c:pt>
                <c:pt idx="3371">
                  <c:v>2.6742001000000002</c:v>
                </c:pt>
                <c:pt idx="3372">
                  <c:v>2.6743999000000001</c:v>
                </c:pt>
                <c:pt idx="3373">
                  <c:v>2.6745999</c:v>
                </c:pt>
                <c:pt idx="3374">
                  <c:v>2.6748002</c:v>
                </c:pt>
                <c:pt idx="3375">
                  <c:v>2.6749999999999998</c:v>
                </c:pt>
                <c:pt idx="3376">
                  <c:v>2.6751999999999998</c:v>
                </c:pt>
                <c:pt idx="3377">
                  <c:v>2.6753998000000001</c:v>
                </c:pt>
                <c:pt idx="3378">
                  <c:v>2.6755998000000001</c:v>
                </c:pt>
                <c:pt idx="3379">
                  <c:v>2.6758001</c:v>
                </c:pt>
                <c:pt idx="3380">
                  <c:v>2.6759998999999999</c:v>
                </c:pt>
                <c:pt idx="3381">
                  <c:v>2.6761998999999999</c:v>
                </c:pt>
                <c:pt idx="3382">
                  <c:v>2.6763998999999998</c:v>
                </c:pt>
                <c:pt idx="3383">
                  <c:v>2.6766000000000001</c:v>
                </c:pt>
                <c:pt idx="3384">
                  <c:v>2.6768000000000001</c:v>
                </c:pt>
                <c:pt idx="3385">
                  <c:v>2.6769997999999999</c:v>
                </c:pt>
                <c:pt idx="3386">
                  <c:v>2.6771997999999999</c:v>
                </c:pt>
                <c:pt idx="3387">
                  <c:v>2.6773999000000002</c:v>
                </c:pt>
                <c:pt idx="3388">
                  <c:v>2.6775999000000001</c:v>
                </c:pt>
                <c:pt idx="3389">
                  <c:v>2.6777999000000001</c:v>
                </c:pt>
                <c:pt idx="3390">
                  <c:v>2.6779999999999999</c:v>
                </c:pt>
                <c:pt idx="3391">
                  <c:v>2.6781999999999999</c:v>
                </c:pt>
                <c:pt idx="3392">
                  <c:v>2.6783999999999999</c:v>
                </c:pt>
                <c:pt idx="3393">
                  <c:v>2.6785998000000002</c:v>
                </c:pt>
                <c:pt idx="3394">
                  <c:v>2.6787999</c:v>
                </c:pt>
                <c:pt idx="3395">
                  <c:v>2.6789999</c:v>
                </c:pt>
                <c:pt idx="3396">
                  <c:v>2.6791999</c:v>
                </c:pt>
                <c:pt idx="3397">
                  <c:v>2.6793999999999998</c:v>
                </c:pt>
                <c:pt idx="3398">
                  <c:v>2.6796000000000002</c:v>
                </c:pt>
                <c:pt idx="3399">
                  <c:v>2.6798000000000002</c:v>
                </c:pt>
                <c:pt idx="3400">
                  <c:v>2.6799998</c:v>
                </c:pt>
                <c:pt idx="3401">
                  <c:v>2.6801998999999999</c:v>
                </c:pt>
                <c:pt idx="3402">
                  <c:v>2.6803998999999998</c:v>
                </c:pt>
                <c:pt idx="3403">
                  <c:v>2.6805998999999998</c:v>
                </c:pt>
                <c:pt idx="3404">
                  <c:v>2.6808000000000001</c:v>
                </c:pt>
                <c:pt idx="3405">
                  <c:v>2.6809997999999999</c:v>
                </c:pt>
                <c:pt idx="3406">
                  <c:v>2.6812</c:v>
                </c:pt>
                <c:pt idx="3407">
                  <c:v>2.6814000999999998</c:v>
                </c:pt>
                <c:pt idx="3408">
                  <c:v>2.6815999000000001</c:v>
                </c:pt>
                <c:pt idx="3409">
                  <c:v>2.6817999000000001</c:v>
                </c:pt>
                <c:pt idx="3410">
                  <c:v>2.6819997</c:v>
                </c:pt>
                <c:pt idx="3411">
                  <c:v>2.6821999999999999</c:v>
                </c:pt>
                <c:pt idx="3412">
                  <c:v>2.6823999999999999</c:v>
                </c:pt>
                <c:pt idx="3413">
                  <c:v>2.6825998000000002</c:v>
                </c:pt>
                <c:pt idx="3414">
                  <c:v>2.6828001000000001</c:v>
                </c:pt>
                <c:pt idx="3415">
                  <c:v>2.6830001000000001</c:v>
                </c:pt>
                <c:pt idx="3416">
                  <c:v>2.6831999</c:v>
                </c:pt>
                <c:pt idx="3417">
                  <c:v>2.6833998999999999</c:v>
                </c:pt>
                <c:pt idx="3418">
                  <c:v>2.6835996999999998</c:v>
                </c:pt>
                <c:pt idx="3419">
                  <c:v>2.6838000000000002</c:v>
                </c:pt>
                <c:pt idx="3420">
                  <c:v>2.6840000000000002</c:v>
                </c:pt>
                <c:pt idx="3421">
                  <c:v>2.6841998</c:v>
                </c:pt>
                <c:pt idx="3422">
                  <c:v>2.6844001</c:v>
                </c:pt>
                <c:pt idx="3423">
                  <c:v>2.6845998999999998</c:v>
                </c:pt>
                <c:pt idx="3424">
                  <c:v>2.6847998999999998</c:v>
                </c:pt>
                <c:pt idx="3425">
                  <c:v>2.6849999000000002</c:v>
                </c:pt>
                <c:pt idx="3426">
                  <c:v>2.6851997000000001</c:v>
                </c:pt>
                <c:pt idx="3427">
                  <c:v>2.6854</c:v>
                </c:pt>
                <c:pt idx="3428">
                  <c:v>2.6856</c:v>
                </c:pt>
                <c:pt idx="3429">
                  <c:v>2.6857997999999998</c:v>
                </c:pt>
                <c:pt idx="3430">
                  <c:v>2.6860000999999998</c:v>
                </c:pt>
                <c:pt idx="3431">
                  <c:v>2.6861999000000001</c:v>
                </c:pt>
                <c:pt idx="3432">
                  <c:v>2.6863999000000001</c:v>
                </c:pt>
                <c:pt idx="3433">
                  <c:v>2.6865999999999999</c:v>
                </c:pt>
                <c:pt idx="3434">
                  <c:v>2.6867998000000002</c:v>
                </c:pt>
                <c:pt idx="3435">
                  <c:v>2.6869999999999998</c:v>
                </c:pt>
                <c:pt idx="3436">
                  <c:v>2.6871998000000001</c:v>
                </c:pt>
                <c:pt idx="3437">
                  <c:v>2.6873999</c:v>
                </c:pt>
                <c:pt idx="3438">
                  <c:v>2.6876001</c:v>
                </c:pt>
                <c:pt idx="3439">
                  <c:v>2.6877998999999999</c:v>
                </c:pt>
                <c:pt idx="3440">
                  <c:v>2.6880000000000002</c:v>
                </c:pt>
                <c:pt idx="3441">
                  <c:v>2.6881998</c:v>
                </c:pt>
                <c:pt idx="3442">
                  <c:v>2.6883998</c:v>
                </c:pt>
                <c:pt idx="3443">
                  <c:v>2.6886000999999999</c:v>
                </c:pt>
                <c:pt idx="3444">
                  <c:v>2.6887998999999998</c:v>
                </c:pt>
                <c:pt idx="3445">
                  <c:v>2.6889999000000002</c:v>
                </c:pt>
                <c:pt idx="3446">
                  <c:v>2.6892002000000002</c:v>
                </c:pt>
                <c:pt idx="3447">
                  <c:v>2.6894</c:v>
                </c:pt>
                <c:pt idx="3448">
                  <c:v>2.6896</c:v>
                </c:pt>
                <c:pt idx="3449">
                  <c:v>2.6897997999999999</c:v>
                </c:pt>
                <c:pt idx="3450">
                  <c:v>2.6899997999999998</c:v>
                </c:pt>
                <c:pt idx="3451">
                  <c:v>2.6902001000000002</c:v>
                </c:pt>
                <c:pt idx="3452">
                  <c:v>2.6903999000000001</c:v>
                </c:pt>
                <c:pt idx="3453">
                  <c:v>2.6905999</c:v>
                </c:pt>
                <c:pt idx="3454">
                  <c:v>2.6907999999999999</c:v>
                </c:pt>
                <c:pt idx="3455">
                  <c:v>2.6909999999999998</c:v>
                </c:pt>
                <c:pt idx="3456">
                  <c:v>2.6911999999999998</c:v>
                </c:pt>
                <c:pt idx="3457">
                  <c:v>2.6913998000000001</c:v>
                </c:pt>
                <c:pt idx="3458">
                  <c:v>2.6915998000000001</c:v>
                </c:pt>
                <c:pt idx="3459">
                  <c:v>2.6917998999999999</c:v>
                </c:pt>
                <c:pt idx="3460">
                  <c:v>2.6919998999999999</c:v>
                </c:pt>
                <c:pt idx="3461">
                  <c:v>2.6921998999999999</c:v>
                </c:pt>
                <c:pt idx="3462">
                  <c:v>2.6924000000000001</c:v>
                </c:pt>
                <c:pt idx="3463">
                  <c:v>2.6926000000000001</c:v>
                </c:pt>
                <c:pt idx="3464">
                  <c:v>2.6927998</c:v>
                </c:pt>
                <c:pt idx="3465">
                  <c:v>2.6929997999999999</c:v>
                </c:pt>
                <c:pt idx="3466">
                  <c:v>2.6931999000000002</c:v>
                </c:pt>
                <c:pt idx="3467">
                  <c:v>2.6933999000000002</c:v>
                </c:pt>
                <c:pt idx="3468">
                  <c:v>2.6935999000000002</c:v>
                </c:pt>
                <c:pt idx="3469">
                  <c:v>2.6938</c:v>
                </c:pt>
                <c:pt idx="3470">
                  <c:v>2.694</c:v>
                </c:pt>
                <c:pt idx="3471">
                  <c:v>2.6941999999999999</c:v>
                </c:pt>
                <c:pt idx="3472">
                  <c:v>2.6943997999999998</c:v>
                </c:pt>
                <c:pt idx="3473">
                  <c:v>2.6945999</c:v>
                </c:pt>
                <c:pt idx="3474">
                  <c:v>2.6947999</c:v>
                </c:pt>
                <c:pt idx="3475">
                  <c:v>2.6949999</c:v>
                </c:pt>
                <c:pt idx="3476">
                  <c:v>2.6951999999999998</c:v>
                </c:pt>
                <c:pt idx="3477">
                  <c:v>2.6953998000000001</c:v>
                </c:pt>
                <c:pt idx="3478">
                  <c:v>2.6956000000000002</c:v>
                </c:pt>
                <c:pt idx="3479">
                  <c:v>2.6958001</c:v>
                </c:pt>
                <c:pt idx="3480">
                  <c:v>2.6959998999999999</c:v>
                </c:pt>
                <c:pt idx="3481">
                  <c:v>2.6961998999999999</c:v>
                </c:pt>
                <c:pt idx="3482">
                  <c:v>2.6963997000000002</c:v>
                </c:pt>
                <c:pt idx="3483">
                  <c:v>2.6966000000000001</c:v>
                </c:pt>
                <c:pt idx="3484">
                  <c:v>2.6968000000000001</c:v>
                </c:pt>
                <c:pt idx="3485">
                  <c:v>2.6969997999999999</c:v>
                </c:pt>
                <c:pt idx="3486">
                  <c:v>2.6972000999999999</c:v>
                </c:pt>
                <c:pt idx="3487">
                  <c:v>2.6974000999999999</c:v>
                </c:pt>
                <c:pt idx="3488">
                  <c:v>2.6975999000000002</c:v>
                </c:pt>
                <c:pt idx="3489">
                  <c:v>2.6977999000000001</c:v>
                </c:pt>
                <c:pt idx="3490">
                  <c:v>2.6979997</c:v>
                </c:pt>
                <c:pt idx="3491">
                  <c:v>2.6981999999999999</c:v>
                </c:pt>
                <c:pt idx="3492">
                  <c:v>2.6983999999999999</c:v>
                </c:pt>
                <c:pt idx="3493">
                  <c:v>2.6985998000000002</c:v>
                </c:pt>
                <c:pt idx="3494">
                  <c:v>2.6988001000000001</c:v>
                </c:pt>
                <c:pt idx="3495">
                  <c:v>2.6989999</c:v>
                </c:pt>
                <c:pt idx="3496">
                  <c:v>2.6991999</c:v>
                </c:pt>
                <c:pt idx="3497">
                  <c:v>2.6993999</c:v>
                </c:pt>
                <c:pt idx="3498">
                  <c:v>2.6995996999999998</c:v>
                </c:pt>
                <c:pt idx="3499">
                  <c:v>2.6998000000000002</c:v>
                </c:pt>
                <c:pt idx="3500">
                  <c:v>2.6999998000000001</c:v>
                </c:pt>
                <c:pt idx="3501">
                  <c:v>2.7001998</c:v>
                </c:pt>
                <c:pt idx="3502">
                  <c:v>2.7004001</c:v>
                </c:pt>
                <c:pt idx="3503">
                  <c:v>2.7005998999999998</c:v>
                </c:pt>
                <c:pt idx="3504">
                  <c:v>2.7007998999999998</c:v>
                </c:pt>
                <c:pt idx="3505">
                  <c:v>2.7010000000000001</c:v>
                </c:pt>
                <c:pt idx="3506">
                  <c:v>2.7011997999999999</c:v>
                </c:pt>
                <c:pt idx="3507">
                  <c:v>2.7014</c:v>
                </c:pt>
                <c:pt idx="3508">
                  <c:v>2.7015997999999999</c:v>
                </c:pt>
                <c:pt idx="3509">
                  <c:v>2.7017999000000001</c:v>
                </c:pt>
                <c:pt idx="3510">
                  <c:v>2.7020000999999998</c:v>
                </c:pt>
                <c:pt idx="3511">
                  <c:v>2.7021999000000001</c:v>
                </c:pt>
                <c:pt idx="3512">
                  <c:v>2.7023999999999999</c:v>
                </c:pt>
                <c:pt idx="3513">
                  <c:v>2.7025998000000002</c:v>
                </c:pt>
                <c:pt idx="3514">
                  <c:v>2.7027998000000002</c:v>
                </c:pt>
                <c:pt idx="3515">
                  <c:v>2.7030001000000001</c:v>
                </c:pt>
                <c:pt idx="3516">
                  <c:v>2.7031999</c:v>
                </c:pt>
                <c:pt idx="3517">
                  <c:v>2.7033999</c:v>
                </c:pt>
                <c:pt idx="3518">
                  <c:v>2.7036001999999999</c:v>
                </c:pt>
                <c:pt idx="3519">
                  <c:v>2.7038000000000002</c:v>
                </c:pt>
                <c:pt idx="3520">
                  <c:v>2.7040000000000002</c:v>
                </c:pt>
                <c:pt idx="3521">
                  <c:v>2.7041998</c:v>
                </c:pt>
                <c:pt idx="3522">
                  <c:v>2.7043998</c:v>
                </c:pt>
                <c:pt idx="3523">
                  <c:v>2.7046001</c:v>
                </c:pt>
                <c:pt idx="3524">
                  <c:v>2.7047998999999998</c:v>
                </c:pt>
                <c:pt idx="3525">
                  <c:v>2.7049998999999998</c:v>
                </c:pt>
                <c:pt idx="3526">
                  <c:v>2.7052</c:v>
                </c:pt>
                <c:pt idx="3527">
                  <c:v>2.7054</c:v>
                </c:pt>
                <c:pt idx="3528">
                  <c:v>2.7056</c:v>
                </c:pt>
                <c:pt idx="3529">
                  <c:v>2.7057997999999999</c:v>
                </c:pt>
                <c:pt idx="3530">
                  <c:v>2.7059999000000001</c:v>
                </c:pt>
                <c:pt idx="3531">
                  <c:v>2.7061999000000001</c:v>
                </c:pt>
                <c:pt idx="3532">
                  <c:v>2.7063999000000001</c:v>
                </c:pt>
                <c:pt idx="3533">
                  <c:v>2.7065999999999999</c:v>
                </c:pt>
                <c:pt idx="3534">
                  <c:v>2.7067999999999999</c:v>
                </c:pt>
                <c:pt idx="3535">
                  <c:v>2.7069999999999999</c:v>
                </c:pt>
                <c:pt idx="3536">
                  <c:v>2.7071998000000002</c:v>
                </c:pt>
                <c:pt idx="3537">
                  <c:v>2.7073998000000001</c:v>
                </c:pt>
                <c:pt idx="3538">
                  <c:v>2.7075998999999999</c:v>
                </c:pt>
                <c:pt idx="3539">
                  <c:v>2.7077998999999999</c:v>
                </c:pt>
                <c:pt idx="3540">
                  <c:v>2.7079998999999999</c:v>
                </c:pt>
                <c:pt idx="3541">
                  <c:v>2.7082000000000002</c:v>
                </c:pt>
                <c:pt idx="3542">
                  <c:v>2.7084000000000001</c:v>
                </c:pt>
                <c:pt idx="3543">
                  <c:v>2.7086000000000001</c:v>
                </c:pt>
                <c:pt idx="3544">
                  <c:v>2.7087998</c:v>
                </c:pt>
                <c:pt idx="3545">
                  <c:v>2.7089998999999998</c:v>
                </c:pt>
                <c:pt idx="3546">
                  <c:v>2.7091999000000002</c:v>
                </c:pt>
                <c:pt idx="3547">
                  <c:v>2.7093999000000002</c:v>
                </c:pt>
                <c:pt idx="3548">
                  <c:v>2.7096</c:v>
                </c:pt>
                <c:pt idx="3549">
                  <c:v>2.7097997999999999</c:v>
                </c:pt>
                <c:pt idx="3550">
                  <c:v>2.71</c:v>
                </c:pt>
                <c:pt idx="3551">
                  <c:v>2.7102000999999998</c:v>
                </c:pt>
                <c:pt idx="3552">
                  <c:v>2.7103999000000001</c:v>
                </c:pt>
                <c:pt idx="3553">
                  <c:v>2.7105999000000001</c:v>
                </c:pt>
                <c:pt idx="3554">
                  <c:v>2.7107996999999999</c:v>
                </c:pt>
                <c:pt idx="3555">
                  <c:v>2.7109999999999999</c:v>
                </c:pt>
                <c:pt idx="3556">
                  <c:v>2.7111999999999998</c:v>
                </c:pt>
                <c:pt idx="3557">
                  <c:v>2.7113998000000001</c:v>
                </c:pt>
                <c:pt idx="3558">
                  <c:v>2.7116001000000001</c:v>
                </c:pt>
                <c:pt idx="3559">
                  <c:v>2.7118001</c:v>
                </c:pt>
                <c:pt idx="3560">
                  <c:v>2.7119998999999999</c:v>
                </c:pt>
                <c:pt idx="3561">
                  <c:v>2.7121998999999999</c:v>
                </c:pt>
                <c:pt idx="3562">
                  <c:v>2.7123997000000002</c:v>
                </c:pt>
                <c:pt idx="3563">
                  <c:v>2.7126000000000001</c:v>
                </c:pt>
                <c:pt idx="3564">
                  <c:v>2.7128000000000001</c:v>
                </c:pt>
                <c:pt idx="3565">
                  <c:v>2.7129998</c:v>
                </c:pt>
                <c:pt idx="3566">
                  <c:v>2.7132000999999999</c:v>
                </c:pt>
                <c:pt idx="3567">
                  <c:v>2.7133999000000002</c:v>
                </c:pt>
                <c:pt idx="3568">
                  <c:v>2.7135999000000002</c:v>
                </c:pt>
                <c:pt idx="3569">
                  <c:v>2.7138</c:v>
                </c:pt>
                <c:pt idx="3570">
                  <c:v>2.7139997</c:v>
                </c:pt>
                <c:pt idx="3571">
                  <c:v>2.7141999999999999</c:v>
                </c:pt>
                <c:pt idx="3572">
                  <c:v>2.7143997999999998</c:v>
                </c:pt>
                <c:pt idx="3573">
                  <c:v>2.7145997999999998</c:v>
                </c:pt>
                <c:pt idx="3574">
                  <c:v>2.7148001000000002</c:v>
                </c:pt>
                <c:pt idx="3575">
                  <c:v>2.7149999</c:v>
                </c:pt>
                <c:pt idx="3576">
                  <c:v>2.7151999</c:v>
                </c:pt>
                <c:pt idx="3577">
                  <c:v>2.7153996999999999</c:v>
                </c:pt>
                <c:pt idx="3578">
                  <c:v>2.7155998000000001</c:v>
                </c:pt>
                <c:pt idx="3579">
                  <c:v>2.7158000000000002</c:v>
                </c:pt>
                <c:pt idx="3580">
                  <c:v>2.7159998000000001</c:v>
                </c:pt>
                <c:pt idx="3581">
                  <c:v>2.7161998999999999</c:v>
                </c:pt>
                <c:pt idx="3582">
                  <c:v>2.7164001</c:v>
                </c:pt>
                <c:pt idx="3583">
                  <c:v>2.7165998999999998</c:v>
                </c:pt>
                <c:pt idx="3584">
                  <c:v>2.7168000000000001</c:v>
                </c:pt>
                <c:pt idx="3585">
                  <c:v>2.7169998</c:v>
                </c:pt>
                <c:pt idx="3586">
                  <c:v>2.7171997999999999</c:v>
                </c:pt>
                <c:pt idx="3587">
                  <c:v>2.7174000999999999</c:v>
                </c:pt>
                <c:pt idx="3588">
                  <c:v>2.7175999000000002</c:v>
                </c:pt>
                <c:pt idx="3589">
                  <c:v>2.7177999000000002</c:v>
                </c:pt>
                <c:pt idx="3590">
                  <c:v>2.7179999000000001</c:v>
                </c:pt>
                <c:pt idx="3591">
                  <c:v>2.7181999999999999</c:v>
                </c:pt>
                <c:pt idx="3592">
                  <c:v>2.7183999999999999</c:v>
                </c:pt>
                <c:pt idx="3593">
                  <c:v>2.7185997999999998</c:v>
                </c:pt>
                <c:pt idx="3594">
                  <c:v>2.7187998000000002</c:v>
                </c:pt>
                <c:pt idx="3595">
                  <c:v>2.7190001000000001</c:v>
                </c:pt>
                <c:pt idx="3596">
                  <c:v>2.7191999</c:v>
                </c:pt>
                <c:pt idx="3597">
                  <c:v>2.7193999</c:v>
                </c:pt>
                <c:pt idx="3598">
                  <c:v>2.7195999999999998</c:v>
                </c:pt>
                <c:pt idx="3599">
                  <c:v>2.7198000000000002</c:v>
                </c:pt>
                <c:pt idx="3600">
                  <c:v>2.72</c:v>
                </c:pt>
                <c:pt idx="3601">
                  <c:v>2.7201998000000001</c:v>
                </c:pt>
                <c:pt idx="3602">
                  <c:v>2.7203998999999999</c:v>
                </c:pt>
                <c:pt idx="3603">
                  <c:v>2.7205998999999998</c:v>
                </c:pt>
                <c:pt idx="3604">
                  <c:v>2.7207998999999998</c:v>
                </c:pt>
                <c:pt idx="3605">
                  <c:v>2.7210000000000001</c:v>
                </c:pt>
                <c:pt idx="3606">
                  <c:v>2.7212000000000001</c:v>
                </c:pt>
                <c:pt idx="3607">
                  <c:v>2.7214</c:v>
                </c:pt>
                <c:pt idx="3608">
                  <c:v>2.7215997999999999</c:v>
                </c:pt>
                <c:pt idx="3609">
                  <c:v>2.7217999000000002</c:v>
                </c:pt>
                <c:pt idx="3610">
                  <c:v>2.7219999000000001</c:v>
                </c:pt>
                <c:pt idx="3611">
                  <c:v>2.7221999000000001</c:v>
                </c:pt>
                <c:pt idx="3612">
                  <c:v>2.7223999999999999</c:v>
                </c:pt>
                <c:pt idx="3613">
                  <c:v>2.7225997</c:v>
                </c:pt>
                <c:pt idx="3614">
                  <c:v>2.7227999999999999</c:v>
                </c:pt>
                <c:pt idx="3615">
                  <c:v>2.7229999999999999</c:v>
                </c:pt>
                <c:pt idx="3616">
                  <c:v>2.7231998000000002</c:v>
                </c:pt>
                <c:pt idx="3617">
                  <c:v>2.7233999</c:v>
                </c:pt>
                <c:pt idx="3618">
                  <c:v>2.7235999</c:v>
                </c:pt>
                <c:pt idx="3619">
                  <c:v>2.7237998999999999</c:v>
                </c:pt>
                <c:pt idx="3620">
                  <c:v>2.7240000000000002</c:v>
                </c:pt>
                <c:pt idx="3621">
                  <c:v>2.7241998000000001</c:v>
                </c:pt>
                <c:pt idx="3622">
                  <c:v>2.7244000000000002</c:v>
                </c:pt>
                <c:pt idx="3623">
                  <c:v>2.7246001</c:v>
                </c:pt>
                <c:pt idx="3624">
                  <c:v>2.7247998999999998</c:v>
                </c:pt>
                <c:pt idx="3625">
                  <c:v>2.7249998999999998</c:v>
                </c:pt>
                <c:pt idx="3626">
                  <c:v>2.7251997000000001</c:v>
                </c:pt>
                <c:pt idx="3627">
                  <c:v>2.7254</c:v>
                </c:pt>
                <c:pt idx="3628">
                  <c:v>2.7256</c:v>
                </c:pt>
                <c:pt idx="3629">
                  <c:v>2.7257997999999999</c:v>
                </c:pt>
                <c:pt idx="3630">
                  <c:v>2.7260000999999998</c:v>
                </c:pt>
                <c:pt idx="3631">
                  <c:v>2.7262000999999998</c:v>
                </c:pt>
                <c:pt idx="3632">
                  <c:v>2.7263999000000001</c:v>
                </c:pt>
                <c:pt idx="3633">
                  <c:v>2.7265999000000001</c:v>
                </c:pt>
                <c:pt idx="3634">
                  <c:v>2.7267996999999999</c:v>
                </c:pt>
                <c:pt idx="3635">
                  <c:v>2.7269999999999999</c:v>
                </c:pt>
                <c:pt idx="3636">
                  <c:v>2.7271999999999998</c:v>
                </c:pt>
                <c:pt idx="3637">
                  <c:v>2.7273998000000002</c:v>
                </c:pt>
                <c:pt idx="3638">
                  <c:v>2.7276001000000001</c:v>
                </c:pt>
                <c:pt idx="3639">
                  <c:v>2.7277998999999999</c:v>
                </c:pt>
                <c:pt idx="3640">
                  <c:v>2.7279998999999999</c:v>
                </c:pt>
                <c:pt idx="3641">
                  <c:v>2.7282000000000002</c:v>
                </c:pt>
                <c:pt idx="3642">
                  <c:v>2.7283998</c:v>
                </c:pt>
                <c:pt idx="3643">
                  <c:v>2.7286000000000001</c:v>
                </c:pt>
                <c:pt idx="3644">
                  <c:v>2.7287998</c:v>
                </c:pt>
                <c:pt idx="3645">
                  <c:v>2.7289998999999998</c:v>
                </c:pt>
                <c:pt idx="3646">
                  <c:v>2.7292000999999999</c:v>
                </c:pt>
                <c:pt idx="3647">
                  <c:v>2.7293999000000002</c:v>
                </c:pt>
                <c:pt idx="3648">
                  <c:v>2.7296</c:v>
                </c:pt>
                <c:pt idx="3649">
                  <c:v>2.7297997000000001</c:v>
                </c:pt>
                <c:pt idx="3650">
                  <c:v>2.7299997999999999</c:v>
                </c:pt>
                <c:pt idx="3651">
                  <c:v>2.7302000999999998</c:v>
                </c:pt>
                <c:pt idx="3652">
                  <c:v>2.7303997999999998</c:v>
                </c:pt>
                <c:pt idx="3653">
                  <c:v>2.7305999000000001</c:v>
                </c:pt>
                <c:pt idx="3654">
                  <c:v>2.7308002</c:v>
                </c:pt>
                <c:pt idx="3655">
                  <c:v>2.7309999</c:v>
                </c:pt>
                <c:pt idx="3656">
                  <c:v>2.7311999999999999</c:v>
                </c:pt>
                <c:pt idx="3657">
                  <c:v>2.7313998000000002</c:v>
                </c:pt>
                <c:pt idx="3658">
                  <c:v>2.7315998000000001</c:v>
                </c:pt>
                <c:pt idx="3659">
                  <c:v>2.7318001000000001</c:v>
                </c:pt>
                <c:pt idx="3660">
                  <c:v>2.7319998999999999</c:v>
                </c:pt>
                <c:pt idx="3661">
                  <c:v>2.7321998999999999</c:v>
                </c:pt>
                <c:pt idx="3662">
                  <c:v>2.7323998999999999</c:v>
                </c:pt>
                <c:pt idx="3663">
                  <c:v>2.7326000000000001</c:v>
                </c:pt>
                <c:pt idx="3664">
                  <c:v>2.7328000000000001</c:v>
                </c:pt>
                <c:pt idx="3665">
                  <c:v>2.7329998</c:v>
                </c:pt>
                <c:pt idx="3666">
                  <c:v>2.7331998</c:v>
                </c:pt>
                <c:pt idx="3667">
                  <c:v>2.7333999000000002</c:v>
                </c:pt>
                <c:pt idx="3668">
                  <c:v>2.7335999000000002</c:v>
                </c:pt>
                <c:pt idx="3669">
                  <c:v>2.7337999000000002</c:v>
                </c:pt>
                <c:pt idx="3670">
                  <c:v>2.734</c:v>
                </c:pt>
                <c:pt idx="3671">
                  <c:v>2.7342</c:v>
                </c:pt>
                <c:pt idx="3672">
                  <c:v>2.7343999999999999</c:v>
                </c:pt>
                <c:pt idx="3673">
                  <c:v>2.7345997999999998</c:v>
                </c:pt>
                <c:pt idx="3674">
                  <c:v>2.7347999000000001</c:v>
                </c:pt>
                <c:pt idx="3675">
                  <c:v>2.7349999</c:v>
                </c:pt>
                <c:pt idx="3676">
                  <c:v>2.7351999</c:v>
                </c:pt>
                <c:pt idx="3677">
                  <c:v>2.7353999999999998</c:v>
                </c:pt>
                <c:pt idx="3678">
                  <c:v>2.7355999999999998</c:v>
                </c:pt>
                <c:pt idx="3679">
                  <c:v>2.7357999999999998</c:v>
                </c:pt>
                <c:pt idx="3680">
                  <c:v>2.7359998000000001</c:v>
                </c:pt>
                <c:pt idx="3681">
                  <c:v>2.7361998999999999</c:v>
                </c:pt>
                <c:pt idx="3682">
                  <c:v>2.7363998999999999</c:v>
                </c:pt>
                <c:pt idx="3683">
                  <c:v>2.7365998999999999</c:v>
                </c:pt>
                <c:pt idx="3684">
                  <c:v>2.7368000000000001</c:v>
                </c:pt>
                <c:pt idx="3685">
                  <c:v>2.7369998</c:v>
                </c:pt>
                <c:pt idx="3686">
                  <c:v>2.7372000000000001</c:v>
                </c:pt>
                <c:pt idx="3687">
                  <c:v>2.7374000999999999</c:v>
                </c:pt>
                <c:pt idx="3688">
                  <c:v>2.7375997999999999</c:v>
                </c:pt>
                <c:pt idx="3689">
                  <c:v>2.7377999000000002</c:v>
                </c:pt>
                <c:pt idx="3690">
                  <c:v>2.7379997</c:v>
                </c:pt>
                <c:pt idx="3691">
                  <c:v>2.7381999000000001</c:v>
                </c:pt>
                <c:pt idx="3692">
                  <c:v>2.7383999999999999</c:v>
                </c:pt>
                <c:pt idx="3693">
                  <c:v>2.7385997999999998</c:v>
                </c:pt>
                <c:pt idx="3694">
                  <c:v>2.7387999999999999</c:v>
                </c:pt>
                <c:pt idx="3695">
                  <c:v>2.7390001000000002</c:v>
                </c:pt>
                <c:pt idx="3696">
                  <c:v>2.7391999</c:v>
                </c:pt>
                <c:pt idx="3697">
                  <c:v>2.7393999</c:v>
                </c:pt>
                <c:pt idx="3698">
                  <c:v>2.7395996999999999</c:v>
                </c:pt>
                <c:pt idx="3699">
                  <c:v>2.7397999999999998</c:v>
                </c:pt>
                <c:pt idx="3700">
                  <c:v>2.74</c:v>
                </c:pt>
                <c:pt idx="3701">
                  <c:v>2.7401998000000001</c:v>
                </c:pt>
                <c:pt idx="3702">
                  <c:v>2.7404001</c:v>
                </c:pt>
                <c:pt idx="3703">
                  <c:v>2.7405998999999999</c:v>
                </c:pt>
                <c:pt idx="3704">
                  <c:v>2.7407998999999998</c:v>
                </c:pt>
                <c:pt idx="3705">
                  <c:v>2.7409998999999998</c:v>
                </c:pt>
                <c:pt idx="3706">
                  <c:v>2.7411997000000001</c:v>
                </c:pt>
                <c:pt idx="3707">
                  <c:v>2.7414000000000001</c:v>
                </c:pt>
                <c:pt idx="3708">
                  <c:v>2.7416</c:v>
                </c:pt>
                <c:pt idx="3709">
                  <c:v>2.7417997999999999</c:v>
                </c:pt>
                <c:pt idx="3710">
                  <c:v>2.7420000999999998</c:v>
                </c:pt>
                <c:pt idx="3711">
                  <c:v>2.7421999000000001</c:v>
                </c:pt>
                <c:pt idx="3712">
                  <c:v>2.7423999000000001</c:v>
                </c:pt>
                <c:pt idx="3713">
                  <c:v>2.7425999999999999</c:v>
                </c:pt>
                <c:pt idx="3714">
                  <c:v>2.7427997999999998</c:v>
                </c:pt>
                <c:pt idx="3715">
                  <c:v>2.7429999999999999</c:v>
                </c:pt>
                <c:pt idx="3716">
                  <c:v>2.7431998000000002</c:v>
                </c:pt>
                <c:pt idx="3717">
                  <c:v>2.7433999</c:v>
                </c:pt>
                <c:pt idx="3718">
                  <c:v>2.7436001000000001</c:v>
                </c:pt>
                <c:pt idx="3719">
                  <c:v>2.7437999</c:v>
                </c:pt>
                <c:pt idx="3720">
                  <c:v>2.7440000000000002</c:v>
                </c:pt>
                <c:pt idx="3721">
                  <c:v>2.7441998000000001</c:v>
                </c:pt>
                <c:pt idx="3722">
                  <c:v>2.7443998000000001</c:v>
                </c:pt>
                <c:pt idx="3723">
                  <c:v>2.7446001</c:v>
                </c:pt>
                <c:pt idx="3724">
                  <c:v>2.7447998999999998</c:v>
                </c:pt>
                <c:pt idx="3725">
                  <c:v>2.7449998999999998</c:v>
                </c:pt>
                <c:pt idx="3726">
                  <c:v>2.7452002000000002</c:v>
                </c:pt>
                <c:pt idx="3727">
                  <c:v>2.7454000000000001</c:v>
                </c:pt>
                <c:pt idx="3728">
                  <c:v>2.7456</c:v>
                </c:pt>
                <c:pt idx="3729">
                  <c:v>2.7457997999999999</c:v>
                </c:pt>
                <c:pt idx="3730">
                  <c:v>2.7459997999999999</c:v>
                </c:pt>
                <c:pt idx="3731">
                  <c:v>2.7462000999999998</c:v>
                </c:pt>
                <c:pt idx="3732">
                  <c:v>2.7463999000000001</c:v>
                </c:pt>
                <c:pt idx="3733">
                  <c:v>2.7465999000000001</c:v>
                </c:pt>
                <c:pt idx="3734">
                  <c:v>2.7467999000000001</c:v>
                </c:pt>
                <c:pt idx="3735">
                  <c:v>2.7469999999999999</c:v>
                </c:pt>
                <c:pt idx="3736">
                  <c:v>2.7471999999999999</c:v>
                </c:pt>
                <c:pt idx="3737">
                  <c:v>2.7473998000000002</c:v>
                </c:pt>
                <c:pt idx="3738">
                  <c:v>2.7475998000000001</c:v>
                </c:pt>
                <c:pt idx="3739">
                  <c:v>2.7477999</c:v>
                </c:pt>
                <c:pt idx="3740">
                  <c:v>2.7479998999999999</c:v>
                </c:pt>
                <c:pt idx="3741">
                  <c:v>2.7481998999999999</c:v>
                </c:pt>
                <c:pt idx="3742">
                  <c:v>2.7484000000000002</c:v>
                </c:pt>
                <c:pt idx="3743">
                  <c:v>2.7486000000000002</c:v>
                </c:pt>
                <c:pt idx="3744">
                  <c:v>2.7488000000000001</c:v>
                </c:pt>
                <c:pt idx="3745">
                  <c:v>2.7489998</c:v>
                </c:pt>
                <c:pt idx="3746">
                  <c:v>2.7491998999999998</c:v>
                </c:pt>
                <c:pt idx="3747">
                  <c:v>2.7493998999999998</c:v>
                </c:pt>
                <c:pt idx="3748">
                  <c:v>2.7495999000000002</c:v>
                </c:pt>
                <c:pt idx="3749">
                  <c:v>2.7498</c:v>
                </c:pt>
                <c:pt idx="3750">
                  <c:v>2.75</c:v>
                </c:pt>
                <c:pt idx="3751">
                  <c:v>2.7502</c:v>
                </c:pt>
                <c:pt idx="3752">
                  <c:v>2.7503997999999998</c:v>
                </c:pt>
                <c:pt idx="3753">
                  <c:v>2.7505999000000001</c:v>
                </c:pt>
                <c:pt idx="3754">
                  <c:v>2.7507999000000001</c:v>
                </c:pt>
                <c:pt idx="3755">
                  <c:v>2.7509999000000001</c:v>
                </c:pt>
                <c:pt idx="3756">
                  <c:v>2.7511999999999999</c:v>
                </c:pt>
                <c:pt idx="3757">
                  <c:v>2.7513998000000002</c:v>
                </c:pt>
                <c:pt idx="3758">
                  <c:v>2.7515999999999998</c:v>
                </c:pt>
                <c:pt idx="3759">
                  <c:v>2.7518001000000001</c:v>
                </c:pt>
                <c:pt idx="3760">
                  <c:v>2.7519998999999999</c:v>
                </c:pt>
                <c:pt idx="3761">
                  <c:v>2.7521998999999999</c:v>
                </c:pt>
                <c:pt idx="3762">
                  <c:v>2.7523996999999998</c:v>
                </c:pt>
                <c:pt idx="3763">
                  <c:v>2.7526000000000002</c:v>
                </c:pt>
                <c:pt idx="3764">
                  <c:v>2.7528000000000001</c:v>
                </c:pt>
                <c:pt idx="3765">
                  <c:v>2.7529998</c:v>
                </c:pt>
                <c:pt idx="3766">
                  <c:v>2.7532000999999999</c:v>
                </c:pt>
                <c:pt idx="3767">
                  <c:v>2.7534000999999999</c:v>
                </c:pt>
                <c:pt idx="3768">
                  <c:v>2.7535999000000002</c:v>
                </c:pt>
                <c:pt idx="3769">
                  <c:v>2.7537999000000002</c:v>
                </c:pt>
                <c:pt idx="3770">
                  <c:v>2.7539997000000001</c:v>
                </c:pt>
                <c:pt idx="3771">
                  <c:v>2.7542</c:v>
                </c:pt>
                <c:pt idx="3772">
                  <c:v>2.7544</c:v>
                </c:pt>
                <c:pt idx="3773">
                  <c:v>2.7545997999999998</c:v>
                </c:pt>
                <c:pt idx="3774">
                  <c:v>2.7548001000000002</c:v>
                </c:pt>
                <c:pt idx="3775">
                  <c:v>2.7549999000000001</c:v>
                </c:pt>
                <c:pt idx="3776">
                  <c:v>2.7551999</c:v>
                </c:pt>
                <c:pt idx="3777">
                  <c:v>2.7553999</c:v>
                </c:pt>
                <c:pt idx="3778">
                  <c:v>2.7555996999999999</c:v>
                </c:pt>
                <c:pt idx="3779">
                  <c:v>2.7557999999999998</c:v>
                </c:pt>
                <c:pt idx="3780">
                  <c:v>2.7559998000000001</c:v>
                </c:pt>
                <c:pt idx="3781">
                  <c:v>2.7561998000000001</c:v>
                </c:pt>
                <c:pt idx="3782">
                  <c:v>2.7564001</c:v>
                </c:pt>
                <c:pt idx="3783">
                  <c:v>2.7565998999999999</c:v>
                </c:pt>
                <c:pt idx="3784">
                  <c:v>2.7567998999999999</c:v>
                </c:pt>
                <c:pt idx="3785">
                  <c:v>2.7570000000000001</c:v>
                </c:pt>
                <c:pt idx="3786">
                  <c:v>2.7571998</c:v>
                </c:pt>
                <c:pt idx="3787">
                  <c:v>2.7574000000000001</c:v>
                </c:pt>
                <c:pt idx="3788">
                  <c:v>2.7575997999999999</c:v>
                </c:pt>
                <c:pt idx="3789">
                  <c:v>2.7577999000000002</c:v>
                </c:pt>
                <c:pt idx="3790">
                  <c:v>2.7580000999999998</c:v>
                </c:pt>
                <c:pt idx="3791">
                  <c:v>2.7581999000000001</c:v>
                </c:pt>
                <c:pt idx="3792">
                  <c:v>2.7584</c:v>
                </c:pt>
                <c:pt idx="3793">
                  <c:v>2.7585997999999998</c:v>
                </c:pt>
                <c:pt idx="3794">
                  <c:v>2.7587997999999998</c:v>
                </c:pt>
                <c:pt idx="3795">
                  <c:v>2.7590001000000002</c:v>
                </c:pt>
                <c:pt idx="3796">
                  <c:v>2.7591999</c:v>
                </c:pt>
                <c:pt idx="3797">
                  <c:v>2.7593999</c:v>
                </c:pt>
                <c:pt idx="3798">
                  <c:v>2.7596001999999999</c:v>
                </c:pt>
                <c:pt idx="3799">
                  <c:v>2.7597999999999998</c:v>
                </c:pt>
                <c:pt idx="3800">
                  <c:v>2.76</c:v>
                </c:pt>
                <c:pt idx="3801">
                  <c:v>2.7601998000000001</c:v>
                </c:pt>
                <c:pt idx="3802">
                  <c:v>2.7603998000000001</c:v>
                </c:pt>
                <c:pt idx="3803">
                  <c:v>2.7606001</c:v>
                </c:pt>
                <c:pt idx="3804">
                  <c:v>2.7607998999999999</c:v>
                </c:pt>
                <c:pt idx="3805">
                  <c:v>2.7609998999999998</c:v>
                </c:pt>
                <c:pt idx="3806">
                  <c:v>2.7612000000000001</c:v>
                </c:pt>
                <c:pt idx="3807">
                  <c:v>2.7614000000000001</c:v>
                </c:pt>
                <c:pt idx="3808">
                  <c:v>2.7616000000000001</c:v>
                </c:pt>
                <c:pt idx="3809">
                  <c:v>2.7617997999999999</c:v>
                </c:pt>
                <c:pt idx="3810">
                  <c:v>2.7619997999999999</c:v>
                </c:pt>
                <c:pt idx="3811">
                  <c:v>2.7621999000000002</c:v>
                </c:pt>
                <c:pt idx="3812">
                  <c:v>2.7623999000000001</c:v>
                </c:pt>
                <c:pt idx="3813">
                  <c:v>2.7625999000000001</c:v>
                </c:pt>
                <c:pt idx="3814">
                  <c:v>2.7627999999999999</c:v>
                </c:pt>
                <c:pt idx="3815">
                  <c:v>2.7629999999999999</c:v>
                </c:pt>
                <c:pt idx="3816">
                  <c:v>2.7631998000000002</c:v>
                </c:pt>
                <c:pt idx="3817">
                  <c:v>2.7633998000000002</c:v>
                </c:pt>
                <c:pt idx="3818">
                  <c:v>2.7635999</c:v>
                </c:pt>
                <c:pt idx="3819">
                  <c:v>2.7637999</c:v>
                </c:pt>
                <c:pt idx="3820">
                  <c:v>2.7639999</c:v>
                </c:pt>
                <c:pt idx="3821">
                  <c:v>2.7642000000000002</c:v>
                </c:pt>
                <c:pt idx="3822">
                  <c:v>2.7644000000000002</c:v>
                </c:pt>
                <c:pt idx="3823">
                  <c:v>2.7646000000000002</c:v>
                </c:pt>
                <c:pt idx="3824">
                  <c:v>2.7647998</c:v>
                </c:pt>
                <c:pt idx="3825">
                  <c:v>2.7649998999999998</c:v>
                </c:pt>
                <c:pt idx="3826">
                  <c:v>2.7651998999999998</c:v>
                </c:pt>
                <c:pt idx="3827">
                  <c:v>2.7653998999999998</c:v>
                </c:pt>
                <c:pt idx="3828">
                  <c:v>2.7656000000000001</c:v>
                </c:pt>
                <c:pt idx="3829">
                  <c:v>2.7657997999999999</c:v>
                </c:pt>
                <c:pt idx="3830">
                  <c:v>2.766</c:v>
                </c:pt>
                <c:pt idx="3831">
                  <c:v>2.7662000999999998</c:v>
                </c:pt>
                <c:pt idx="3832">
                  <c:v>2.7663999000000001</c:v>
                </c:pt>
                <c:pt idx="3833">
                  <c:v>2.7665999000000001</c:v>
                </c:pt>
                <c:pt idx="3834">
                  <c:v>2.7667997</c:v>
                </c:pt>
                <c:pt idx="3835">
                  <c:v>2.7669999999999999</c:v>
                </c:pt>
                <c:pt idx="3836">
                  <c:v>2.7671999999999999</c:v>
                </c:pt>
                <c:pt idx="3837">
                  <c:v>2.7673998000000002</c:v>
                </c:pt>
                <c:pt idx="3838">
                  <c:v>2.7676001000000001</c:v>
                </c:pt>
                <c:pt idx="3839">
                  <c:v>2.7678001000000001</c:v>
                </c:pt>
                <c:pt idx="3840">
                  <c:v>2.7679999</c:v>
                </c:pt>
                <c:pt idx="3841">
                  <c:v>2.7681998999999999</c:v>
                </c:pt>
                <c:pt idx="3842">
                  <c:v>2.7683996999999998</c:v>
                </c:pt>
                <c:pt idx="3843">
                  <c:v>2.7686000000000002</c:v>
                </c:pt>
                <c:pt idx="3844">
                  <c:v>2.7688000000000001</c:v>
                </c:pt>
                <c:pt idx="3845">
                  <c:v>2.7689998</c:v>
                </c:pt>
                <c:pt idx="3846">
                  <c:v>2.7692000999999999</c:v>
                </c:pt>
                <c:pt idx="3847">
                  <c:v>2.7693998999999998</c:v>
                </c:pt>
                <c:pt idx="3848">
                  <c:v>2.7695998999999998</c:v>
                </c:pt>
                <c:pt idx="3849">
                  <c:v>2.7697999000000002</c:v>
                </c:pt>
                <c:pt idx="3850">
                  <c:v>2.7699997000000001</c:v>
                </c:pt>
                <c:pt idx="3851">
                  <c:v>2.7702</c:v>
                </c:pt>
                <c:pt idx="3852">
                  <c:v>2.7703997999999999</c:v>
                </c:pt>
                <c:pt idx="3853">
                  <c:v>2.7705997999999998</c:v>
                </c:pt>
                <c:pt idx="3854">
                  <c:v>2.7708001000000002</c:v>
                </c:pt>
                <c:pt idx="3855">
                  <c:v>2.7709999000000001</c:v>
                </c:pt>
                <c:pt idx="3856">
                  <c:v>2.7711999</c:v>
                </c:pt>
                <c:pt idx="3857">
                  <c:v>2.7713999999999999</c:v>
                </c:pt>
                <c:pt idx="3858">
                  <c:v>2.7715998000000002</c:v>
                </c:pt>
                <c:pt idx="3859">
                  <c:v>2.7717999999999998</c:v>
                </c:pt>
                <c:pt idx="3860">
                  <c:v>2.7719998000000001</c:v>
                </c:pt>
                <c:pt idx="3861">
                  <c:v>2.7721998999999999</c:v>
                </c:pt>
                <c:pt idx="3862">
                  <c:v>2.7724001</c:v>
                </c:pt>
                <c:pt idx="3863">
                  <c:v>2.7725998999999999</c:v>
                </c:pt>
                <c:pt idx="3864">
                  <c:v>2.7728000000000002</c:v>
                </c:pt>
                <c:pt idx="3865">
                  <c:v>2.7729998</c:v>
                </c:pt>
                <c:pt idx="3866">
                  <c:v>2.7731998</c:v>
                </c:pt>
                <c:pt idx="3867">
                  <c:v>2.7734000999999999</c:v>
                </c:pt>
                <c:pt idx="3868">
                  <c:v>2.7735998999999998</c:v>
                </c:pt>
                <c:pt idx="3869">
                  <c:v>2.7737999000000002</c:v>
                </c:pt>
                <c:pt idx="3870">
                  <c:v>2.7740002000000001</c:v>
                </c:pt>
                <c:pt idx="3871">
                  <c:v>2.7742</c:v>
                </c:pt>
                <c:pt idx="3872">
                  <c:v>2.7744</c:v>
                </c:pt>
                <c:pt idx="3873">
                  <c:v>2.7745997999999998</c:v>
                </c:pt>
                <c:pt idx="3874">
                  <c:v>2.7747997999999998</c:v>
                </c:pt>
                <c:pt idx="3875">
                  <c:v>2.7750001000000002</c:v>
                </c:pt>
                <c:pt idx="3876">
                  <c:v>2.7751999000000001</c:v>
                </c:pt>
                <c:pt idx="3877">
                  <c:v>2.7753999</c:v>
                </c:pt>
                <c:pt idx="3878">
                  <c:v>2.7755999999999998</c:v>
                </c:pt>
                <c:pt idx="3879">
                  <c:v>2.7757999999999998</c:v>
                </c:pt>
                <c:pt idx="3880">
                  <c:v>2.7759999999999998</c:v>
                </c:pt>
                <c:pt idx="3881">
                  <c:v>2.7761998000000001</c:v>
                </c:pt>
                <c:pt idx="3882">
                  <c:v>2.7763998999999999</c:v>
                </c:pt>
                <c:pt idx="3883">
                  <c:v>2.7765998999999999</c:v>
                </c:pt>
                <c:pt idx="3884">
                  <c:v>2.7767998999999999</c:v>
                </c:pt>
                <c:pt idx="3885">
                  <c:v>2.7770000000000001</c:v>
                </c:pt>
                <c:pt idx="3886">
                  <c:v>2.7772000000000001</c:v>
                </c:pt>
                <c:pt idx="3887">
                  <c:v>2.7774000000000001</c:v>
                </c:pt>
                <c:pt idx="3888">
                  <c:v>2.7775998</c:v>
                </c:pt>
                <c:pt idx="3889">
                  <c:v>2.7777997999999999</c:v>
                </c:pt>
                <c:pt idx="3890">
                  <c:v>2.7779999000000002</c:v>
                </c:pt>
                <c:pt idx="3891">
                  <c:v>2.7781999000000002</c:v>
                </c:pt>
                <c:pt idx="3892">
                  <c:v>2.7783999000000001</c:v>
                </c:pt>
                <c:pt idx="3893">
                  <c:v>2.7785997</c:v>
                </c:pt>
                <c:pt idx="3894">
                  <c:v>2.7787999999999999</c:v>
                </c:pt>
                <c:pt idx="3895">
                  <c:v>2.7789999999999999</c:v>
                </c:pt>
                <c:pt idx="3896">
                  <c:v>2.7791998000000002</c:v>
                </c:pt>
                <c:pt idx="3897">
                  <c:v>2.7793999</c:v>
                </c:pt>
                <c:pt idx="3898">
                  <c:v>2.7795999</c:v>
                </c:pt>
                <c:pt idx="3899">
                  <c:v>2.7797999</c:v>
                </c:pt>
                <c:pt idx="3900">
                  <c:v>2.78</c:v>
                </c:pt>
                <c:pt idx="3901">
                  <c:v>2.7801998000000001</c:v>
                </c:pt>
                <c:pt idx="3902">
                  <c:v>2.7804000000000002</c:v>
                </c:pt>
                <c:pt idx="3903">
                  <c:v>2.7806001</c:v>
                </c:pt>
                <c:pt idx="3904">
                  <c:v>2.7807998999999999</c:v>
                </c:pt>
                <c:pt idx="3905">
                  <c:v>2.7809998999999999</c:v>
                </c:pt>
                <c:pt idx="3906">
                  <c:v>2.7811997000000002</c:v>
                </c:pt>
                <c:pt idx="3907">
                  <c:v>2.7814000000000001</c:v>
                </c:pt>
                <c:pt idx="3908">
                  <c:v>2.7816000000000001</c:v>
                </c:pt>
                <c:pt idx="3909">
                  <c:v>2.7817997999999999</c:v>
                </c:pt>
                <c:pt idx="3910">
                  <c:v>2.7820000999999999</c:v>
                </c:pt>
                <c:pt idx="3911">
                  <c:v>2.7822000999999998</c:v>
                </c:pt>
                <c:pt idx="3912">
                  <c:v>2.7823999000000001</c:v>
                </c:pt>
                <c:pt idx="3913">
                  <c:v>2.7825999000000001</c:v>
                </c:pt>
                <c:pt idx="3914">
                  <c:v>2.7827997</c:v>
                </c:pt>
                <c:pt idx="3915">
                  <c:v>2.7829999999999999</c:v>
                </c:pt>
                <c:pt idx="3916">
                  <c:v>2.7831999999999999</c:v>
                </c:pt>
                <c:pt idx="3917">
                  <c:v>2.7833998000000002</c:v>
                </c:pt>
                <c:pt idx="3918">
                  <c:v>2.7836001000000001</c:v>
                </c:pt>
                <c:pt idx="3919">
                  <c:v>2.7837999</c:v>
                </c:pt>
                <c:pt idx="3920">
                  <c:v>2.7839999</c:v>
                </c:pt>
                <c:pt idx="3921">
                  <c:v>2.7841999999999998</c:v>
                </c:pt>
                <c:pt idx="3922">
                  <c:v>2.7843996999999998</c:v>
                </c:pt>
                <c:pt idx="3923">
                  <c:v>2.7846000000000002</c:v>
                </c:pt>
                <c:pt idx="3924">
                  <c:v>2.7847998</c:v>
                </c:pt>
                <c:pt idx="3925">
                  <c:v>2.7849998</c:v>
                </c:pt>
                <c:pt idx="3926">
                  <c:v>2.7852001</c:v>
                </c:pt>
                <c:pt idx="3927">
                  <c:v>2.7853998999999998</c:v>
                </c:pt>
                <c:pt idx="3928">
                  <c:v>2.7855998999999998</c:v>
                </c:pt>
                <c:pt idx="3929">
                  <c:v>2.7857997000000001</c:v>
                </c:pt>
                <c:pt idx="3930">
                  <c:v>2.7859997999999999</c:v>
                </c:pt>
                <c:pt idx="3931">
                  <c:v>2.7862</c:v>
                </c:pt>
                <c:pt idx="3932">
                  <c:v>2.7863997999999999</c:v>
                </c:pt>
                <c:pt idx="3933">
                  <c:v>2.7865999000000001</c:v>
                </c:pt>
                <c:pt idx="3934">
                  <c:v>2.7868000999999998</c:v>
                </c:pt>
                <c:pt idx="3935">
                  <c:v>2.7869999000000001</c:v>
                </c:pt>
                <c:pt idx="3936">
                  <c:v>2.7871999999999999</c:v>
                </c:pt>
                <c:pt idx="3937">
                  <c:v>2.7873998000000002</c:v>
                </c:pt>
                <c:pt idx="3938">
                  <c:v>2.7875998000000002</c:v>
                </c:pt>
                <c:pt idx="3939">
                  <c:v>2.7878001000000001</c:v>
                </c:pt>
                <c:pt idx="3940">
                  <c:v>2.7879999</c:v>
                </c:pt>
                <c:pt idx="3941">
                  <c:v>2.7881999</c:v>
                </c:pt>
                <c:pt idx="3942">
                  <c:v>2.7883998999999999</c:v>
                </c:pt>
                <c:pt idx="3943">
                  <c:v>2.7886000000000002</c:v>
                </c:pt>
                <c:pt idx="3944">
                  <c:v>2.7888000000000002</c:v>
                </c:pt>
                <c:pt idx="3945">
                  <c:v>2.7889998</c:v>
                </c:pt>
                <c:pt idx="3946">
                  <c:v>2.7891998</c:v>
                </c:pt>
                <c:pt idx="3947">
                  <c:v>2.7894000999999999</c:v>
                </c:pt>
                <c:pt idx="3948">
                  <c:v>2.7895998999999998</c:v>
                </c:pt>
                <c:pt idx="3949">
                  <c:v>2.7897999000000002</c:v>
                </c:pt>
                <c:pt idx="3950">
                  <c:v>2.79</c:v>
                </c:pt>
                <c:pt idx="3951">
                  <c:v>2.7902</c:v>
                </c:pt>
                <c:pt idx="3952">
                  <c:v>2.7904</c:v>
                </c:pt>
                <c:pt idx="3953">
                  <c:v>2.7905997999999999</c:v>
                </c:pt>
                <c:pt idx="3954">
                  <c:v>2.7907999000000001</c:v>
                </c:pt>
                <c:pt idx="3955">
                  <c:v>2.7909999000000001</c:v>
                </c:pt>
                <c:pt idx="3956">
                  <c:v>2.7911999000000001</c:v>
                </c:pt>
                <c:pt idx="3957">
                  <c:v>2.7913999999999999</c:v>
                </c:pt>
                <c:pt idx="3958">
                  <c:v>2.7915999999999999</c:v>
                </c:pt>
                <c:pt idx="3959">
                  <c:v>2.7917999999999998</c:v>
                </c:pt>
                <c:pt idx="3960">
                  <c:v>2.7919998000000001</c:v>
                </c:pt>
                <c:pt idx="3961">
                  <c:v>2.7921999</c:v>
                </c:pt>
                <c:pt idx="3962">
                  <c:v>2.7923998999999999</c:v>
                </c:pt>
                <c:pt idx="3963">
                  <c:v>2.7925998999999999</c:v>
                </c:pt>
                <c:pt idx="3964">
                  <c:v>2.7927998999999999</c:v>
                </c:pt>
                <c:pt idx="3965">
                  <c:v>2.7929997000000002</c:v>
                </c:pt>
                <c:pt idx="3966">
                  <c:v>2.7932000000000001</c:v>
                </c:pt>
                <c:pt idx="3967">
                  <c:v>2.7934000000000001</c:v>
                </c:pt>
                <c:pt idx="3968">
                  <c:v>2.7935998</c:v>
                </c:pt>
                <c:pt idx="3969">
                  <c:v>2.7937998999999998</c:v>
                </c:pt>
                <c:pt idx="3970">
                  <c:v>2.7939999000000002</c:v>
                </c:pt>
                <c:pt idx="3971">
                  <c:v>2.7941999000000002</c:v>
                </c:pt>
                <c:pt idx="3972">
                  <c:v>2.7944</c:v>
                </c:pt>
                <c:pt idx="3973">
                  <c:v>2.7945997999999999</c:v>
                </c:pt>
                <c:pt idx="3974">
                  <c:v>2.7948</c:v>
                </c:pt>
                <c:pt idx="3975">
                  <c:v>2.7950001000000002</c:v>
                </c:pt>
                <c:pt idx="3976">
                  <c:v>2.7951999000000001</c:v>
                </c:pt>
                <c:pt idx="3977">
                  <c:v>2.7953999</c:v>
                </c:pt>
                <c:pt idx="3978">
                  <c:v>2.7955996999999999</c:v>
                </c:pt>
                <c:pt idx="3979">
                  <c:v>2.7957999999999998</c:v>
                </c:pt>
                <c:pt idx="3980">
                  <c:v>2.7959999999999998</c:v>
                </c:pt>
                <c:pt idx="3981">
                  <c:v>2.7961998000000001</c:v>
                </c:pt>
                <c:pt idx="3982">
                  <c:v>2.7964001000000001</c:v>
                </c:pt>
                <c:pt idx="3983">
                  <c:v>2.7966001</c:v>
                </c:pt>
                <c:pt idx="3984">
                  <c:v>2.7967998999999999</c:v>
                </c:pt>
                <c:pt idx="3985">
                  <c:v>2.7969998999999999</c:v>
                </c:pt>
                <c:pt idx="3986">
                  <c:v>2.7971997000000002</c:v>
                </c:pt>
                <c:pt idx="3987">
                  <c:v>2.7974000000000001</c:v>
                </c:pt>
                <c:pt idx="3988">
                  <c:v>2.7976000000000001</c:v>
                </c:pt>
                <c:pt idx="3989">
                  <c:v>2.7977997999999999</c:v>
                </c:pt>
                <c:pt idx="3990">
                  <c:v>2.7980000999999999</c:v>
                </c:pt>
                <c:pt idx="3991">
                  <c:v>2.7981999000000002</c:v>
                </c:pt>
                <c:pt idx="3992">
                  <c:v>2.7983999000000002</c:v>
                </c:pt>
                <c:pt idx="3993">
                  <c:v>2.7986</c:v>
                </c:pt>
                <c:pt idx="3994">
                  <c:v>2.7987997999999998</c:v>
                </c:pt>
                <c:pt idx="3995">
                  <c:v>2.7989999999999999</c:v>
                </c:pt>
                <c:pt idx="3996">
                  <c:v>2.7991997999999998</c:v>
                </c:pt>
                <c:pt idx="3997">
                  <c:v>2.7993999000000001</c:v>
                </c:pt>
                <c:pt idx="3998">
                  <c:v>2.7996001000000001</c:v>
                </c:pt>
                <c:pt idx="3999">
                  <c:v>2.7997999</c:v>
                </c:pt>
                <c:pt idx="4000">
                  <c:v>2.8</c:v>
                </c:pt>
                <c:pt idx="4001">
                  <c:v>2.8001996999999998</c:v>
                </c:pt>
                <c:pt idx="4002">
                  <c:v>2.8003998000000001</c:v>
                </c:pt>
                <c:pt idx="4003">
                  <c:v>2.8006001</c:v>
                </c:pt>
                <c:pt idx="4004">
                  <c:v>2.8007998000000001</c:v>
                </c:pt>
                <c:pt idx="4005">
                  <c:v>2.8009998999999999</c:v>
                </c:pt>
                <c:pt idx="4006">
                  <c:v>2.8012001999999998</c:v>
                </c:pt>
                <c:pt idx="4007">
                  <c:v>2.8013998999999998</c:v>
                </c:pt>
                <c:pt idx="4008">
                  <c:v>2.8016000000000001</c:v>
                </c:pt>
                <c:pt idx="4009">
                  <c:v>2.8017998</c:v>
                </c:pt>
                <c:pt idx="4010">
                  <c:v>2.8019997999999999</c:v>
                </c:pt>
                <c:pt idx="4011">
                  <c:v>2.8022000999999999</c:v>
                </c:pt>
                <c:pt idx="4012">
                  <c:v>2.8023999000000002</c:v>
                </c:pt>
                <c:pt idx="4013">
                  <c:v>2.8025999000000001</c:v>
                </c:pt>
                <c:pt idx="4014">
                  <c:v>2.8027999000000001</c:v>
                </c:pt>
                <c:pt idx="4015">
                  <c:v>2.8029999999999999</c:v>
                </c:pt>
                <c:pt idx="4016">
                  <c:v>2.8031999999999999</c:v>
                </c:pt>
                <c:pt idx="4017">
                  <c:v>2.8033998000000002</c:v>
                </c:pt>
                <c:pt idx="4018">
                  <c:v>2.8035998000000002</c:v>
                </c:pt>
                <c:pt idx="4019">
                  <c:v>2.8037999</c:v>
                </c:pt>
                <c:pt idx="4020">
                  <c:v>2.8039999</c:v>
                </c:pt>
                <c:pt idx="4021">
                  <c:v>2.8041999</c:v>
                </c:pt>
                <c:pt idx="4022">
                  <c:v>2.8043999999999998</c:v>
                </c:pt>
                <c:pt idx="4023">
                  <c:v>2.8046000000000002</c:v>
                </c:pt>
                <c:pt idx="4024">
                  <c:v>2.8048000000000002</c:v>
                </c:pt>
                <c:pt idx="4025">
                  <c:v>2.8049998</c:v>
                </c:pt>
                <c:pt idx="4026">
                  <c:v>2.8051998999999999</c:v>
                </c:pt>
                <c:pt idx="4027">
                  <c:v>2.8053998999999998</c:v>
                </c:pt>
                <c:pt idx="4028">
                  <c:v>2.8055998999999998</c:v>
                </c:pt>
                <c:pt idx="4029">
                  <c:v>2.8058000000000001</c:v>
                </c:pt>
                <c:pt idx="4030">
                  <c:v>2.806</c:v>
                </c:pt>
                <c:pt idx="4031">
                  <c:v>2.8062</c:v>
                </c:pt>
                <c:pt idx="4032">
                  <c:v>2.8063997999999999</c:v>
                </c:pt>
                <c:pt idx="4033">
                  <c:v>2.8065999000000001</c:v>
                </c:pt>
                <c:pt idx="4034">
                  <c:v>2.8067999000000001</c:v>
                </c:pt>
                <c:pt idx="4035">
                  <c:v>2.8069999000000001</c:v>
                </c:pt>
                <c:pt idx="4036">
                  <c:v>2.8071999999999999</c:v>
                </c:pt>
                <c:pt idx="4037">
                  <c:v>2.8073996999999999</c:v>
                </c:pt>
                <c:pt idx="4038">
                  <c:v>2.8075999999999999</c:v>
                </c:pt>
                <c:pt idx="4039">
                  <c:v>2.8078001000000001</c:v>
                </c:pt>
                <c:pt idx="4040">
                  <c:v>2.8079998000000002</c:v>
                </c:pt>
                <c:pt idx="4041">
                  <c:v>2.8081999</c:v>
                </c:pt>
                <c:pt idx="4042">
                  <c:v>2.8083996999999998</c:v>
                </c:pt>
                <c:pt idx="4043">
                  <c:v>2.8085998999999999</c:v>
                </c:pt>
                <c:pt idx="4044">
                  <c:v>2.8088000000000002</c:v>
                </c:pt>
                <c:pt idx="4045">
                  <c:v>2.8089998</c:v>
                </c:pt>
                <c:pt idx="4046">
                  <c:v>2.8092000000000001</c:v>
                </c:pt>
                <c:pt idx="4047">
                  <c:v>2.8094001</c:v>
                </c:pt>
                <c:pt idx="4048">
                  <c:v>2.8095998999999998</c:v>
                </c:pt>
                <c:pt idx="4049">
                  <c:v>2.8097998999999998</c:v>
                </c:pt>
                <c:pt idx="4050">
                  <c:v>2.8099997000000001</c:v>
                </c:pt>
                <c:pt idx="4051">
                  <c:v>2.8102</c:v>
                </c:pt>
                <c:pt idx="4052">
                  <c:v>2.8104</c:v>
                </c:pt>
                <c:pt idx="4053">
                  <c:v>2.8105997999999999</c:v>
                </c:pt>
                <c:pt idx="4054">
                  <c:v>2.8108000999999998</c:v>
                </c:pt>
                <c:pt idx="4055">
                  <c:v>2.8109999000000001</c:v>
                </c:pt>
                <c:pt idx="4056">
                  <c:v>2.8111999000000001</c:v>
                </c:pt>
                <c:pt idx="4057">
                  <c:v>2.8113999000000001</c:v>
                </c:pt>
                <c:pt idx="4058">
                  <c:v>2.8115996999999999</c:v>
                </c:pt>
                <c:pt idx="4059">
                  <c:v>2.8117999999999999</c:v>
                </c:pt>
                <c:pt idx="4060">
                  <c:v>2.8119999999999998</c:v>
                </c:pt>
                <c:pt idx="4061">
                  <c:v>2.8121998000000001</c:v>
                </c:pt>
                <c:pt idx="4062">
                  <c:v>2.8124001000000001</c:v>
                </c:pt>
                <c:pt idx="4063">
                  <c:v>2.8125998999999999</c:v>
                </c:pt>
                <c:pt idx="4064">
                  <c:v>2.8127998999999999</c:v>
                </c:pt>
                <c:pt idx="4065">
                  <c:v>2.8130000000000002</c:v>
                </c:pt>
                <c:pt idx="4066">
                  <c:v>2.8131998</c:v>
                </c:pt>
                <c:pt idx="4067">
                  <c:v>2.8134000000000001</c:v>
                </c:pt>
                <c:pt idx="4068">
                  <c:v>2.8135998</c:v>
                </c:pt>
                <c:pt idx="4069">
                  <c:v>2.8137998999999998</c:v>
                </c:pt>
                <c:pt idx="4070">
                  <c:v>2.8140000999999999</c:v>
                </c:pt>
                <c:pt idx="4071">
                  <c:v>2.8141999000000002</c:v>
                </c:pt>
                <c:pt idx="4072">
                  <c:v>2.8144</c:v>
                </c:pt>
                <c:pt idx="4073">
                  <c:v>2.8145997999999999</c:v>
                </c:pt>
                <c:pt idx="4074">
                  <c:v>2.8147997999999999</c:v>
                </c:pt>
                <c:pt idx="4075">
                  <c:v>2.8150000999999998</c:v>
                </c:pt>
                <c:pt idx="4076">
                  <c:v>2.8151999000000001</c:v>
                </c:pt>
                <c:pt idx="4077">
                  <c:v>2.8153999000000001</c:v>
                </c:pt>
                <c:pt idx="4078">
                  <c:v>2.8156002</c:v>
                </c:pt>
                <c:pt idx="4079">
                  <c:v>2.8157999999999999</c:v>
                </c:pt>
                <c:pt idx="4080">
                  <c:v>2.8159999999999998</c:v>
                </c:pt>
                <c:pt idx="4081">
                  <c:v>2.8161998000000001</c:v>
                </c:pt>
                <c:pt idx="4082">
                  <c:v>2.8163998000000001</c:v>
                </c:pt>
                <c:pt idx="4083">
                  <c:v>2.8166001000000001</c:v>
                </c:pt>
                <c:pt idx="4084">
                  <c:v>2.8167998999999999</c:v>
                </c:pt>
                <c:pt idx="4085">
                  <c:v>2.8169998999999999</c:v>
                </c:pt>
                <c:pt idx="4086">
                  <c:v>2.8171998999999999</c:v>
                </c:pt>
                <c:pt idx="4087">
                  <c:v>2.8174000000000001</c:v>
                </c:pt>
                <c:pt idx="4088">
                  <c:v>2.8176000000000001</c:v>
                </c:pt>
                <c:pt idx="4089">
                  <c:v>2.8177998</c:v>
                </c:pt>
                <c:pt idx="4090">
                  <c:v>2.8179997999999999</c:v>
                </c:pt>
                <c:pt idx="4091">
                  <c:v>2.8181999000000002</c:v>
                </c:pt>
                <c:pt idx="4092">
                  <c:v>2.8183999000000002</c:v>
                </c:pt>
                <c:pt idx="4093">
                  <c:v>2.8185999000000002</c:v>
                </c:pt>
                <c:pt idx="4094">
                  <c:v>2.8188</c:v>
                </c:pt>
                <c:pt idx="4095">
                  <c:v>2.819</c:v>
                </c:pt>
                <c:pt idx="4096">
                  <c:v>2.8191999999999999</c:v>
                </c:pt>
                <c:pt idx="4097">
                  <c:v>2.8193997999999998</c:v>
                </c:pt>
                <c:pt idx="4098">
                  <c:v>2.8195999</c:v>
                </c:pt>
                <c:pt idx="4099">
                  <c:v>2.8197999</c:v>
                </c:pt>
                <c:pt idx="4100">
                  <c:v>2.8199999</c:v>
                </c:pt>
                <c:pt idx="4101">
                  <c:v>2.8201999999999998</c:v>
                </c:pt>
                <c:pt idx="4102">
                  <c:v>2.8203999999999998</c:v>
                </c:pt>
                <c:pt idx="4103">
                  <c:v>2.8206000000000002</c:v>
                </c:pt>
                <c:pt idx="4104">
                  <c:v>2.8207998000000001</c:v>
                </c:pt>
                <c:pt idx="4105">
                  <c:v>2.8209998999999999</c:v>
                </c:pt>
                <c:pt idx="4106">
                  <c:v>2.8211998999999999</c:v>
                </c:pt>
                <c:pt idx="4107">
                  <c:v>2.8213998999999998</c:v>
                </c:pt>
                <c:pt idx="4108">
                  <c:v>2.8216000000000001</c:v>
                </c:pt>
                <c:pt idx="4109">
                  <c:v>2.8217998</c:v>
                </c:pt>
                <c:pt idx="4110">
                  <c:v>2.8220000000000001</c:v>
                </c:pt>
                <c:pt idx="4111">
                  <c:v>2.8222000999999999</c:v>
                </c:pt>
                <c:pt idx="4112">
                  <c:v>2.8223999000000002</c:v>
                </c:pt>
                <c:pt idx="4113">
                  <c:v>2.8225999000000002</c:v>
                </c:pt>
                <c:pt idx="4114">
                  <c:v>2.8227997</c:v>
                </c:pt>
                <c:pt idx="4115">
                  <c:v>2.823</c:v>
                </c:pt>
                <c:pt idx="4116">
                  <c:v>2.8231999999999999</c:v>
                </c:pt>
                <c:pt idx="4117">
                  <c:v>2.8233997999999998</c:v>
                </c:pt>
                <c:pt idx="4118">
                  <c:v>2.8236001000000002</c:v>
                </c:pt>
                <c:pt idx="4119">
                  <c:v>2.8238001000000001</c:v>
                </c:pt>
                <c:pt idx="4120">
                  <c:v>2.8239999</c:v>
                </c:pt>
                <c:pt idx="4121">
                  <c:v>2.8241999</c:v>
                </c:pt>
                <c:pt idx="4122">
                  <c:v>2.8243996999999998</c:v>
                </c:pt>
                <c:pt idx="4123">
                  <c:v>2.8246000000000002</c:v>
                </c:pt>
                <c:pt idx="4124">
                  <c:v>2.8248000000000002</c:v>
                </c:pt>
                <c:pt idx="4125">
                  <c:v>2.8249998000000001</c:v>
                </c:pt>
                <c:pt idx="4126">
                  <c:v>2.8252001</c:v>
                </c:pt>
                <c:pt idx="4127">
                  <c:v>2.8253998999999999</c:v>
                </c:pt>
                <c:pt idx="4128">
                  <c:v>2.8255998999999998</c:v>
                </c:pt>
                <c:pt idx="4129">
                  <c:v>2.8257998999999998</c:v>
                </c:pt>
                <c:pt idx="4130">
                  <c:v>2.8259997000000001</c:v>
                </c:pt>
                <c:pt idx="4131">
                  <c:v>2.8262</c:v>
                </c:pt>
                <c:pt idx="4132">
                  <c:v>2.8263997999999999</c:v>
                </c:pt>
                <c:pt idx="4133">
                  <c:v>2.8265997999999999</c:v>
                </c:pt>
                <c:pt idx="4134">
                  <c:v>2.8268000999999998</c:v>
                </c:pt>
                <c:pt idx="4135">
                  <c:v>2.8269999000000001</c:v>
                </c:pt>
                <c:pt idx="4136">
                  <c:v>2.8271999000000001</c:v>
                </c:pt>
                <c:pt idx="4137">
                  <c:v>2.8273999999999999</c:v>
                </c:pt>
                <c:pt idx="4138">
                  <c:v>2.8275998000000002</c:v>
                </c:pt>
                <c:pt idx="4139">
                  <c:v>2.8277999999999999</c:v>
                </c:pt>
                <c:pt idx="4140">
                  <c:v>2.8279998000000002</c:v>
                </c:pt>
                <c:pt idx="4141">
                  <c:v>2.8281999</c:v>
                </c:pt>
                <c:pt idx="4142">
                  <c:v>2.8284001000000001</c:v>
                </c:pt>
                <c:pt idx="4143">
                  <c:v>2.8285998999999999</c:v>
                </c:pt>
                <c:pt idx="4144">
                  <c:v>2.8288000000000002</c:v>
                </c:pt>
                <c:pt idx="4145">
                  <c:v>2.8289998000000001</c:v>
                </c:pt>
                <c:pt idx="4146">
                  <c:v>2.8291998</c:v>
                </c:pt>
                <c:pt idx="4147">
                  <c:v>2.8294001</c:v>
                </c:pt>
                <c:pt idx="4148">
                  <c:v>2.8295998999999998</c:v>
                </c:pt>
                <c:pt idx="4149">
                  <c:v>2.8297998999999998</c:v>
                </c:pt>
                <c:pt idx="4150">
                  <c:v>2.8300002000000002</c:v>
                </c:pt>
                <c:pt idx="4151">
                  <c:v>2.8302</c:v>
                </c:pt>
                <c:pt idx="4152">
                  <c:v>2.8304</c:v>
                </c:pt>
                <c:pt idx="4153">
                  <c:v>2.8305997999999999</c:v>
                </c:pt>
                <c:pt idx="4154">
                  <c:v>2.8307997999999999</c:v>
                </c:pt>
                <c:pt idx="4155">
                  <c:v>2.8310000999999998</c:v>
                </c:pt>
                <c:pt idx="4156">
                  <c:v>2.8311999000000001</c:v>
                </c:pt>
                <c:pt idx="4157">
                  <c:v>2.8313999000000001</c:v>
                </c:pt>
                <c:pt idx="4158">
                  <c:v>2.8315999999999999</c:v>
                </c:pt>
                <c:pt idx="4159">
                  <c:v>2.8317999999999999</c:v>
                </c:pt>
                <c:pt idx="4160">
                  <c:v>2.8319999999999999</c:v>
                </c:pt>
                <c:pt idx="4161">
                  <c:v>2.8321998000000002</c:v>
                </c:pt>
                <c:pt idx="4162">
                  <c:v>2.8323998000000001</c:v>
                </c:pt>
                <c:pt idx="4163">
                  <c:v>2.8325998999999999</c:v>
                </c:pt>
                <c:pt idx="4164">
                  <c:v>2.8327998999999999</c:v>
                </c:pt>
                <c:pt idx="4165">
                  <c:v>2.8329998999999999</c:v>
                </c:pt>
                <c:pt idx="4166">
                  <c:v>2.8332000000000002</c:v>
                </c:pt>
                <c:pt idx="4167">
                  <c:v>2.8334000000000001</c:v>
                </c:pt>
                <c:pt idx="4168">
                  <c:v>2.8335998</c:v>
                </c:pt>
                <c:pt idx="4169">
                  <c:v>2.8337998</c:v>
                </c:pt>
                <c:pt idx="4170">
                  <c:v>2.8339998999999998</c:v>
                </c:pt>
                <c:pt idx="4171">
                  <c:v>2.8341999000000002</c:v>
                </c:pt>
                <c:pt idx="4172">
                  <c:v>2.8343999000000002</c:v>
                </c:pt>
                <c:pt idx="4173">
                  <c:v>2.8346</c:v>
                </c:pt>
                <c:pt idx="4174">
                  <c:v>2.8348</c:v>
                </c:pt>
                <c:pt idx="4175">
                  <c:v>2.835</c:v>
                </c:pt>
                <c:pt idx="4176">
                  <c:v>2.8351997999999998</c:v>
                </c:pt>
                <c:pt idx="4177">
                  <c:v>2.8353999000000001</c:v>
                </c:pt>
                <c:pt idx="4178">
                  <c:v>2.8355999000000001</c:v>
                </c:pt>
                <c:pt idx="4179">
                  <c:v>2.8357999</c:v>
                </c:pt>
                <c:pt idx="4180">
                  <c:v>2.8359999999999999</c:v>
                </c:pt>
                <c:pt idx="4181">
                  <c:v>2.8361998000000002</c:v>
                </c:pt>
                <c:pt idx="4182">
                  <c:v>2.8363999999999998</c:v>
                </c:pt>
                <c:pt idx="4183">
                  <c:v>2.8366001000000001</c:v>
                </c:pt>
                <c:pt idx="4184">
                  <c:v>2.8367998999999999</c:v>
                </c:pt>
                <c:pt idx="4185">
                  <c:v>2.8369998999999999</c:v>
                </c:pt>
                <c:pt idx="4186">
                  <c:v>2.8371997000000002</c:v>
                </c:pt>
                <c:pt idx="4187">
                  <c:v>2.8374000000000001</c:v>
                </c:pt>
                <c:pt idx="4188">
                  <c:v>2.8376000000000001</c:v>
                </c:pt>
                <c:pt idx="4189">
                  <c:v>2.8377998</c:v>
                </c:pt>
                <c:pt idx="4190">
                  <c:v>2.8380000999999999</c:v>
                </c:pt>
                <c:pt idx="4191">
                  <c:v>2.8382000999999999</c:v>
                </c:pt>
                <c:pt idx="4192">
                  <c:v>2.8383999000000002</c:v>
                </c:pt>
                <c:pt idx="4193">
                  <c:v>2.8385999000000002</c:v>
                </c:pt>
                <c:pt idx="4194">
                  <c:v>2.8387997</c:v>
                </c:pt>
                <c:pt idx="4195">
                  <c:v>2.839</c:v>
                </c:pt>
                <c:pt idx="4196">
                  <c:v>2.8391999999999999</c:v>
                </c:pt>
                <c:pt idx="4197">
                  <c:v>2.8393997999999998</c:v>
                </c:pt>
                <c:pt idx="4198">
                  <c:v>2.8396001000000002</c:v>
                </c:pt>
                <c:pt idx="4199">
                  <c:v>2.8397999</c:v>
                </c:pt>
                <c:pt idx="4200">
                  <c:v>2.8399999</c:v>
                </c:pt>
                <c:pt idx="4201">
                  <c:v>2.8401999</c:v>
                </c:pt>
                <c:pt idx="4202">
                  <c:v>2.8403996999999999</c:v>
                </c:pt>
                <c:pt idx="4203">
                  <c:v>2.8405999999999998</c:v>
                </c:pt>
                <c:pt idx="4204">
                  <c:v>2.8407998000000001</c:v>
                </c:pt>
                <c:pt idx="4205">
                  <c:v>2.8409998000000001</c:v>
                </c:pt>
                <c:pt idx="4206">
                  <c:v>2.8412001</c:v>
                </c:pt>
                <c:pt idx="4207">
                  <c:v>2.8413998999999999</c:v>
                </c:pt>
                <c:pt idx="4208">
                  <c:v>2.8415998999999998</c:v>
                </c:pt>
                <c:pt idx="4209">
                  <c:v>2.8418000000000001</c:v>
                </c:pt>
                <c:pt idx="4210">
                  <c:v>2.8419998</c:v>
                </c:pt>
                <c:pt idx="4211">
                  <c:v>2.8422000000000001</c:v>
                </c:pt>
                <c:pt idx="4212">
                  <c:v>2.8423997999999999</c:v>
                </c:pt>
                <c:pt idx="4213">
                  <c:v>2.8425999000000002</c:v>
                </c:pt>
                <c:pt idx="4214">
                  <c:v>2.8428000999999998</c:v>
                </c:pt>
                <c:pt idx="4215">
                  <c:v>2.8429999000000001</c:v>
                </c:pt>
                <c:pt idx="4216">
                  <c:v>2.8431999999999999</c:v>
                </c:pt>
                <c:pt idx="4217">
                  <c:v>2.8433997999999998</c:v>
                </c:pt>
                <c:pt idx="4218">
                  <c:v>2.8435997999999998</c:v>
                </c:pt>
                <c:pt idx="4219">
                  <c:v>2.8438001000000002</c:v>
                </c:pt>
                <c:pt idx="4220">
                  <c:v>2.8439999</c:v>
                </c:pt>
                <c:pt idx="4221">
                  <c:v>2.8441999</c:v>
                </c:pt>
                <c:pt idx="4222">
                  <c:v>2.8443999</c:v>
                </c:pt>
                <c:pt idx="4223">
                  <c:v>2.8445999999999998</c:v>
                </c:pt>
                <c:pt idx="4224">
                  <c:v>2.8448000000000002</c:v>
                </c:pt>
                <c:pt idx="4225">
                  <c:v>2.8449998000000001</c:v>
                </c:pt>
                <c:pt idx="4226">
                  <c:v>2.8451998000000001</c:v>
                </c:pt>
                <c:pt idx="4227">
                  <c:v>2.8454001</c:v>
                </c:pt>
                <c:pt idx="4228">
                  <c:v>2.8455998999999998</c:v>
                </c:pt>
                <c:pt idx="4229">
                  <c:v>2.8457998999999998</c:v>
                </c:pt>
                <c:pt idx="4230">
                  <c:v>2.8460000000000001</c:v>
                </c:pt>
                <c:pt idx="4231">
                  <c:v>2.8462000000000001</c:v>
                </c:pt>
                <c:pt idx="4232">
                  <c:v>2.8464</c:v>
                </c:pt>
                <c:pt idx="4233">
                  <c:v>2.8465997999999999</c:v>
                </c:pt>
                <c:pt idx="4234">
                  <c:v>2.8467999000000002</c:v>
                </c:pt>
                <c:pt idx="4235">
                  <c:v>2.8469999000000001</c:v>
                </c:pt>
                <c:pt idx="4236">
                  <c:v>2.8471999000000001</c:v>
                </c:pt>
                <c:pt idx="4237">
                  <c:v>2.8473999999999999</c:v>
                </c:pt>
                <c:pt idx="4238">
                  <c:v>2.8475999999999999</c:v>
                </c:pt>
                <c:pt idx="4239">
                  <c:v>2.8477999999999999</c:v>
                </c:pt>
                <c:pt idx="4240">
                  <c:v>2.8479998000000002</c:v>
                </c:pt>
                <c:pt idx="4241">
                  <c:v>2.8481998000000002</c:v>
                </c:pt>
                <c:pt idx="4242">
                  <c:v>2.8483999</c:v>
                </c:pt>
                <c:pt idx="4243">
                  <c:v>2.8485999</c:v>
                </c:pt>
                <c:pt idx="4244">
                  <c:v>2.8487998999999999</c:v>
                </c:pt>
                <c:pt idx="4245">
                  <c:v>2.8489996999999998</c:v>
                </c:pt>
                <c:pt idx="4246">
                  <c:v>2.8492000000000002</c:v>
                </c:pt>
                <c:pt idx="4247">
                  <c:v>2.8494000000000002</c:v>
                </c:pt>
                <c:pt idx="4248">
                  <c:v>2.8495998</c:v>
                </c:pt>
                <c:pt idx="4249">
                  <c:v>2.8497998999999998</c:v>
                </c:pt>
                <c:pt idx="4250">
                  <c:v>2.8499998999999998</c:v>
                </c:pt>
                <c:pt idx="4251">
                  <c:v>2.8501998999999998</c:v>
                </c:pt>
                <c:pt idx="4252">
                  <c:v>2.8504</c:v>
                </c:pt>
                <c:pt idx="4253">
                  <c:v>2.8505997999999999</c:v>
                </c:pt>
                <c:pt idx="4254">
                  <c:v>2.8508</c:v>
                </c:pt>
                <c:pt idx="4255">
                  <c:v>2.8510000999999998</c:v>
                </c:pt>
                <c:pt idx="4256">
                  <c:v>2.8511999000000001</c:v>
                </c:pt>
                <c:pt idx="4257">
                  <c:v>2.8513999000000001</c:v>
                </c:pt>
                <c:pt idx="4258">
                  <c:v>2.8515997</c:v>
                </c:pt>
                <c:pt idx="4259">
                  <c:v>2.8517999999999999</c:v>
                </c:pt>
                <c:pt idx="4260">
                  <c:v>2.8519999999999999</c:v>
                </c:pt>
                <c:pt idx="4261">
                  <c:v>2.8521998000000002</c:v>
                </c:pt>
                <c:pt idx="4262">
                  <c:v>2.8524001000000001</c:v>
                </c:pt>
                <c:pt idx="4263">
                  <c:v>2.8526001000000001</c:v>
                </c:pt>
                <c:pt idx="4264">
                  <c:v>2.8527998999999999</c:v>
                </c:pt>
                <c:pt idx="4265">
                  <c:v>2.8529998999999999</c:v>
                </c:pt>
                <c:pt idx="4266">
                  <c:v>2.8531996999999998</c:v>
                </c:pt>
                <c:pt idx="4267">
                  <c:v>2.8534000000000002</c:v>
                </c:pt>
                <c:pt idx="4268">
                  <c:v>2.8536000000000001</c:v>
                </c:pt>
                <c:pt idx="4269">
                  <c:v>2.8537998</c:v>
                </c:pt>
                <c:pt idx="4270">
                  <c:v>2.8540000999999999</c:v>
                </c:pt>
                <c:pt idx="4271">
                  <c:v>2.8541998999999998</c:v>
                </c:pt>
                <c:pt idx="4272">
                  <c:v>2.8543999000000002</c:v>
                </c:pt>
                <c:pt idx="4273">
                  <c:v>2.8546</c:v>
                </c:pt>
                <c:pt idx="4274">
                  <c:v>2.8547997000000001</c:v>
                </c:pt>
                <c:pt idx="4275">
                  <c:v>2.855</c:v>
                </c:pt>
                <c:pt idx="4276">
                  <c:v>2.8551997999999998</c:v>
                </c:pt>
                <c:pt idx="4277">
                  <c:v>2.8553997999999998</c:v>
                </c:pt>
                <c:pt idx="4278">
                  <c:v>2.8556001000000002</c:v>
                </c:pt>
                <c:pt idx="4279">
                  <c:v>2.8557999000000001</c:v>
                </c:pt>
                <c:pt idx="4280">
                  <c:v>2.8559999</c:v>
                </c:pt>
                <c:pt idx="4281">
                  <c:v>2.8561996999999999</c:v>
                </c:pt>
                <c:pt idx="4282">
                  <c:v>2.8563998000000002</c:v>
                </c:pt>
                <c:pt idx="4283">
                  <c:v>2.8565999999999998</c:v>
                </c:pt>
                <c:pt idx="4284">
                  <c:v>2.8567998000000001</c:v>
                </c:pt>
                <c:pt idx="4285">
                  <c:v>2.8569998999999999</c:v>
                </c:pt>
                <c:pt idx="4286">
                  <c:v>2.8572001</c:v>
                </c:pt>
                <c:pt idx="4287">
                  <c:v>2.8573998999999999</c:v>
                </c:pt>
                <c:pt idx="4288">
                  <c:v>2.8576000000000001</c:v>
                </c:pt>
                <c:pt idx="4289">
                  <c:v>2.8577998</c:v>
                </c:pt>
                <c:pt idx="4290">
                  <c:v>2.8579998</c:v>
                </c:pt>
                <c:pt idx="4291">
                  <c:v>2.8582000999999999</c:v>
                </c:pt>
                <c:pt idx="4292">
                  <c:v>2.8583999000000002</c:v>
                </c:pt>
                <c:pt idx="4293">
                  <c:v>2.8585999000000002</c:v>
                </c:pt>
                <c:pt idx="4294">
                  <c:v>2.8587999000000002</c:v>
                </c:pt>
                <c:pt idx="4295">
                  <c:v>2.859</c:v>
                </c:pt>
                <c:pt idx="4296">
                  <c:v>2.8592</c:v>
                </c:pt>
                <c:pt idx="4297">
                  <c:v>2.8593997999999998</c:v>
                </c:pt>
                <c:pt idx="4298">
                  <c:v>2.8595997999999998</c:v>
                </c:pt>
                <c:pt idx="4299">
                  <c:v>2.8598001000000002</c:v>
                </c:pt>
                <c:pt idx="4300">
                  <c:v>2.8599999</c:v>
                </c:pt>
                <c:pt idx="4301">
                  <c:v>2.8601999</c:v>
                </c:pt>
                <c:pt idx="4302">
                  <c:v>2.8603999999999998</c:v>
                </c:pt>
                <c:pt idx="4303">
                  <c:v>2.8605999999999998</c:v>
                </c:pt>
                <c:pt idx="4304">
                  <c:v>2.8607999999999998</c:v>
                </c:pt>
                <c:pt idx="4305">
                  <c:v>2.8609998000000001</c:v>
                </c:pt>
                <c:pt idx="4306">
                  <c:v>2.8611998999999999</c:v>
                </c:pt>
                <c:pt idx="4307">
                  <c:v>2.8613998999999999</c:v>
                </c:pt>
                <c:pt idx="4308">
                  <c:v>2.8615998999999999</c:v>
                </c:pt>
                <c:pt idx="4309">
                  <c:v>2.8618000000000001</c:v>
                </c:pt>
                <c:pt idx="4310">
                  <c:v>2.8620000000000001</c:v>
                </c:pt>
                <c:pt idx="4311">
                  <c:v>2.8622000000000001</c:v>
                </c:pt>
                <c:pt idx="4312">
                  <c:v>2.8623997999999999</c:v>
                </c:pt>
                <c:pt idx="4313">
                  <c:v>2.8625997999999999</c:v>
                </c:pt>
                <c:pt idx="4314">
                  <c:v>2.8627999000000002</c:v>
                </c:pt>
                <c:pt idx="4315">
                  <c:v>2.8629999000000002</c:v>
                </c:pt>
                <c:pt idx="4316">
                  <c:v>2.8631999000000001</c:v>
                </c:pt>
                <c:pt idx="4317">
                  <c:v>2.8633997</c:v>
                </c:pt>
                <c:pt idx="4318">
                  <c:v>2.8635999999999999</c:v>
                </c:pt>
                <c:pt idx="4319">
                  <c:v>2.8637999999999999</c:v>
                </c:pt>
                <c:pt idx="4320">
                  <c:v>2.8639998000000002</c:v>
                </c:pt>
                <c:pt idx="4321">
                  <c:v>2.8641999</c:v>
                </c:pt>
                <c:pt idx="4322">
                  <c:v>2.8643999</c:v>
                </c:pt>
                <c:pt idx="4323">
                  <c:v>2.8645999</c:v>
                </c:pt>
                <c:pt idx="4324">
                  <c:v>2.8647999999999998</c:v>
                </c:pt>
                <c:pt idx="4325">
                  <c:v>2.8649998000000001</c:v>
                </c:pt>
                <c:pt idx="4326">
                  <c:v>2.8652000000000002</c:v>
                </c:pt>
                <c:pt idx="4327">
                  <c:v>2.8654001</c:v>
                </c:pt>
                <c:pt idx="4328">
                  <c:v>2.8655998999999999</c:v>
                </c:pt>
                <c:pt idx="4329">
                  <c:v>2.8657998999999998</c:v>
                </c:pt>
                <c:pt idx="4330">
                  <c:v>2.8659997000000001</c:v>
                </c:pt>
                <c:pt idx="4331">
                  <c:v>2.8662000000000001</c:v>
                </c:pt>
                <c:pt idx="4332">
                  <c:v>2.8664000000000001</c:v>
                </c:pt>
                <c:pt idx="4333">
                  <c:v>2.8665997999999999</c:v>
                </c:pt>
                <c:pt idx="4334">
                  <c:v>2.8668000999999999</c:v>
                </c:pt>
                <c:pt idx="4335">
                  <c:v>2.8669999000000002</c:v>
                </c:pt>
                <c:pt idx="4336">
                  <c:v>2.8671999000000001</c:v>
                </c:pt>
                <c:pt idx="4337">
                  <c:v>2.8673999000000001</c:v>
                </c:pt>
                <c:pt idx="4338">
                  <c:v>2.8675997</c:v>
                </c:pt>
                <c:pt idx="4339">
                  <c:v>2.8677999999999999</c:v>
                </c:pt>
                <c:pt idx="4340">
                  <c:v>2.8679999999999999</c:v>
                </c:pt>
                <c:pt idx="4341">
                  <c:v>2.8681998000000002</c:v>
                </c:pt>
                <c:pt idx="4342">
                  <c:v>2.8684001000000001</c:v>
                </c:pt>
                <c:pt idx="4343">
                  <c:v>2.8685999</c:v>
                </c:pt>
                <c:pt idx="4344">
                  <c:v>2.8687999</c:v>
                </c:pt>
                <c:pt idx="4345">
                  <c:v>2.8690000000000002</c:v>
                </c:pt>
                <c:pt idx="4346">
                  <c:v>2.8691998000000001</c:v>
                </c:pt>
                <c:pt idx="4347">
                  <c:v>2.8694000000000002</c:v>
                </c:pt>
                <c:pt idx="4348">
                  <c:v>2.8695998</c:v>
                </c:pt>
                <c:pt idx="4349">
                  <c:v>2.8697998999999998</c:v>
                </c:pt>
                <c:pt idx="4350">
                  <c:v>2.8700000999999999</c:v>
                </c:pt>
                <c:pt idx="4351">
                  <c:v>2.8701998999999998</c:v>
                </c:pt>
                <c:pt idx="4352">
                  <c:v>2.8704000000000001</c:v>
                </c:pt>
                <c:pt idx="4353">
                  <c:v>2.8705997000000001</c:v>
                </c:pt>
                <c:pt idx="4354">
                  <c:v>2.8707997999999999</c:v>
                </c:pt>
                <c:pt idx="4355">
                  <c:v>2.8710000999999998</c:v>
                </c:pt>
                <c:pt idx="4356">
                  <c:v>2.8711997999999999</c:v>
                </c:pt>
                <c:pt idx="4357">
                  <c:v>2.8713999000000001</c:v>
                </c:pt>
                <c:pt idx="4358">
                  <c:v>2.8716002</c:v>
                </c:pt>
                <c:pt idx="4359">
                  <c:v>2.8717999000000001</c:v>
                </c:pt>
                <c:pt idx="4360">
                  <c:v>2.8719999999999999</c:v>
                </c:pt>
                <c:pt idx="4361">
                  <c:v>2.8721998000000002</c:v>
                </c:pt>
                <c:pt idx="4362">
                  <c:v>2.8723998000000002</c:v>
                </c:pt>
                <c:pt idx="4363">
                  <c:v>2.8726001000000001</c:v>
                </c:pt>
                <c:pt idx="4364">
                  <c:v>2.8727999</c:v>
                </c:pt>
                <c:pt idx="4365">
                  <c:v>2.8729998999999999</c:v>
                </c:pt>
                <c:pt idx="4366">
                  <c:v>2.8731998999999999</c:v>
                </c:pt>
                <c:pt idx="4367">
                  <c:v>2.8734000000000002</c:v>
                </c:pt>
                <c:pt idx="4368">
                  <c:v>2.8736000000000002</c:v>
                </c:pt>
                <c:pt idx="4369">
                  <c:v>2.8737998</c:v>
                </c:pt>
                <c:pt idx="4370">
                  <c:v>2.8739998</c:v>
                </c:pt>
                <c:pt idx="4371">
                  <c:v>2.8741998999999998</c:v>
                </c:pt>
                <c:pt idx="4372">
                  <c:v>2.8743998999999998</c:v>
                </c:pt>
                <c:pt idx="4373">
                  <c:v>2.8745999000000002</c:v>
                </c:pt>
                <c:pt idx="4374">
                  <c:v>2.8748</c:v>
                </c:pt>
                <c:pt idx="4375">
                  <c:v>2.875</c:v>
                </c:pt>
                <c:pt idx="4376">
                  <c:v>2.8752</c:v>
                </c:pt>
                <c:pt idx="4377">
                  <c:v>2.8753997999999998</c:v>
                </c:pt>
                <c:pt idx="4378">
                  <c:v>2.8755999000000001</c:v>
                </c:pt>
                <c:pt idx="4379">
                  <c:v>2.8757999000000001</c:v>
                </c:pt>
                <c:pt idx="4380">
                  <c:v>2.8759999000000001</c:v>
                </c:pt>
                <c:pt idx="4381">
                  <c:v>2.8761999999999999</c:v>
                </c:pt>
                <c:pt idx="4382">
                  <c:v>2.8763999999999998</c:v>
                </c:pt>
                <c:pt idx="4383">
                  <c:v>2.8765999999999998</c:v>
                </c:pt>
                <c:pt idx="4384">
                  <c:v>2.8767998000000001</c:v>
                </c:pt>
                <c:pt idx="4385">
                  <c:v>2.8769998999999999</c:v>
                </c:pt>
                <c:pt idx="4386">
                  <c:v>2.8771998999999999</c:v>
                </c:pt>
                <c:pt idx="4387">
                  <c:v>2.8773998999999999</c:v>
                </c:pt>
                <c:pt idx="4388">
                  <c:v>2.8776000000000002</c:v>
                </c:pt>
                <c:pt idx="4389">
                  <c:v>2.8777997000000002</c:v>
                </c:pt>
                <c:pt idx="4390">
                  <c:v>2.8780000000000001</c:v>
                </c:pt>
                <c:pt idx="4391">
                  <c:v>2.8782000999999999</c:v>
                </c:pt>
                <c:pt idx="4392">
                  <c:v>2.8783998</c:v>
                </c:pt>
                <c:pt idx="4393">
                  <c:v>2.8785999000000002</c:v>
                </c:pt>
                <c:pt idx="4394">
                  <c:v>2.8787997000000001</c:v>
                </c:pt>
                <c:pt idx="4395">
                  <c:v>2.8789999000000002</c:v>
                </c:pt>
                <c:pt idx="4396">
                  <c:v>2.8792</c:v>
                </c:pt>
                <c:pt idx="4397">
                  <c:v>2.8793997999999998</c:v>
                </c:pt>
                <c:pt idx="4398">
                  <c:v>2.8795999999999999</c:v>
                </c:pt>
                <c:pt idx="4399">
                  <c:v>2.8798001000000002</c:v>
                </c:pt>
                <c:pt idx="4400">
                  <c:v>2.8799999000000001</c:v>
                </c:pt>
                <c:pt idx="4401">
                  <c:v>2.8801999</c:v>
                </c:pt>
                <c:pt idx="4402">
                  <c:v>2.8803996999999999</c:v>
                </c:pt>
                <c:pt idx="4403">
                  <c:v>2.8805999999999998</c:v>
                </c:pt>
                <c:pt idx="4404">
                  <c:v>2.8807999999999998</c:v>
                </c:pt>
                <c:pt idx="4405">
                  <c:v>2.8809998000000001</c:v>
                </c:pt>
                <c:pt idx="4406">
                  <c:v>2.8812001</c:v>
                </c:pt>
                <c:pt idx="4407">
                  <c:v>2.8813998999999999</c:v>
                </c:pt>
                <c:pt idx="4408">
                  <c:v>2.8815998999999999</c:v>
                </c:pt>
                <c:pt idx="4409">
                  <c:v>2.8817998999999999</c:v>
                </c:pt>
                <c:pt idx="4410">
                  <c:v>2.8819997000000002</c:v>
                </c:pt>
                <c:pt idx="4411">
                  <c:v>2.8822000000000001</c:v>
                </c:pt>
                <c:pt idx="4412">
                  <c:v>2.8824000000000001</c:v>
                </c:pt>
                <c:pt idx="4413">
                  <c:v>2.8825997999999999</c:v>
                </c:pt>
                <c:pt idx="4414">
                  <c:v>2.8828000999999999</c:v>
                </c:pt>
                <c:pt idx="4415">
                  <c:v>2.8829999000000002</c:v>
                </c:pt>
                <c:pt idx="4416">
                  <c:v>2.8831999000000001</c:v>
                </c:pt>
                <c:pt idx="4417">
                  <c:v>2.8834</c:v>
                </c:pt>
                <c:pt idx="4418">
                  <c:v>2.8835997999999998</c:v>
                </c:pt>
                <c:pt idx="4419">
                  <c:v>2.8837999999999999</c:v>
                </c:pt>
                <c:pt idx="4420">
                  <c:v>2.8839997999999998</c:v>
                </c:pt>
                <c:pt idx="4421">
                  <c:v>2.8841999</c:v>
                </c:pt>
                <c:pt idx="4422">
                  <c:v>2.8844001000000001</c:v>
                </c:pt>
                <c:pt idx="4423">
                  <c:v>2.8845999</c:v>
                </c:pt>
                <c:pt idx="4424">
                  <c:v>2.8847999999999998</c:v>
                </c:pt>
                <c:pt idx="4425">
                  <c:v>2.8849998000000001</c:v>
                </c:pt>
                <c:pt idx="4426">
                  <c:v>2.8851998000000001</c:v>
                </c:pt>
                <c:pt idx="4427">
                  <c:v>2.8854001</c:v>
                </c:pt>
                <c:pt idx="4428">
                  <c:v>2.8855998999999999</c:v>
                </c:pt>
                <c:pt idx="4429">
                  <c:v>2.8857998999999999</c:v>
                </c:pt>
                <c:pt idx="4430">
                  <c:v>2.8860001999999998</c:v>
                </c:pt>
                <c:pt idx="4431">
                  <c:v>2.8862000000000001</c:v>
                </c:pt>
                <c:pt idx="4432">
                  <c:v>2.8864000000000001</c:v>
                </c:pt>
                <c:pt idx="4433">
                  <c:v>2.8865997999999999</c:v>
                </c:pt>
                <c:pt idx="4434">
                  <c:v>2.8867997999999999</c:v>
                </c:pt>
                <c:pt idx="4435">
                  <c:v>2.8870000999999998</c:v>
                </c:pt>
                <c:pt idx="4436">
                  <c:v>2.8871999000000002</c:v>
                </c:pt>
                <c:pt idx="4437">
                  <c:v>2.8873999000000001</c:v>
                </c:pt>
                <c:pt idx="4438">
                  <c:v>2.8875999000000001</c:v>
                </c:pt>
                <c:pt idx="4439">
                  <c:v>2.8877999999999999</c:v>
                </c:pt>
                <c:pt idx="4440">
                  <c:v>2.8879999999999999</c:v>
                </c:pt>
                <c:pt idx="4441">
                  <c:v>2.8881998000000002</c:v>
                </c:pt>
                <c:pt idx="4442">
                  <c:v>2.8883998000000002</c:v>
                </c:pt>
                <c:pt idx="4443">
                  <c:v>2.8885999</c:v>
                </c:pt>
                <c:pt idx="4444">
                  <c:v>2.8887999</c:v>
                </c:pt>
                <c:pt idx="4445">
                  <c:v>2.8889999</c:v>
                </c:pt>
                <c:pt idx="4446">
                  <c:v>2.8892000000000002</c:v>
                </c:pt>
                <c:pt idx="4447">
                  <c:v>2.8894000000000002</c:v>
                </c:pt>
                <c:pt idx="4448">
                  <c:v>2.8895998000000001</c:v>
                </c:pt>
                <c:pt idx="4449">
                  <c:v>2.8897998</c:v>
                </c:pt>
                <c:pt idx="4450">
                  <c:v>2.8899998999999998</c:v>
                </c:pt>
                <c:pt idx="4451">
                  <c:v>2.8901998999999998</c:v>
                </c:pt>
                <c:pt idx="4452">
                  <c:v>2.8903998999999998</c:v>
                </c:pt>
                <c:pt idx="4453">
                  <c:v>2.8906000000000001</c:v>
                </c:pt>
                <c:pt idx="4454">
                  <c:v>2.8908</c:v>
                </c:pt>
                <c:pt idx="4455">
                  <c:v>2.891</c:v>
                </c:pt>
                <c:pt idx="4456">
                  <c:v>2.8911997999999999</c:v>
                </c:pt>
                <c:pt idx="4457">
                  <c:v>2.8913999000000001</c:v>
                </c:pt>
                <c:pt idx="4458">
                  <c:v>2.8915999000000001</c:v>
                </c:pt>
                <c:pt idx="4459">
                  <c:v>2.8917999000000001</c:v>
                </c:pt>
                <c:pt idx="4460">
                  <c:v>2.8919999999999999</c:v>
                </c:pt>
                <c:pt idx="4461">
                  <c:v>2.8921998000000002</c:v>
                </c:pt>
                <c:pt idx="4462">
                  <c:v>2.8923999999999999</c:v>
                </c:pt>
                <c:pt idx="4463">
                  <c:v>2.8926001000000001</c:v>
                </c:pt>
                <c:pt idx="4464">
                  <c:v>2.8927999</c:v>
                </c:pt>
                <c:pt idx="4465">
                  <c:v>2.8929999</c:v>
                </c:pt>
                <c:pt idx="4466">
                  <c:v>2.8931996999999998</c:v>
                </c:pt>
                <c:pt idx="4467">
                  <c:v>2.8934000000000002</c:v>
                </c:pt>
                <c:pt idx="4468">
                  <c:v>2.8936000000000002</c:v>
                </c:pt>
                <c:pt idx="4469">
                  <c:v>2.8937998</c:v>
                </c:pt>
                <c:pt idx="4470">
                  <c:v>2.8940001</c:v>
                </c:pt>
                <c:pt idx="4471">
                  <c:v>2.8942000999999999</c:v>
                </c:pt>
                <c:pt idx="4472">
                  <c:v>2.8943998999999998</c:v>
                </c:pt>
                <c:pt idx="4473">
                  <c:v>2.8945998999999998</c:v>
                </c:pt>
                <c:pt idx="4474">
                  <c:v>2.8947997000000001</c:v>
                </c:pt>
                <c:pt idx="4475">
                  <c:v>2.895</c:v>
                </c:pt>
                <c:pt idx="4476">
                  <c:v>2.8952</c:v>
                </c:pt>
                <c:pt idx="4477">
                  <c:v>2.8953997999999999</c:v>
                </c:pt>
                <c:pt idx="4478">
                  <c:v>2.8956000999999998</c:v>
                </c:pt>
                <c:pt idx="4479">
                  <c:v>2.8957999000000001</c:v>
                </c:pt>
                <c:pt idx="4480">
                  <c:v>2.8959999000000001</c:v>
                </c:pt>
                <c:pt idx="4481">
                  <c:v>2.8961999</c:v>
                </c:pt>
                <c:pt idx="4482">
                  <c:v>2.8963996999999999</c:v>
                </c:pt>
                <c:pt idx="4483">
                  <c:v>2.8965999999999998</c:v>
                </c:pt>
                <c:pt idx="4484">
                  <c:v>2.8967998000000001</c:v>
                </c:pt>
                <c:pt idx="4485">
                  <c:v>2.8969998000000001</c:v>
                </c:pt>
                <c:pt idx="4486">
                  <c:v>2.8972001000000001</c:v>
                </c:pt>
                <c:pt idx="4487">
                  <c:v>2.8973998999999999</c:v>
                </c:pt>
                <c:pt idx="4488">
                  <c:v>2.8975998999999999</c:v>
                </c:pt>
                <c:pt idx="4489">
                  <c:v>2.8978000000000002</c:v>
                </c:pt>
                <c:pt idx="4490">
                  <c:v>2.8979998</c:v>
                </c:pt>
                <c:pt idx="4491">
                  <c:v>2.8982000000000001</c:v>
                </c:pt>
                <c:pt idx="4492">
                  <c:v>2.8983998</c:v>
                </c:pt>
                <c:pt idx="4493">
                  <c:v>2.8985998999999998</c:v>
                </c:pt>
                <c:pt idx="4494">
                  <c:v>2.8988000999999999</c:v>
                </c:pt>
                <c:pt idx="4495">
                  <c:v>2.8989999000000002</c:v>
                </c:pt>
                <c:pt idx="4496">
                  <c:v>2.8992</c:v>
                </c:pt>
                <c:pt idx="4497">
                  <c:v>2.8993997999999999</c:v>
                </c:pt>
                <c:pt idx="4498">
                  <c:v>2.8995997999999998</c:v>
                </c:pt>
                <c:pt idx="4499">
                  <c:v>2.8998001000000002</c:v>
                </c:pt>
                <c:pt idx="4500">
                  <c:v>2.8999999000000001</c:v>
                </c:pt>
                <c:pt idx="4501">
                  <c:v>2.9001999000000001</c:v>
                </c:pt>
                <c:pt idx="4502">
                  <c:v>2.9004002</c:v>
                </c:pt>
                <c:pt idx="4503">
                  <c:v>2.9005999999999998</c:v>
                </c:pt>
                <c:pt idx="4504">
                  <c:v>2.9007999999999998</c:v>
                </c:pt>
                <c:pt idx="4505">
                  <c:v>2.9009998000000001</c:v>
                </c:pt>
                <c:pt idx="4506">
                  <c:v>2.9011998000000001</c:v>
                </c:pt>
                <c:pt idx="4507">
                  <c:v>2.9014001</c:v>
                </c:pt>
                <c:pt idx="4508">
                  <c:v>2.9015998999999999</c:v>
                </c:pt>
                <c:pt idx="4509">
                  <c:v>2.9017998999999999</c:v>
                </c:pt>
                <c:pt idx="4510">
                  <c:v>2.9020000000000001</c:v>
                </c:pt>
                <c:pt idx="4511">
                  <c:v>2.9022000000000001</c:v>
                </c:pt>
                <c:pt idx="4512">
                  <c:v>2.9024000000000001</c:v>
                </c:pt>
                <c:pt idx="4513">
                  <c:v>2.9025998</c:v>
                </c:pt>
                <c:pt idx="4514">
                  <c:v>2.9027997999999999</c:v>
                </c:pt>
                <c:pt idx="4515">
                  <c:v>2.9029999000000002</c:v>
                </c:pt>
                <c:pt idx="4516">
                  <c:v>2.9031999000000002</c:v>
                </c:pt>
                <c:pt idx="4517">
                  <c:v>2.9033999000000001</c:v>
                </c:pt>
                <c:pt idx="4518">
                  <c:v>2.9036</c:v>
                </c:pt>
                <c:pt idx="4519">
                  <c:v>2.9037999999999999</c:v>
                </c:pt>
                <c:pt idx="4520">
                  <c:v>2.9039997999999998</c:v>
                </c:pt>
                <c:pt idx="4521">
                  <c:v>2.9041998000000002</c:v>
                </c:pt>
                <c:pt idx="4522">
                  <c:v>2.9043999</c:v>
                </c:pt>
                <c:pt idx="4523">
                  <c:v>2.9045999</c:v>
                </c:pt>
                <c:pt idx="4524">
                  <c:v>2.9047999</c:v>
                </c:pt>
                <c:pt idx="4525">
                  <c:v>2.9049999999999998</c:v>
                </c:pt>
                <c:pt idx="4526">
                  <c:v>2.9051999999999998</c:v>
                </c:pt>
                <c:pt idx="4527">
                  <c:v>2.9054000000000002</c:v>
                </c:pt>
                <c:pt idx="4528">
                  <c:v>2.9055998000000001</c:v>
                </c:pt>
                <c:pt idx="4529">
                  <c:v>2.9057998999999999</c:v>
                </c:pt>
                <c:pt idx="4530">
                  <c:v>2.9059998999999999</c:v>
                </c:pt>
                <c:pt idx="4531">
                  <c:v>2.9061998999999998</c:v>
                </c:pt>
                <c:pt idx="4532">
                  <c:v>2.9064000000000001</c:v>
                </c:pt>
                <c:pt idx="4533">
                  <c:v>2.9065998</c:v>
                </c:pt>
                <c:pt idx="4534">
                  <c:v>2.9068000000000001</c:v>
                </c:pt>
                <c:pt idx="4535">
                  <c:v>2.9070000999999999</c:v>
                </c:pt>
                <c:pt idx="4536">
                  <c:v>2.9071999000000002</c:v>
                </c:pt>
                <c:pt idx="4537">
                  <c:v>2.9073999000000001</c:v>
                </c:pt>
                <c:pt idx="4538">
                  <c:v>2.9075997</c:v>
                </c:pt>
                <c:pt idx="4539">
                  <c:v>2.9077999999999999</c:v>
                </c:pt>
                <c:pt idx="4540">
                  <c:v>2.9079999999999999</c:v>
                </c:pt>
                <c:pt idx="4541">
                  <c:v>2.9081997999999998</c:v>
                </c:pt>
                <c:pt idx="4542">
                  <c:v>2.9084001000000002</c:v>
                </c:pt>
                <c:pt idx="4543">
                  <c:v>2.9086001000000001</c:v>
                </c:pt>
                <c:pt idx="4544">
                  <c:v>2.9087999</c:v>
                </c:pt>
                <c:pt idx="4545">
                  <c:v>2.9089999</c:v>
                </c:pt>
                <c:pt idx="4546">
                  <c:v>2.9091996999999998</c:v>
                </c:pt>
                <c:pt idx="4547">
                  <c:v>2.9094000000000002</c:v>
                </c:pt>
                <c:pt idx="4548">
                  <c:v>2.9096000000000002</c:v>
                </c:pt>
                <c:pt idx="4549">
                  <c:v>2.9097998</c:v>
                </c:pt>
                <c:pt idx="4550">
                  <c:v>2.9100001</c:v>
                </c:pt>
                <c:pt idx="4551">
                  <c:v>2.9101998999999998</c:v>
                </c:pt>
                <c:pt idx="4552">
                  <c:v>2.9103998999999998</c:v>
                </c:pt>
                <c:pt idx="4553">
                  <c:v>2.9105998999999998</c:v>
                </c:pt>
                <c:pt idx="4554">
                  <c:v>2.9107997000000001</c:v>
                </c:pt>
                <c:pt idx="4555">
                  <c:v>2.911</c:v>
                </c:pt>
                <c:pt idx="4556">
                  <c:v>2.9111997999999999</c:v>
                </c:pt>
                <c:pt idx="4557">
                  <c:v>2.9113997999999999</c:v>
                </c:pt>
                <c:pt idx="4558">
                  <c:v>2.9116000999999998</c:v>
                </c:pt>
                <c:pt idx="4559">
                  <c:v>2.9117999000000001</c:v>
                </c:pt>
                <c:pt idx="4560">
                  <c:v>2.9119999000000001</c:v>
                </c:pt>
                <c:pt idx="4561">
                  <c:v>2.9121996999999999</c:v>
                </c:pt>
                <c:pt idx="4562">
                  <c:v>2.9123998000000002</c:v>
                </c:pt>
                <c:pt idx="4563">
                  <c:v>2.9125999999999999</c:v>
                </c:pt>
                <c:pt idx="4564">
                  <c:v>2.9127998000000002</c:v>
                </c:pt>
                <c:pt idx="4565">
                  <c:v>2.9129999</c:v>
                </c:pt>
                <c:pt idx="4566">
                  <c:v>2.9132001000000001</c:v>
                </c:pt>
                <c:pt idx="4567">
                  <c:v>2.9133998999999999</c:v>
                </c:pt>
                <c:pt idx="4568">
                  <c:v>2.9136000000000002</c:v>
                </c:pt>
                <c:pt idx="4569">
                  <c:v>2.9137998000000001</c:v>
                </c:pt>
                <c:pt idx="4570">
                  <c:v>2.9139998</c:v>
                </c:pt>
                <c:pt idx="4571">
                  <c:v>2.9142001</c:v>
                </c:pt>
                <c:pt idx="4572">
                  <c:v>2.9143998999999998</c:v>
                </c:pt>
                <c:pt idx="4573">
                  <c:v>2.9145998999999998</c:v>
                </c:pt>
                <c:pt idx="4574">
                  <c:v>2.9147999000000002</c:v>
                </c:pt>
                <c:pt idx="4575">
                  <c:v>2.915</c:v>
                </c:pt>
                <c:pt idx="4576">
                  <c:v>2.9152</c:v>
                </c:pt>
                <c:pt idx="4577">
                  <c:v>2.9153997999999999</c:v>
                </c:pt>
                <c:pt idx="4578">
                  <c:v>2.9155997999999999</c:v>
                </c:pt>
                <c:pt idx="4579">
                  <c:v>2.9158000999999998</c:v>
                </c:pt>
                <c:pt idx="4580">
                  <c:v>2.9159999000000001</c:v>
                </c:pt>
                <c:pt idx="4581">
                  <c:v>2.9161999000000001</c:v>
                </c:pt>
                <c:pt idx="4582">
                  <c:v>2.9163999999999999</c:v>
                </c:pt>
                <c:pt idx="4583">
                  <c:v>2.9165999999999999</c:v>
                </c:pt>
                <c:pt idx="4584">
                  <c:v>2.9167999999999998</c:v>
                </c:pt>
                <c:pt idx="4585">
                  <c:v>2.9169998000000001</c:v>
                </c:pt>
                <c:pt idx="4586">
                  <c:v>2.9171999</c:v>
                </c:pt>
                <c:pt idx="4587">
                  <c:v>2.9173998999999999</c:v>
                </c:pt>
                <c:pt idx="4588">
                  <c:v>2.9175998999999999</c:v>
                </c:pt>
                <c:pt idx="4589">
                  <c:v>2.9177998999999999</c:v>
                </c:pt>
                <c:pt idx="4590">
                  <c:v>2.9180000000000001</c:v>
                </c:pt>
                <c:pt idx="4591">
                  <c:v>2.9182000000000001</c:v>
                </c:pt>
                <c:pt idx="4592">
                  <c:v>2.9183998</c:v>
                </c:pt>
                <c:pt idx="4593">
                  <c:v>2.9185998</c:v>
                </c:pt>
                <c:pt idx="4594">
                  <c:v>2.9187998999999998</c:v>
                </c:pt>
                <c:pt idx="4595">
                  <c:v>2.9189999000000002</c:v>
                </c:pt>
                <c:pt idx="4596">
                  <c:v>2.9191999000000002</c:v>
                </c:pt>
                <c:pt idx="4597">
                  <c:v>2.9193997</c:v>
                </c:pt>
                <c:pt idx="4598">
                  <c:v>2.9196</c:v>
                </c:pt>
                <c:pt idx="4599">
                  <c:v>2.9198</c:v>
                </c:pt>
                <c:pt idx="4600">
                  <c:v>2.9199997999999998</c:v>
                </c:pt>
                <c:pt idx="4601">
                  <c:v>2.9201999000000001</c:v>
                </c:pt>
                <c:pt idx="4602">
                  <c:v>2.9203999</c:v>
                </c:pt>
                <c:pt idx="4603">
                  <c:v>2.9205999</c:v>
                </c:pt>
                <c:pt idx="4604">
                  <c:v>2.9207999999999998</c:v>
                </c:pt>
                <c:pt idx="4605">
                  <c:v>2.9209998000000001</c:v>
                </c:pt>
                <c:pt idx="4606">
                  <c:v>2.9211999999999998</c:v>
                </c:pt>
                <c:pt idx="4607">
                  <c:v>2.9214001000000001</c:v>
                </c:pt>
                <c:pt idx="4608">
                  <c:v>2.9215998999999999</c:v>
                </c:pt>
                <c:pt idx="4609">
                  <c:v>2.9217998999999999</c:v>
                </c:pt>
                <c:pt idx="4610">
                  <c:v>2.9219997000000002</c:v>
                </c:pt>
                <c:pt idx="4611">
                  <c:v>2.9222000000000001</c:v>
                </c:pt>
                <c:pt idx="4612">
                  <c:v>2.9224000000000001</c:v>
                </c:pt>
                <c:pt idx="4613">
                  <c:v>2.9225998</c:v>
                </c:pt>
                <c:pt idx="4614">
                  <c:v>2.9228000999999999</c:v>
                </c:pt>
                <c:pt idx="4615">
                  <c:v>2.9230000999999999</c:v>
                </c:pt>
                <c:pt idx="4616">
                  <c:v>2.9231999000000002</c:v>
                </c:pt>
                <c:pt idx="4617">
                  <c:v>2.9233999000000002</c:v>
                </c:pt>
                <c:pt idx="4618">
                  <c:v>2.9235997</c:v>
                </c:pt>
                <c:pt idx="4619">
                  <c:v>2.9238</c:v>
                </c:pt>
                <c:pt idx="4620">
                  <c:v>2.9239999999999999</c:v>
                </c:pt>
                <c:pt idx="4621">
                  <c:v>2.9241997999999998</c:v>
                </c:pt>
                <c:pt idx="4622">
                  <c:v>2.9244001000000002</c:v>
                </c:pt>
                <c:pt idx="4623">
                  <c:v>2.9245999</c:v>
                </c:pt>
                <c:pt idx="4624">
                  <c:v>2.9247999</c:v>
                </c:pt>
                <c:pt idx="4625">
                  <c:v>2.9249999999999998</c:v>
                </c:pt>
                <c:pt idx="4626">
                  <c:v>2.9251996999999998</c:v>
                </c:pt>
                <c:pt idx="4627">
                  <c:v>2.9253999999999998</c:v>
                </c:pt>
                <c:pt idx="4628">
                  <c:v>2.9255998000000001</c:v>
                </c:pt>
                <c:pt idx="4629">
                  <c:v>2.9257998000000001</c:v>
                </c:pt>
                <c:pt idx="4630">
                  <c:v>2.9260001</c:v>
                </c:pt>
                <c:pt idx="4631">
                  <c:v>2.9261998999999999</c:v>
                </c:pt>
                <c:pt idx="4632">
                  <c:v>2.9263998999999998</c:v>
                </c:pt>
                <c:pt idx="4633">
                  <c:v>2.9265997000000001</c:v>
                </c:pt>
                <c:pt idx="4634">
                  <c:v>2.9267998</c:v>
                </c:pt>
                <c:pt idx="4635">
                  <c:v>2.927</c:v>
                </c:pt>
                <c:pt idx="4636">
                  <c:v>2.9271997999999999</c:v>
                </c:pt>
                <c:pt idx="4637">
                  <c:v>2.9273999000000002</c:v>
                </c:pt>
                <c:pt idx="4638">
                  <c:v>2.9276000999999998</c:v>
                </c:pt>
                <c:pt idx="4639">
                  <c:v>2.9277999000000001</c:v>
                </c:pt>
                <c:pt idx="4640">
                  <c:v>2.9279999999999999</c:v>
                </c:pt>
                <c:pt idx="4641">
                  <c:v>2.9281997999999998</c:v>
                </c:pt>
                <c:pt idx="4642">
                  <c:v>2.9283998000000002</c:v>
                </c:pt>
                <c:pt idx="4643">
                  <c:v>2.9286001000000002</c:v>
                </c:pt>
                <c:pt idx="4644">
                  <c:v>2.9287999</c:v>
                </c:pt>
                <c:pt idx="4645">
                  <c:v>2.9289999</c:v>
                </c:pt>
                <c:pt idx="4646">
                  <c:v>2.9291999</c:v>
                </c:pt>
                <c:pt idx="4647">
                  <c:v>2.9293999999999998</c:v>
                </c:pt>
                <c:pt idx="4648">
                  <c:v>2.9296000000000002</c:v>
                </c:pt>
                <c:pt idx="4649">
                  <c:v>2.9297998000000001</c:v>
                </c:pt>
                <c:pt idx="4650">
                  <c:v>2.9299998</c:v>
                </c:pt>
                <c:pt idx="4651">
                  <c:v>2.9302001</c:v>
                </c:pt>
                <c:pt idx="4652">
                  <c:v>2.9303998999999998</c:v>
                </c:pt>
                <c:pt idx="4653">
                  <c:v>2.9305998999999998</c:v>
                </c:pt>
                <c:pt idx="4654">
                  <c:v>2.9308000000000001</c:v>
                </c:pt>
                <c:pt idx="4655">
                  <c:v>2.931</c:v>
                </c:pt>
                <c:pt idx="4656">
                  <c:v>2.9312</c:v>
                </c:pt>
                <c:pt idx="4657">
                  <c:v>2.9313997999999999</c:v>
                </c:pt>
                <c:pt idx="4658">
                  <c:v>2.9315999000000001</c:v>
                </c:pt>
                <c:pt idx="4659">
                  <c:v>2.9317999000000001</c:v>
                </c:pt>
                <c:pt idx="4660">
                  <c:v>2.9319999000000001</c:v>
                </c:pt>
                <c:pt idx="4661">
                  <c:v>2.9321999999999999</c:v>
                </c:pt>
                <c:pt idx="4662">
                  <c:v>2.9323999999999999</c:v>
                </c:pt>
                <c:pt idx="4663">
                  <c:v>2.9325999999999999</c:v>
                </c:pt>
                <c:pt idx="4664">
                  <c:v>2.9327998000000002</c:v>
                </c:pt>
                <c:pt idx="4665">
                  <c:v>2.9329998000000002</c:v>
                </c:pt>
                <c:pt idx="4666">
                  <c:v>2.9331999</c:v>
                </c:pt>
                <c:pt idx="4667">
                  <c:v>2.9333998999999999</c:v>
                </c:pt>
                <c:pt idx="4668">
                  <c:v>2.9335998999999999</c:v>
                </c:pt>
                <c:pt idx="4669">
                  <c:v>2.9337996999999998</c:v>
                </c:pt>
                <c:pt idx="4670">
                  <c:v>2.9340000000000002</c:v>
                </c:pt>
                <c:pt idx="4671">
                  <c:v>2.9342000000000001</c:v>
                </c:pt>
                <c:pt idx="4672">
                  <c:v>2.9343998</c:v>
                </c:pt>
                <c:pt idx="4673">
                  <c:v>2.9345998999999998</c:v>
                </c:pt>
                <c:pt idx="4674">
                  <c:v>2.9347997000000001</c:v>
                </c:pt>
                <c:pt idx="4675">
                  <c:v>2.9349999000000002</c:v>
                </c:pt>
                <c:pt idx="4676">
                  <c:v>2.9352</c:v>
                </c:pt>
                <c:pt idx="4677">
                  <c:v>2.9353997999999999</c:v>
                </c:pt>
                <c:pt idx="4678">
                  <c:v>2.9356</c:v>
                </c:pt>
                <c:pt idx="4679">
                  <c:v>2.9358000999999998</c:v>
                </c:pt>
                <c:pt idx="4680">
                  <c:v>2.9359999000000001</c:v>
                </c:pt>
                <c:pt idx="4681">
                  <c:v>2.9361999000000001</c:v>
                </c:pt>
                <c:pt idx="4682">
                  <c:v>2.9363996999999999</c:v>
                </c:pt>
                <c:pt idx="4683">
                  <c:v>2.9365999999999999</c:v>
                </c:pt>
                <c:pt idx="4684">
                  <c:v>2.9367999999999999</c:v>
                </c:pt>
                <c:pt idx="4685">
                  <c:v>2.9369998000000002</c:v>
                </c:pt>
                <c:pt idx="4686">
                  <c:v>2.9372001000000001</c:v>
                </c:pt>
                <c:pt idx="4687">
                  <c:v>2.9373999</c:v>
                </c:pt>
                <c:pt idx="4688">
                  <c:v>2.9375998999999999</c:v>
                </c:pt>
                <c:pt idx="4689">
                  <c:v>2.9377998999999999</c:v>
                </c:pt>
                <c:pt idx="4690">
                  <c:v>2.9379997000000002</c:v>
                </c:pt>
                <c:pt idx="4691">
                  <c:v>2.9382000000000001</c:v>
                </c:pt>
                <c:pt idx="4692">
                  <c:v>2.9384000000000001</c:v>
                </c:pt>
                <c:pt idx="4693">
                  <c:v>2.9385998</c:v>
                </c:pt>
                <c:pt idx="4694">
                  <c:v>2.9388000999999999</c:v>
                </c:pt>
                <c:pt idx="4695">
                  <c:v>2.9389999000000002</c:v>
                </c:pt>
                <c:pt idx="4696">
                  <c:v>2.9391999000000002</c:v>
                </c:pt>
                <c:pt idx="4697">
                  <c:v>2.9394</c:v>
                </c:pt>
                <c:pt idx="4698">
                  <c:v>2.9395997999999999</c:v>
                </c:pt>
                <c:pt idx="4699">
                  <c:v>2.9398</c:v>
                </c:pt>
                <c:pt idx="4700">
                  <c:v>2.9399997999999998</c:v>
                </c:pt>
                <c:pt idx="4701">
                  <c:v>2.9401999000000001</c:v>
                </c:pt>
                <c:pt idx="4702">
                  <c:v>2.9404001000000002</c:v>
                </c:pt>
                <c:pt idx="4703">
                  <c:v>2.9405999</c:v>
                </c:pt>
                <c:pt idx="4704">
                  <c:v>2.9407999999999999</c:v>
                </c:pt>
                <c:pt idx="4705">
                  <c:v>2.9409996999999999</c:v>
                </c:pt>
                <c:pt idx="4706">
                  <c:v>2.9411998000000001</c:v>
                </c:pt>
                <c:pt idx="4707">
                  <c:v>2.9414001000000001</c:v>
                </c:pt>
                <c:pt idx="4708">
                  <c:v>2.9415998000000001</c:v>
                </c:pt>
                <c:pt idx="4709">
                  <c:v>2.9417998999999999</c:v>
                </c:pt>
                <c:pt idx="4710">
                  <c:v>2.9420001999999998</c:v>
                </c:pt>
                <c:pt idx="4711">
                  <c:v>2.9421998999999999</c:v>
                </c:pt>
                <c:pt idx="4712">
                  <c:v>2.9424000000000001</c:v>
                </c:pt>
                <c:pt idx="4713">
                  <c:v>2.9425998</c:v>
                </c:pt>
                <c:pt idx="4714">
                  <c:v>2.9427998</c:v>
                </c:pt>
                <c:pt idx="4715">
                  <c:v>2.9430000999999999</c:v>
                </c:pt>
                <c:pt idx="4716">
                  <c:v>2.9431999000000002</c:v>
                </c:pt>
                <c:pt idx="4717">
                  <c:v>2.9433999000000002</c:v>
                </c:pt>
                <c:pt idx="4718">
                  <c:v>2.9435999000000002</c:v>
                </c:pt>
                <c:pt idx="4719">
                  <c:v>2.9438</c:v>
                </c:pt>
                <c:pt idx="4720">
                  <c:v>2.944</c:v>
                </c:pt>
                <c:pt idx="4721">
                  <c:v>2.9441997999999998</c:v>
                </c:pt>
                <c:pt idx="4722">
                  <c:v>2.9443997999999998</c:v>
                </c:pt>
                <c:pt idx="4723">
                  <c:v>2.9445999</c:v>
                </c:pt>
                <c:pt idx="4724">
                  <c:v>2.9447999</c:v>
                </c:pt>
                <c:pt idx="4725">
                  <c:v>2.9449999</c:v>
                </c:pt>
                <c:pt idx="4726">
                  <c:v>2.9451999999999998</c:v>
                </c:pt>
                <c:pt idx="4727">
                  <c:v>2.9453999999999998</c:v>
                </c:pt>
                <c:pt idx="4728">
                  <c:v>2.9456000000000002</c:v>
                </c:pt>
                <c:pt idx="4729">
                  <c:v>2.9457998000000001</c:v>
                </c:pt>
                <c:pt idx="4730">
                  <c:v>2.9459998999999999</c:v>
                </c:pt>
                <c:pt idx="4731">
                  <c:v>2.9461998999999999</c:v>
                </c:pt>
                <c:pt idx="4732">
                  <c:v>2.9463998999999998</c:v>
                </c:pt>
                <c:pt idx="4733">
                  <c:v>2.9466000000000001</c:v>
                </c:pt>
                <c:pt idx="4734">
                  <c:v>2.9468000000000001</c:v>
                </c:pt>
                <c:pt idx="4735">
                  <c:v>2.9470000000000001</c:v>
                </c:pt>
                <c:pt idx="4736">
                  <c:v>2.9471997999999999</c:v>
                </c:pt>
                <c:pt idx="4737">
                  <c:v>2.9473999000000002</c:v>
                </c:pt>
                <c:pt idx="4738">
                  <c:v>2.9475999000000002</c:v>
                </c:pt>
                <c:pt idx="4739">
                  <c:v>2.9477999000000001</c:v>
                </c:pt>
                <c:pt idx="4740">
                  <c:v>2.948</c:v>
                </c:pt>
                <c:pt idx="4741">
                  <c:v>2.9481997</c:v>
                </c:pt>
                <c:pt idx="4742">
                  <c:v>2.9483999999999999</c:v>
                </c:pt>
                <c:pt idx="4743">
                  <c:v>2.9486001000000002</c:v>
                </c:pt>
                <c:pt idx="4744">
                  <c:v>2.9487998000000002</c:v>
                </c:pt>
                <c:pt idx="4745">
                  <c:v>2.9489999</c:v>
                </c:pt>
                <c:pt idx="4746">
                  <c:v>2.9491996999999999</c:v>
                </c:pt>
                <c:pt idx="4747">
                  <c:v>2.9493999</c:v>
                </c:pt>
                <c:pt idx="4748">
                  <c:v>2.9496000000000002</c:v>
                </c:pt>
                <c:pt idx="4749">
                  <c:v>2.9497998000000001</c:v>
                </c:pt>
                <c:pt idx="4750">
                  <c:v>2.95</c:v>
                </c:pt>
                <c:pt idx="4751">
                  <c:v>2.9502001</c:v>
                </c:pt>
                <c:pt idx="4752">
                  <c:v>2.9503998999999999</c:v>
                </c:pt>
                <c:pt idx="4753">
                  <c:v>2.9505998999999998</c:v>
                </c:pt>
                <c:pt idx="4754">
                  <c:v>2.9507997000000001</c:v>
                </c:pt>
                <c:pt idx="4755">
                  <c:v>2.9510000000000001</c:v>
                </c:pt>
                <c:pt idx="4756">
                  <c:v>2.9512</c:v>
                </c:pt>
                <c:pt idx="4757">
                  <c:v>2.9513997999999999</c:v>
                </c:pt>
                <c:pt idx="4758">
                  <c:v>2.9516000999999998</c:v>
                </c:pt>
                <c:pt idx="4759">
                  <c:v>2.9517999000000001</c:v>
                </c:pt>
                <c:pt idx="4760">
                  <c:v>2.9519999000000001</c:v>
                </c:pt>
                <c:pt idx="4761">
                  <c:v>2.9521999000000001</c:v>
                </c:pt>
                <c:pt idx="4762">
                  <c:v>2.9523997</c:v>
                </c:pt>
                <c:pt idx="4763">
                  <c:v>2.9525999999999999</c:v>
                </c:pt>
                <c:pt idx="4764">
                  <c:v>2.9527999999999999</c:v>
                </c:pt>
                <c:pt idx="4765">
                  <c:v>2.9529998000000002</c:v>
                </c:pt>
                <c:pt idx="4766">
                  <c:v>2.9532001000000001</c:v>
                </c:pt>
                <c:pt idx="4767">
                  <c:v>2.9533999</c:v>
                </c:pt>
                <c:pt idx="4768">
                  <c:v>2.9535998999999999</c:v>
                </c:pt>
                <c:pt idx="4769">
                  <c:v>2.9538000000000002</c:v>
                </c:pt>
                <c:pt idx="4770">
                  <c:v>2.9539998000000001</c:v>
                </c:pt>
                <c:pt idx="4771">
                  <c:v>2.9542000000000002</c:v>
                </c:pt>
                <c:pt idx="4772">
                  <c:v>2.9543998</c:v>
                </c:pt>
                <c:pt idx="4773">
                  <c:v>2.9545998999999998</c:v>
                </c:pt>
                <c:pt idx="4774">
                  <c:v>2.9548000999999999</c:v>
                </c:pt>
                <c:pt idx="4775">
                  <c:v>2.9549998999999998</c:v>
                </c:pt>
                <c:pt idx="4776">
                  <c:v>2.9552</c:v>
                </c:pt>
                <c:pt idx="4777">
                  <c:v>2.9553997999999999</c:v>
                </c:pt>
                <c:pt idx="4778">
                  <c:v>2.9555997999999999</c:v>
                </c:pt>
                <c:pt idx="4779">
                  <c:v>2.9558000999999998</c:v>
                </c:pt>
                <c:pt idx="4780">
                  <c:v>2.9559999000000001</c:v>
                </c:pt>
                <c:pt idx="4781">
                  <c:v>2.9561999000000001</c:v>
                </c:pt>
                <c:pt idx="4782">
                  <c:v>2.9564002</c:v>
                </c:pt>
                <c:pt idx="4783">
                  <c:v>2.9565999999999999</c:v>
                </c:pt>
                <c:pt idx="4784">
                  <c:v>2.9567999999999999</c:v>
                </c:pt>
                <c:pt idx="4785">
                  <c:v>2.9569998000000002</c:v>
                </c:pt>
                <c:pt idx="4786">
                  <c:v>2.9571998000000002</c:v>
                </c:pt>
                <c:pt idx="4787">
                  <c:v>2.9574001000000001</c:v>
                </c:pt>
                <c:pt idx="4788">
                  <c:v>2.9575998999999999</c:v>
                </c:pt>
                <c:pt idx="4789">
                  <c:v>2.9577998999999999</c:v>
                </c:pt>
                <c:pt idx="4790">
                  <c:v>2.9579998999999999</c:v>
                </c:pt>
                <c:pt idx="4791">
                  <c:v>2.9582000000000002</c:v>
                </c:pt>
                <c:pt idx="4792">
                  <c:v>2.9584000000000001</c:v>
                </c:pt>
                <c:pt idx="4793">
                  <c:v>2.9585998</c:v>
                </c:pt>
                <c:pt idx="4794">
                  <c:v>2.9587998</c:v>
                </c:pt>
                <c:pt idx="4795">
                  <c:v>2.9589998999999998</c:v>
                </c:pt>
                <c:pt idx="4796">
                  <c:v>2.9591999000000002</c:v>
                </c:pt>
                <c:pt idx="4797">
                  <c:v>2.9593999000000002</c:v>
                </c:pt>
                <c:pt idx="4798">
                  <c:v>2.9596</c:v>
                </c:pt>
                <c:pt idx="4799">
                  <c:v>2.9598</c:v>
                </c:pt>
                <c:pt idx="4800">
                  <c:v>2.9599997999999998</c:v>
                </c:pt>
                <c:pt idx="4801">
                  <c:v>2.9601997999999998</c:v>
                </c:pt>
                <c:pt idx="4802">
                  <c:v>2.9603999000000001</c:v>
                </c:pt>
                <c:pt idx="4803">
                  <c:v>2.9605999000000001</c:v>
                </c:pt>
                <c:pt idx="4804">
                  <c:v>2.9607999</c:v>
                </c:pt>
                <c:pt idx="4805">
                  <c:v>2.9609999999999999</c:v>
                </c:pt>
                <c:pt idx="4806">
                  <c:v>2.9611999999999998</c:v>
                </c:pt>
                <c:pt idx="4807">
                  <c:v>2.9613999999999998</c:v>
                </c:pt>
                <c:pt idx="4808">
                  <c:v>2.9615998000000001</c:v>
                </c:pt>
                <c:pt idx="4809">
                  <c:v>2.9617998999999999</c:v>
                </c:pt>
                <c:pt idx="4810">
                  <c:v>2.9619998999999999</c:v>
                </c:pt>
                <c:pt idx="4811">
                  <c:v>2.9621998999999999</c:v>
                </c:pt>
                <c:pt idx="4812">
                  <c:v>2.9624000000000001</c:v>
                </c:pt>
                <c:pt idx="4813">
                  <c:v>2.9625998</c:v>
                </c:pt>
                <c:pt idx="4814">
                  <c:v>2.9628000000000001</c:v>
                </c:pt>
                <c:pt idx="4815">
                  <c:v>2.9630000999999999</c:v>
                </c:pt>
                <c:pt idx="4816">
                  <c:v>2.9631999000000002</c:v>
                </c:pt>
                <c:pt idx="4817">
                  <c:v>2.9633999000000002</c:v>
                </c:pt>
                <c:pt idx="4818">
                  <c:v>2.9635997000000001</c:v>
                </c:pt>
                <c:pt idx="4819">
                  <c:v>2.9638</c:v>
                </c:pt>
                <c:pt idx="4820">
                  <c:v>2.964</c:v>
                </c:pt>
                <c:pt idx="4821">
                  <c:v>2.9641997999999998</c:v>
                </c:pt>
                <c:pt idx="4822">
                  <c:v>2.9644001000000002</c:v>
                </c:pt>
                <c:pt idx="4823">
                  <c:v>2.9646001000000002</c:v>
                </c:pt>
                <c:pt idx="4824">
                  <c:v>2.9647999</c:v>
                </c:pt>
                <c:pt idx="4825">
                  <c:v>2.9649999</c:v>
                </c:pt>
                <c:pt idx="4826">
                  <c:v>2.9651996999999999</c:v>
                </c:pt>
                <c:pt idx="4827">
                  <c:v>2.9653999999999998</c:v>
                </c:pt>
                <c:pt idx="4828">
                  <c:v>2.9655999999999998</c:v>
                </c:pt>
                <c:pt idx="4829">
                  <c:v>2.9657998000000001</c:v>
                </c:pt>
                <c:pt idx="4830">
                  <c:v>2.9660001</c:v>
                </c:pt>
                <c:pt idx="4831">
                  <c:v>2.9661998999999999</c:v>
                </c:pt>
                <c:pt idx="4832">
                  <c:v>2.9663998999999999</c:v>
                </c:pt>
                <c:pt idx="4833">
                  <c:v>2.9665998999999998</c:v>
                </c:pt>
                <c:pt idx="4834">
                  <c:v>2.9667997000000002</c:v>
                </c:pt>
                <c:pt idx="4835">
                  <c:v>2.9670000000000001</c:v>
                </c:pt>
                <c:pt idx="4836">
                  <c:v>2.9671997999999999</c:v>
                </c:pt>
                <c:pt idx="4837">
                  <c:v>2.9673997999999999</c:v>
                </c:pt>
                <c:pt idx="4838">
                  <c:v>2.9676000999999999</c:v>
                </c:pt>
                <c:pt idx="4839">
                  <c:v>2.9677999000000002</c:v>
                </c:pt>
                <c:pt idx="4840">
                  <c:v>2.9679999000000001</c:v>
                </c:pt>
                <c:pt idx="4841">
                  <c:v>2.9681999999999999</c:v>
                </c:pt>
                <c:pt idx="4842">
                  <c:v>2.9683997999999998</c:v>
                </c:pt>
                <c:pt idx="4843">
                  <c:v>2.9685999999999999</c:v>
                </c:pt>
                <c:pt idx="4844">
                  <c:v>2.9687998000000002</c:v>
                </c:pt>
                <c:pt idx="4845">
                  <c:v>2.9689999</c:v>
                </c:pt>
                <c:pt idx="4846">
                  <c:v>2.9692001000000001</c:v>
                </c:pt>
                <c:pt idx="4847">
                  <c:v>2.9693999</c:v>
                </c:pt>
                <c:pt idx="4848">
                  <c:v>2.9695999999999998</c:v>
                </c:pt>
                <c:pt idx="4849">
                  <c:v>2.9697998000000001</c:v>
                </c:pt>
                <c:pt idx="4850">
                  <c:v>2.9699998000000001</c:v>
                </c:pt>
                <c:pt idx="4851">
                  <c:v>2.9702001</c:v>
                </c:pt>
                <c:pt idx="4852">
                  <c:v>2.9703998999999999</c:v>
                </c:pt>
                <c:pt idx="4853">
                  <c:v>2.9705998999999998</c:v>
                </c:pt>
                <c:pt idx="4854">
                  <c:v>2.9708001999999998</c:v>
                </c:pt>
                <c:pt idx="4855">
                  <c:v>2.9710000000000001</c:v>
                </c:pt>
                <c:pt idx="4856">
                  <c:v>2.9712000000000001</c:v>
                </c:pt>
                <c:pt idx="4857">
                  <c:v>2.9713997999999999</c:v>
                </c:pt>
                <c:pt idx="4858">
                  <c:v>2.9715997999999999</c:v>
                </c:pt>
                <c:pt idx="4859">
                  <c:v>2.9718000999999998</c:v>
                </c:pt>
                <c:pt idx="4860">
                  <c:v>2.9719999000000001</c:v>
                </c:pt>
                <c:pt idx="4861">
                  <c:v>2.9721999000000001</c:v>
                </c:pt>
                <c:pt idx="4862">
                  <c:v>2.9723999999999999</c:v>
                </c:pt>
                <c:pt idx="4863">
                  <c:v>2.9725999999999999</c:v>
                </c:pt>
                <c:pt idx="4864">
                  <c:v>2.9727999999999999</c:v>
                </c:pt>
                <c:pt idx="4865">
                  <c:v>2.9729998000000002</c:v>
                </c:pt>
                <c:pt idx="4866">
                  <c:v>2.9731998000000002</c:v>
                </c:pt>
                <c:pt idx="4867">
                  <c:v>2.9733999</c:v>
                </c:pt>
                <c:pt idx="4868">
                  <c:v>2.9735999</c:v>
                </c:pt>
                <c:pt idx="4869">
                  <c:v>2.9737998999999999</c:v>
                </c:pt>
                <c:pt idx="4870">
                  <c:v>2.9740000000000002</c:v>
                </c:pt>
                <c:pt idx="4871">
                  <c:v>2.9742000000000002</c:v>
                </c:pt>
                <c:pt idx="4872">
                  <c:v>2.9743998</c:v>
                </c:pt>
                <c:pt idx="4873">
                  <c:v>2.9745998</c:v>
                </c:pt>
                <c:pt idx="4874">
                  <c:v>2.9747998999999998</c:v>
                </c:pt>
                <c:pt idx="4875">
                  <c:v>2.9749998999999998</c:v>
                </c:pt>
                <c:pt idx="4876">
                  <c:v>2.9751998999999998</c:v>
                </c:pt>
                <c:pt idx="4877">
                  <c:v>2.9754</c:v>
                </c:pt>
                <c:pt idx="4878">
                  <c:v>2.9756</c:v>
                </c:pt>
                <c:pt idx="4879">
                  <c:v>2.9758</c:v>
                </c:pt>
                <c:pt idx="4880">
                  <c:v>2.9759997999999999</c:v>
                </c:pt>
                <c:pt idx="4881">
                  <c:v>2.9761999000000001</c:v>
                </c:pt>
                <c:pt idx="4882">
                  <c:v>2.9763999000000001</c:v>
                </c:pt>
                <c:pt idx="4883">
                  <c:v>2.9765999000000001</c:v>
                </c:pt>
                <c:pt idx="4884">
                  <c:v>2.9767999999999999</c:v>
                </c:pt>
                <c:pt idx="4885">
                  <c:v>2.9769998000000002</c:v>
                </c:pt>
                <c:pt idx="4886">
                  <c:v>2.9771999999999998</c:v>
                </c:pt>
                <c:pt idx="4887">
                  <c:v>2.9774001000000001</c:v>
                </c:pt>
                <c:pt idx="4888">
                  <c:v>2.9775999</c:v>
                </c:pt>
                <c:pt idx="4889">
                  <c:v>2.9777998999999999</c:v>
                </c:pt>
                <c:pt idx="4890">
                  <c:v>2.9779996999999998</c:v>
                </c:pt>
                <c:pt idx="4891">
                  <c:v>2.9782000000000002</c:v>
                </c:pt>
                <c:pt idx="4892">
                  <c:v>2.9784000000000002</c:v>
                </c:pt>
                <c:pt idx="4893">
                  <c:v>2.9785998</c:v>
                </c:pt>
                <c:pt idx="4894">
                  <c:v>2.9788001</c:v>
                </c:pt>
                <c:pt idx="4895">
                  <c:v>2.9790000999999999</c:v>
                </c:pt>
                <c:pt idx="4896">
                  <c:v>2.9791998999999998</c:v>
                </c:pt>
                <c:pt idx="4897">
                  <c:v>2.9793999000000002</c:v>
                </c:pt>
                <c:pt idx="4898">
                  <c:v>2.9795997000000001</c:v>
                </c:pt>
                <c:pt idx="4899">
                  <c:v>2.9798</c:v>
                </c:pt>
                <c:pt idx="4900">
                  <c:v>2.98</c:v>
                </c:pt>
                <c:pt idx="4901">
                  <c:v>2.9801997999999998</c:v>
                </c:pt>
                <c:pt idx="4902">
                  <c:v>2.9804001000000002</c:v>
                </c:pt>
                <c:pt idx="4903">
                  <c:v>2.9805999000000001</c:v>
                </c:pt>
                <c:pt idx="4904">
                  <c:v>2.9807999000000001</c:v>
                </c:pt>
                <c:pt idx="4905">
                  <c:v>2.9809999</c:v>
                </c:pt>
                <c:pt idx="4906">
                  <c:v>2.9811996999999999</c:v>
                </c:pt>
                <c:pt idx="4907">
                  <c:v>2.9813999999999998</c:v>
                </c:pt>
                <c:pt idx="4908">
                  <c:v>2.9815998000000001</c:v>
                </c:pt>
                <c:pt idx="4909">
                  <c:v>2.9817998000000001</c:v>
                </c:pt>
                <c:pt idx="4910">
                  <c:v>2.9820001</c:v>
                </c:pt>
                <c:pt idx="4911">
                  <c:v>2.9821998999999999</c:v>
                </c:pt>
                <c:pt idx="4912">
                  <c:v>2.9823998999999999</c:v>
                </c:pt>
                <c:pt idx="4913">
                  <c:v>2.9825997000000002</c:v>
                </c:pt>
                <c:pt idx="4914">
                  <c:v>2.9827998</c:v>
                </c:pt>
                <c:pt idx="4915">
                  <c:v>2.9830000000000001</c:v>
                </c:pt>
                <c:pt idx="4916">
                  <c:v>2.9831998</c:v>
                </c:pt>
                <c:pt idx="4917">
                  <c:v>2.9833999000000002</c:v>
                </c:pt>
                <c:pt idx="4918">
                  <c:v>2.9836000999999999</c:v>
                </c:pt>
                <c:pt idx="4919">
                  <c:v>2.9837999000000002</c:v>
                </c:pt>
                <c:pt idx="4920">
                  <c:v>2.984</c:v>
                </c:pt>
                <c:pt idx="4921">
                  <c:v>2.9841997999999998</c:v>
                </c:pt>
                <c:pt idx="4922">
                  <c:v>2.9843997999999998</c:v>
                </c:pt>
                <c:pt idx="4923">
                  <c:v>2.9846001000000002</c:v>
                </c:pt>
                <c:pt idx="4924">
                  <c:v>2.9847999000000001</c:v>
                </c:pt>
                <c:pt idx="4925">
                  <c:v>2.9849999</c:v>
                </c:pt>
                <c:pt idx="4926">
                  <c:v>2.9851999</c:v>
                </c:pt>
                <c:pt idx="4927">
                  <c:v>2.9853999999999998</c:v>
                </c:pt>
                <c:pt idx="4928">
                  <c:v>2.9855999999999998</c:v>
                </c:pt>
                <c:pt idx="4929">
                  <c:v>2.9857998000000001</c:v>
                </c:pt>
                <c:pt idx="4930">
                  <c:v>2.9859998000000001</c:v>
                </c:pt>
                <c:pt idx="4931">
                  <c:v>2.9862001</c:v>
                </c:pt>
                <c:pt idx="4932">
                  <c:v>2.9863998999999999</c:v>
                </c:pt>
                <c:pt idx="4933">
                  <c:v>2.9865998999999999</c:v>
                </c:pt>
                <c:pt idx="4934">
                  <c:v>2.9868000000000001</c:v>
                </c:pt>
                <c:pt idx="4935">
                  <c:v>2.9870000000000001</c:v>
                </c:pt>
                <c:pt idx="4936">
                  <c:v>2.9872000000000001</c:v>
                </c:pt>
                <c:pt idx="4937">
                  <c:v>2.9873997999999999</c:v>
                </c:pt>
                <c:pt idx="4938">
                  <c:v>2.9875997999999999</c:v>
                </c:pt>
                <c:pt idx="4939">
                  <c:v>2.9877999000000002</c:v>
                </c:pt>
                <c:pt idx="4940">
                  <c:v>2.9879999000000002</c:v>
                </c:pt>
                <c:pt idx="4941">
                  <c:v>2.9881999000000001</c:v>
                </c:pt>
                <c:pt idx="4942">
                  <c:v>2.9883999999999999</c:v>
                </c:pt>
                <c:pt idx="4943">
                  <c:v>2.9885999999999999</c:v>
                </c:pt>
                <c:pt idx="4944">
                  <c:v>2.9887997999999998</c:v>
                </c:pt>
                <c:pt idx="4945">
                  <c:v>2.9889998000000002</c:v>
                </c:pt>
                <c:pt idx="4946">
                  <c:v>2.9891999</c:v>
                </c:pt>
                <c:pt idx="4947">
                  <c:v>2.9893999</c:v>
                </c:pt>
                <c:pt idx="4948">
                  <c:v>2.9895999</c:v>
                </c:pt>
                <c:pt idx="4949">
                  <c:v>2.9897996999999998</c:v>
                </c:pt>
                <c:pt idx="4950">
                  <c:v>2.99</c:v>
                </c:pt>
                <c:pt idx="4951">
                  <c:v>2.9902000000000002</c:v>
                </c:pt>
                <c:pt idx="4952">
                  <c:v>2.9903998000000001</c:v>
                </c:pt>
                <c:pt idx="4953">
                  <c:v>2.9905998999999999</c:v>
                </c:pt>
                <c:pt idx="4954">
                  <c:v>2.9907998999999998</c:v>
                </c:pt>
                <c:pt idx="4955">
                  <c:v>2.9909998999999998</c:v>
                </c:pt>
                <c:pt idx="4956">
                  <c:v>2.9912000000000001</c:v>
                </c:pt>
                <c:pt idx="4957">
                  <c:v>2.9913997999999999</c:v>
                </c:pt>
                <c:pt idx="4958">
                  <c:v>2.9916</c:v>
                </c:pt>
                <c:pt idx="4959">
                  <c:v>2.9918000999999999</c:v>
                </c:pt>
                <c:pt idx="4960">
                  <c:v>2.9919999000000002</c:v>
                </c:pt>
                <c:pt idx="4961">
                  <c:v>2.9921999000000001</c:v>
                </c:pt>
                <c:pt idx="4962">
                  <c:v>2.9923997</c:v>
                </c:pt>
                <c:pt idx="4963">
                  <c:v>2.9925999999999999</c:v>
                </c:pt>
                <c:pt idx="4964">
                  <c:v>2.9927999999999999</c:v>
                </c:pt>
                <c:pt idx="4965">
                  <c:v>2.9929998000000002</c:v>
                </c:pt>
                <c:pt idx="4966">
                  <c:v>2.9932001000000001</c:v>
                </c:pt>
                <c:pt idx="4967">
                  <c:v>2.9934001000000001</c:v>
                </c:pt>
                <c:pt idx="4968">
                  <c:v>2.9935999</c:v>
                </c:pt>
                <c:pt idx="4969">
                  <c:v>2.9937999</c:v>
                </c:pt>
                <c:pt idx="4970">
                  <c:v>2.9939996999999998</c:v>
                </c:pt>
                <c:pt idx="4971">
                  <c:v>2.9942000000000002</c:v>
                </c:pt>
                <c:pt idx="4972">
                  <c:v>2.9944000000000002</c:v>
                </c:pt>
                <c:pt idx="4973">
                  <c:v>2.9945998</c:v>
                </c:pt>
                <c:pt idx="4974">
                  <c:v>2.9948001</c:v>
                </c:pt>
                <c:pt idx="4975">
                  <c:v>2.9949998999999998</c:v>
                </c:pt>
                <c:pt idx="4976">
                  <c:v>2.9951998999999998</c:v>
                </c:pt>
                <c:pt idx="4977">
                  <c:v>2.9954000000000001</c:v>
                </c:pt>
                <c:pt idx="4978">
                  <c:v>2.9955997000000001</c:v>
                </c:pt>
                <c:pt idx="4979">
                  <c:v>2.9958</c:v>
                </c:pt>
                <c:pt idx="4980">
                  <c:v>2.9959997999999999</c:v>
                </c:pt>
                <c:pt idx="4981">
                  <c:v>2.9961997999999999</c:v>
                </c:pt>
                <c:pt idx="4982">
                  <c:v>2.9964000999999998</c:v>
                </c:pt>
                <c:pt idx="4983">
                  <c:v>2.9965999000000001</c:v>
                </c:pt>
                <c:pt idx="4984">
                  <c:v>2.9967999000000001</c:v>
                </c:pt>
                <c:pt idx="4985">
                  <c:v>2.9969996999999999</c:v>
                </c:pt>
                <c:pt idx="4986">
                  <c:v>2.9971998000000002</c:v>
                </c:pt>
                <c:pt idx="4987">
                  <c:v>2.9973999999999998</c:v>
                </c:pt>
                <c:pt idx="4988">
                  <c:v>2.9975998000000001</c:v>
                </c:pt>
                <c:pt idx="4989">
                  <c:v>2.9977999</c:v>
                </c:pt>
                <c:pt idx="4990">
                  <c:v>2.9980001000000001</c:v>
                </c:pt>
                <c:pt idx="4991">
                  <c:v>2.9981998999999999</c:v>
                </c:pt>
                <c:pt idx="4992">
                  <c:v>2.9984000000000002</c:v>
                </c:pt>
                <c:pt idx="4993">
                  <c:v>2.9985998</c:v>
                </c:pt>
                <c:pt idx="4994">
                  <c:v>2.9987998</c:v>
                </c:pt>
                <c:pt idx="4995">
                  <c:v>2.9990000999999999</c:v>
                </c:pt>
                <c:pt idx="4996">
                  <c:v>2.9991998999999998</c:v>
                </c:pt>
                <c:pt idx="4997">
                  <c:v>2.9993998999999998</c:v>
                </c:pt>
                <c:pt idx="4998">
                  <c:v>2.9995999000000002</c:v>
                </c:pt>
                <c:pt idx="4999">
                  <c:v>2.9998</c:v>
                </c:pt>
                <c:pt idx="5000">
                  <c:v>3</c:v>
                </c:pt>
                <c:pt idx="5001">
                  <c:v>3.0001997999999999</c:v>
                </c:pt>
                <c:pt idx="5002">
                  <c:v>3.0003997999999998</c:v>
                </c:pt>
                <c:pt idx="5003">
                  <c:v>3.0005999000000001</c:v>
                </c:pt>
                <c:pt idx="5004">
                  <c:v>3.0007999000000001</c:v>
                </c:pt>
                <c:pt idx="5005">
                  <c:v>3.0009999000000001</c:v>
                </c:pt>
                <c:pt idx="5006">
                  <c:v>3.0011999999999999</c:v>
                </c:pt>
                <c:pt idx="5007">
                  <c:v>3.0013999999999998</c:v>
                </c:pt>
                <c:pt idx="5008">
                  <c:v>3.0015999999999998</c:v>
                </c:pt>
                <c:pt idx="5009">
                  <c:v>3.0017998000000001</c:v>
                </c:pt>
                <c:pt idx="5010">
                  <c:v>3.0019998999999999</c:v>
                </c:pt>
                <c:pt idx="5011">
                  <c:v>3.0021998999999999</c:v>
                </c:pt>
                <c:pt idx="5012">
                  <c:v>3.0023998999999999</c:v>
                </c:pt>
                <c:pt idx="5013">
                  <c:v>3.0026000000000002</c:v>
                </c:pt>
                <c:pt idx="5014">
                  <c:v>3.0028000000000001</c:v>
                </c:pt>
                <c:pt idx="5015">
                  <c:v>3.0030000000000001</c:v>
                </c:pt>
                <c:pt idx="5016">
                  <c:v>3.0031998</c:v>
                </c:pt>
                <c:pt idx="5017">
                  <c:v>3.0033998</c:v>
                </c:pt>
                <c:pt idx="5018">
                  <c:v>3.0035999000000002</c:v>
                </c:pt>
                <c:pt idx="5019">
                  <c:v>3.0037999000000002</c:v>
                </c:pt>
                <c:pt idx="5020">
                  <c:v>3.0039999000000002</c:v>
                </c:pt>
                <c:pt idx="5021">
                  <c:v>3.0041997</c:v>
                </c:pt>
                <c:pt idx="5022">
                  <c:v>3.0044</c:v>
                </c:pt>
                <c:pt idx="5023">
                  <c:v>3.0045999999999999</c:v>
                </c:pt>
                <c:pt idx="5024">
                  <c:v>3.0047997999999998</c:v>
                </c:pt>
                <c:pt idx="5025">
                  <c:v>3.0049999000000001</c:v>
                </c:pt>
                <c:pt idx="5026">
                  <c:v>3.0051996999999999</c:v>
                </c:pt>
                <c:pt idx="5027">
                  <c:v>3.0053999</c:v>
                </c:pt>
                <c:pt idx="5028">
                  <c:v>3.0055999999999998</c:v>
                </c:pt>
                <c:pt idx="5029">
                  <c:v>3.0057998000000001</c:v>
                </c:pt>
                <c:pt idx="5030">
                  <c:v>3.0059999999999998</c:v>
                </c:pt>
                <c:pt idx="5031">
                  <c:v>3.0062001</c:v>
                </c:pt>
                <c:pt idx="5032">
                  <c:v>3.0063998999999999</c:v>
                </c:pt>
                <c:pt idx="5033">
                  <c:v>3.0065998999999999</c:v>
                </c:pt>
                <c:pt idx="5034">
                  <c:v>3.0067997000000002</c:v>
                </c:pt>
                <c:pt idx="5035">
                  <c:v>3.0070000000000001</c:v>
                </c:pt>
                <c:pt idx="5036">
                  <c:v>3.0072000000000001</c:v>
                </c:pt>
                <c:pt idx="5037">
                  <c:v>3.0073998</c:v>
                </c:pt>
                <c:pt idx="5038">
                  <c:v>3.0076000999999999</c:v>
                </c:pt>
                <c:pt idx="5039">
                  <c:v>3.0077999000000002</c:v>
                </c:pt>
                <c:pt idx="5040">
                  <c:v>3.0079999000000002</c:v>
                </c:pt>
                <c:pt idx="5041">
                  <c:v>3.0081999000000001</c:v>
                </c:pt>
                <c:pt idx="5042">
                  <c:v>3.0083997</c:v>
                </c:pt>
                <c:pt idx="5043">
                  <c:v>3.0085999999999999</c:v>
                </c:pt>
                <c:pt idx="5044">
                  <c:v>3.0087999999999999</c:v>
                </c:pt>
                <c:pt idx="5045">
                  <c:v>3.0089997999999998</c:v>
                </c:pt>
                <c:pt idx="5046">
                  <c:v>3.0092001000000002</c:v>
                </c:pt>
                <c:pt idx="5047">
                  <c:v>3.0093999</c:v>
                </c:pt>
                <c:pt idx="5048">
                  <c:v>3.0095999</c:v>
                </c:pt>
                <c:pt idx="5049">
                  <c:v>3.0097999999999998</c:v>
                </c:pt>
                <c:pt idx="5050">
                  <c:v>3.0099998000000001</c:v>
                </c:pt>
                <c:pt idx="5051">
                  <c:v>3.0102000000000002</c:v>
                </c:pt>
                <c:pt idx="5052">
                  <c:v>3.0103998000000001</c:v>
                </c:pt>
                <c:pt idx="5053">
                  <c:v>3.0105998999999999</c:v>
                </c:pt>
                <c:pt idx="5054">
                  <c:v>3.0108001</c:v>
                </c:pt>
                <c:pt idx="5055">
                  <c:v>3.0109998999999998</c:v>
                </c:pt>
                <c:pt idx="5056">
                  <c:v>3.0112000000000001</c:v>
                </c:pt>
                <c:pt idx="5057">
                  <c:v>3.0113997000000001</c:v>
                </c:pt>
                <c:pt idx="5058">
                  <c:v>3.0115997999999999</c:v>
                </c:pt>
                <c:pt idx="5059">
                  <c:v>3.0118000999999999</c:v>
                </c:pt>
                <c:pt idx="5060">
                  <c:v>3.0119997999999999</c:v>
                </c:pt>
                <c:pt idx="5061">
                  <c:v>3.0121999000000002</c:v>
                </c:pt>
                <c:pt idx="5062">
                  <c:v>3.0124002000000001</c:v>
                </c:pt>
                <c:pt idx="5063">
                  <c:v>3.0125999000000001</c:v>
                </c:pt>
                <c:pt idx="5064">
                  <c:v>3.0127999999999999</c:v>
                </c:pt>
                <c:pt idx="5065">
                  <c:v>3.0129997999999998</c:v>
                </c:pt>
                <c:pt idx="5066">
                  <c:v>3.0131998000000002</c:v>
                </c:pt>
                <c:pt idx="5067">
                  <c:v>3.0134001000000001</c:v>
                </c:pt>
                <c:pt idx="5068">
                  <c:v>3.0135999</c:v>
                </c:pt>
                <c:pt idx="5069">
                  <c:v>3.0137999</c:v>
                </c:pt>
                <c:pt idx="5070">
                  <c:v>3.0139999</c:v>
                </c:pt>
                <c:pt idx="5071">
                  <c:v>3.0142000000000002</c:v>
                </c:pt>
                <c:pt idx="5072">
                  <c:v>3.0144000000000002</c:v>
                </c:pt>
                <c:pt idx="5073">
                  <c:v>3.0145998000000001</c:v>
                </c:pt>
                <c:pt idx="5074">
                  <c:v>3.0147998</c:v>
                </c:pt>
                <c:pt idx="5075">
                  <c:v>3.0149998999999998</c:v>
                </c:pt>
                <c:pt idx="5076">
                  <c:v>3.0151998999999998</c:v>
                </c:pt>
                <c:pt idx="5077">
                  <c:v>3.0153998999999998</c:v>
                </c:pt>
                <c:pt idx="5078">
                  <c:v>3.0156000000000001</c:v>
                </c:pt>
                <c:pt idx="5079">
                  <c:v>3.0158</c:v>
                </c:pt>
                <c:pt idx="5080">
                  <c:v>3.016</c:v>
                </c:pt>
                <c:pt idx="5081">
                  <c:v>3.0161997999999999</c:v>
                </c:pt>
                <c:pt idx="5082">
                  <c:v>3.0163999000000001</c:v>
                </c:pt>
                <c:pt idx="5083">
                  <c:v>3.0165999000000001</c:v>
                </c:pt>
                <c:pt idx="5084">
                  <c:v>3.0167999000000001</c:v>
                </c:pt>
                <c:pt idx="5085">
                  <c:v>3.0169999999999999</c:v>
                </c:pt>
                <c:pt idx="5086">
                  <c:v>3.0171999999999999</c:v>
                </c:pt>
                <c:pt idx="5087">
                  <c:v>3.0173999999999999</c:v>
                </c:pt>
                <c:pt idx="5088">
                  <c:v>3.0175998000000002</c:v>
                </c:pt>
                <c:pt idx="5089">
                  <c:v>3.0177999</c:v>
                </c:pt>
                <c:pt idx="5090">
                  <c:v>3.0179999</c:v>
                </c:pt>
                <c:pt idx="5091">
                  <c:v>3.0181998999999999</c:v>
                </c:pt>
                <c:pt idx="5092">
                  <c:v>3.0184000000000002</c:v>
                </c:pt>
                <c:pt idx="5093">
                  <c:v>3.0185997000000002</c:v>
                </c:pt>
                <c:pt idx="5094">
                  <c:v>3.0188000000000001</c:v>
                </c:pt>
                <c:pt idx="5095">
                  <c:v>3.0190001</c:v>
                </c:pt>
                <c:pt idx="5096">
                  <c:v>3.0191998</c:v>
                </c:pt>
                <c:pt idx="5097">
                  <c:v>3.0193998999999998</c:v>
                </c:pt>
                <c:pt idx="5098">
                  <c:v>3.0195997000000001</c:v>
                </c:pt>
                <c:pt idx="5099">
                  <c:v>3.0197999000000002</c:v>
                </c:pt>
                <c:pt idx="5100">
                  <c:v>3.02</c:v>
                </c:pt>
                <c:pt idx="5101">
                  <c:v>3.0201997999999999</c:v>
                </c:pt>
                <c:pt idx="5102">
                  <c:v>3.0204</c:v>
                </c:pt>
                <c:pt idx="5103">
                  <c:v>3.0206000999999998</c:v>
                </c:pt>
                <c:pt idx="5104">
                  <c:v>3.0207999000000001</c:v>
                </c:pt>
                <c:pt idx="5105">
                  <c:v>3.0209999000000001</c:v>
                </c:pt>
                <c:pt idx="5106">
                  <c:v>3.0211996999999999</c:v>
                </c:pt>
                <c:pt idx="5107">
                  <c:v>3.0213999999999999</c:v>
                </c:pt>
                <c:pt idx="5108">
                  <c:v>3.0215999999999998</c:v>
                </c:pt>
                <c:pt idx="5109">
                  <c:v>3.0217998000000001</c:v>
                </c:pt>
                <c:pt idx="5110">
                  <c:v>3.0220001000000001</c:v>
                </c:pt>
                <c:pt idx="5111">
                  <c:v>3.0221998999999999</c:v>
                </c:pt>
                <c:pt idx="5112">
                  <c:v>3.0223998999999999</c:v>
                </c:pt>
                <c:pt idx="5113">
                  <c:v>3.0225998999999999</c:v>
                </c:pt>
                <c:pt idx="5114">
                  <c:v>3.0227997000000002</c:v>
                </c:pt>
                <c:pt idx="5115">
                  <c:v>3.0230000000000001</c:v>
                </c:pt>
                <c:pt idx="5116">
                  <c:v>3.0231998</c:v>
                </c:pt>
                <c:pt idx="5117">
                  <c:v>3.0233998</c:v>
                </c:pt>
                <c:pt idx="5118">
                  <c:v>3.0236000999999999</c:v>
                </c:pt>
                <c:pt idx="5119">
                  <c:v>3.0237999000000002</c:v>
                </c:pt>
                <c:pt idx="5120">
                  <c:v>3.0239999000000002</c:v>
                </c:pt>
                <c:pt idx="5121">
                  <c:v>3.0242</c:v>
                </c:pt>
                <c:pt idx="5122">
                  <c:v>3.0243997999999999</c:v>
                </c:pt>
                <c:pt idx="5123">
                  <c:v>3.0246</c:v>
                </c:pt>
                <c:pt idx="5124">
                  <c:v>3.0247997999999998</c:v>
                </c:pt>
                <c:pt idx="5125">
                  <c:v>3.0249999000000001</c:v>
                </c:pt>
                <c:pt idx="5126">
                  <c:v>3.0252001000000002</c:v>
                </c:pt>
                <c:pt idx="5127">
                  <c:v>3.0253999</c:v>
                </c:pt>
                <c:pt idx="5128">
                  <c:v>3.0255999999999998</c:v>
                </c:pt>
                <c:pt idx="5129">
                  <c:v>3.0257998000000002</c:v>
                </c:pt>
                <c:pt idx="5130">
                  <c:v>3.0259998000000001</c:v>
                </c:pt>
                <c:pt idx="5131">
                  <c:v>3.0262001000000001</c:v>
                </c:pt>
                <c:pt idx="5132">
                  <c:v>3.0263998999999999</c:v>
                </c:pt>
                <c:pt idx="5133">
                  <c:v>3.0265998999999999</c:v>
                </c:pt>
                <c:pt idx="5134">
                  <c:v>3.0268001999999998</c:v>
                </c:pt>
                <c:pt idx="5135">
                  <c:v>3.0270000000000001</c:v>
                </c:pt>
                <c:pt idx="5136">
                  <c:v>3.0272000000000001</c:v>
                </c:pt>
                <c:pt idx="5137">
                  <c:v>3.0273998</c:v>
                </c:pt>
                <c:pt idx="5138">
                  <c:v>3.0275998</c:v>
                </c:pt>
                <c:pt idx="5139">
                  <c:v>3.0278000999999999</c:v>
                </c:pt>
                <c:pt idx="5140">
                  <c:v>3.0279999000000002</c:v>
                </c:pt>
                <c:pt idx="5141">
                  <c:v>3.0281999000000002</c:v>
                </c:pt>
                <c:pt idx="5142">
                  <c:v>3.0283999000000001</c:v>
                </c:pt>
                <c:pt idx="5143">
                  <c:v>3.0286</c:v>
                </c:pt>
                <c:pt idx="5144">
                  <c:v>3.0287999999999999</c:v>
                </c:pt>
                <c:pt idx="5145">
                  <c:v>3.0289997999999998</c:v>
                </c:pt>
                <c:pt idx="5146">
                  <c:v>3.0291998000000002</c:v>
                </c:pt>
                <c:pt idx="5147">
                  <c:v>3.0293999</c:v>
                </c:pt>
                <c:pt idx="5148">
                  <c:v>3.0295999</c:v>
                </c:pt>
                <c:pt idx="5149">
                  <c:v>3.0297999</c:v>
                </c:pt>
                <c:pt idx="5150">
                  <c:v>3.03</c:v>
                </c:pt>
                <c:pt idx="5151">
                  <c:v>3.0301999999999998</c:v>
                </c:pt>
                <c:pt idx="5152">
                  <c:v>3.0303998000000001</c:v>
                </c:pt>
                <c:pt idx="5153">
                  <c:v>3.0305998000000001</c:v>
                </c:pt>
                <c:pt idx="5154">
                  <c:v>3.0307998999999999</c:v>
                </c:pt>
                <c:pt idx="5155">
                  <c:v>3.0309998999999999</c:v>
                </c:pt>
                <c:pt idx="5156">
                  <c:v>3.0311998999999998</c:v>
                </c:pt>
                <c:pt idx="5157">
                  <c:v>3.0314000000000001</c:v>
                </c:pt>
                <c:pt idx="5158">
                  <c:v>3.0316000000000001</c:v>
                </c:pt>
                <c:pt idx="5159">
                  <c:v>3.0318000000000001</c:v>
                </c:pt>
                <c:pt idx="5160">
                  <c:v>3.0319997999999999</c:v>
                </c:pt>
                <c:pt idx="5161">
                  <c:v>3.0321999000000002</c:v>
                </c:pt>
                <c:pt idx="5162">
                  <c:v>3.0323999000000001</c:v>
                </c:pt>
                <c:pt idx="5163">
                  <c:v>3.0325999000000001</c:v>
                </c:pt>
                <c:pt idx="5164">
                  <c:v>3.0327999999999999</c:v>
                </c:pt>
                <c:pt idx="5165">
                  <c:v>3.0329997999999998</c:v>
                </c:pt>
                <c:pt idx="5166">
                  <c:v>3.0331999999999999</c:v>
                </c:pt>
                <c:pt idx="5167">
                  <c:v>3.0334001000000002</c:v>
                </c:pt>
                <c:pt idx="5168">
                  <c:v>3.0335999</c:v>
                </c:pt>
                <c:pt idx="5169">
                  <c:v>3.0337999</c:v>
                </c:pt>
                <c:pt idx="5170">
                  <c:v>3.0339996999999999</c:v>
                </c:pt>
                <c:pt idx="5171">
                  <c:v>3.0341999999999998</c:v>
                </c:pt>
                <c:pt idx="5172">
                  <c:v>3.0344000000000002</c:v>
                </c:pt>
                <c:pt idx="5173">
                  <c:v>3.0345998000000001</c:v>
                </c:pt>
                <c:pt idx="5174">
                  <c:v>3.0348001</c:v>
                </c:pt>
                <c:pt idx="5175">
                  <c:v>3.0350001</c:v>
                </c:pt>
                <c:pt idx="5176">
                  <c:v>3.0351998999999998</c:v>
                </c:pt>
                <c:pt idx="5177">
                  <c:v>3.0353998999999998</c:v>
                </c:pt>
                <c:pt idx="5178">
                  <c:v>3.0355997000000001</c:v>
                </c:pt>
                <c:pt idx="5179">
                  <c:v>3.0358000000000001</c:v>
                </c:pt>
                <c:pt idx="5180">
                  <c:v>3.036</c:v>
                </c:pt>
                <c:pt idx="5181">
                  <c:v>3.0361997999999999</c:v>
                </c:pt>
                <c:pt idx="5182">
                  <c:v>3.0364000999999998</c:v>
                </c:pt>
                <c:pt idx="5183">
                  <c:v>3.0365999000000001</c:v>
                </c:pt>
                <c:pt idx="5184">
                  <c:v>3.0367999000000001</c:v>
                </c:pt>
                <c:pt idx="5185">
                  <c:v>3.0369999000000001</c:v>
                </c:pt>
                <c:pt idx="5186">
                  <c:v>3.0371996999999999</c:v>
                </c:pt>
                <c:pt idx="5187">
                  <c:v>3.0373999999999999</c:v>
                </c:pt>
                <c:pt idx="5188">
                  <c:v>3.0375998000000002</c:v>
                </c:pt>
                <c:pt idx="5189">
                  <c:v>3.0377998000000002</c:v>
                </c:pt>
                <c:pt idx="5190">
                  <c:v>3.0380001000000001</c:v>
                </c:pt>
                <c:pt idx="5191">
                  <c:v>3.0381999</c:v>
                </c:pt>
                <c:pt idx="5192">
                  <c:v>3.0383998999999999</c:v>
                </c:pt>
                <c:pt idx="5193">
                  <c:v>3.0386000000000002</c:v>
                </c:pt>
                <c:pt idx="5194">
                  <c:v>3.0387998000000001</c:v>
                </c:pt>
                <c:pt idx="5195">
                  <c:v>3.0390000000000001</c:v>
                </c:pt>
                <c:pt idx="5196">
                  <c:v>3.0391998</c:v>
                </c:pt>
                <c:pt idx="5197">
                  <c:v>3.0393998999999998</c:v>
                </c:pt>
                <c:pt idx="5198">
                  <c:v>3.0396000999999999</c:v>
                </c:pt>
                <c:pt idx="5199">
                  <c:v>3.0397999000000002</c:v>
                </c:pt>
                <c:pt idx="5200">
                  <c:v>3.04</c:v>
                </c:pt>
                <c:pt idx="5201">
                  <c:v>3.0401997999999999</c:v>
                </c:pt>
                <c:pt idx="5202">
                  <c:v>3.0403997999999999</c:v>
                </c:pt>
                <c:pt idx="5203">
                  <c:v>3.0406000999999998</c:v>
                </c:pt>
                <c:pt idx="5204">
                  <c:v>3.0407999000000001</c:v>
                </c:pt>
                <c:pt idx="5205">
                  <c:v>3.0409999000000001</c:v>
                </c:pt>
                <c:pt idx="5206">
                  <c:v>3.0412002</c:v>
                </c:pt>
                <c:pt idx="5207">
                  <c:v>3.0413999999999999</c:v>
                </c:pt>
                <c:pt idx="5208">
                  <c:v>3.0415999999999999</c:v>
                </c:pt>
                <c:pt idx="5209">
                  <c:v>3.0417998000000002</c:v>
                </c:pt>
                <c:pt idx="5210">
                  <c:v>3.0419998000000001</c:v>
                </c:pt>
                <c:pt idx="5211">
                  <c:v>3.0422001000000001</c:v>
                </c:pt>
                <c:pt idx="5212">
                  <c:v>3.0423998999999999</c:v>
                </c:pt>
                <c:pt idx="5213">
                  <c:v>3.0425998999999999</c:v>
                </c:pt>
                <c:pt idx="5214">
                  <c:v>3.0427998999999999</c:v>
                </c:pt>
                <c:pt idx="5215">
                  <c:v>3.0430000000000001</c:v>
                </c:pt>
                <c:pt idx="5216">
                  <c:v>3.0432000000000001</c:v>
                </c:pt>
                <c:pt idx="5217">
                  <c:v>3.0433998</c:v>
                </c:pt>
                <c:pt idx="5218">
                  <c:v>3.0435998</c:v>
                </c:pt>
                <c:pt idx="5219">
                  <c:v>3.0437998999999998</c:v>
                </c:pt>
                <c:pt idx="5220">
                  <c:v>3.0439999000000002</c:v>
                </c:pt>
                <c:pt idx="5221">
                  <c:v>3.0441999000000002</c:v>
                </c:pt>
                <c:pt idx="5222">
                  <c:v>3.0444</c:v>
                </c:pt>
                <c:pt idx="5223">
                  <c:v>3.0446</c:v>
                </c:pt>
                <c:pt idx="5224">
                  <c:v>3.0447997999999998</c:v>
                </c:pt>
                <c:pt idx="5225">
                  <c:v>3.0449997999999998</c:v>
                </c:pt>
                <c:pt idx="5226">
                  <c:v>3.0451999000000001</c:v>
                </c:pt>
                <c:pt idx="5227">
                  <c:v>3.0453999</c:v>
                </c:pt>
                <c:pt idx="5228">
                  <c:v>3.0455999</c:v>
                </c:pt>
                <c:pt idx="5229">
                  <c:v>3.0457996999999999</c:v>
                </c:pt>
                <c:pt idx="5230">
                  <c:v>3.0459999999999998</c:v>
                </c:pt>
                <c:pt idx="5231">
                  <c:v>3.0461999999999998</c:v>
                </c:pt>
                <c:pt idx="5232">
                  <c:v>3.0463998000000001</c:v>
                </c:pt>
                <c:pt idx="5233">
                  <c:v>3.0465998999999999</c:v>
                </c:pt>
                <c:pt idx="5234">
                  <c:v>3.0467998999999999</c:v>
                </c:pt>
                <c:pt idx="5235">
                  <c:v>3.0469998999999999</c:v>
                </c:pt>
                <c:pt idx="5236">
                  <c:v>3.0472000000000001</c:v>
                </c:pt>
                <c:pt idx="5237">
                  <c:v>3.0473998</c:v>
                </c:pt>
                <c:pt idx="5238">
                  <c:v>3.0476000000000001</c:v>
                </c:pt>
                <c:pt idx="5239">
                  <c:v>3.0478000999999999</c:v>
                </c:pt>
                <c:pt idx="5240">
                  <c:v>3.0479999000000002</c:v>
                </c:pt>
                <c:pt idx="5241">
                  <c:v>3.0481999000000002</c:v>
                </c:pt>
                <c:pt idx="5242">
                  <c:v>3.0483997</c:v>
                </c:pt>
                <c:pt idx="5243">
                  <c:v>3.0486</c:v>
                </c:pt>
                <c:pt idx="5244">
                  <c:v>3.0488</c:v>
                </c:pt>
                <c:pt idx="5245">
                  <c:v>3.0489997999999998</c:v>
                </c:pt>
                <c:pt idx="5246">
                  <c:v>3.0492001000000002</c:v>
                </c:pt>
                <c:pt idx="5247">
                  <c:v>3.0494001000000002</c:v>
                </c:pt>
                <c:pt idx="5248">
                  <c:v>3.0495999</c:v>
                </c:pt>
                <c:pt idx="5249">
                  <c:v>3.0497999</c:v>
                </c:pt>
                <c:pt idx="5250">
                  <c:v>3.0499996999999999</c:v>
                </c:pt>
                <c:pt idx="5251">
                  <c:v>3.0501999999999998</c:v>
                </c:pt>
                <c:pt idx="5252">
                  <c:v>3.0503999999999998</c:v>
                </c:pt>
                <c:pt idx="5253">
                  <c:v>3.0505998000000001</c:v>
                </c:pt>
                <c:pt idx="5254">
                  <c:v>3.0508001</c:v>
                </c:pt>
                <c:pt idx="5255">
                  <c:v>3.0509998999999999</c:v>
                </c:pt>
                <c:pt idx="5256">
                  <c:v>3.0511998999999999</c:v>
                </c:pt>
                <c:pt idx="5257">
                  <c:v>3.0513998999999998</c:v>
                </c:pt>
                <c:pt idx="5258">
                  <c:v>3.0515997000000001</c:v>
                </c:pt>
                <c:pt idx="5259">
                  <c:v>3.0518000000000001</c:v>
                </c:pt>
                <c:pt idx="5260">
                  <c:v>3.0519997999999999</c:v>
                </c:pt>
                <c:pt idx="5261">
                  <c:v>3.0521997999999999</c:v>
                </c:pt>
                <c:pt idx="5262">
                  <c:v>3.0524000999999998</c:v>
                </c:pt>
                <c:pt idx="5263">
                  <c:v>3.0525999000000001</c:v>
                </c:pt>
                <c:pt idx="5264">
                  <c:v>3.0527999000000001</c:v>
                </c:pt>
                <c:pt idx="5265">
                  <c:v>3.0529997</c:v>
                </c:pt>
                <c:pt idx="5266">
                  <c:v>3.0531997999999998</c:v>
                </c:pt>
                <c:pt idx="5267">
                  <c:v>3.0533999999999999</c:v>
                </c:pt>
                <c:pt idx="5268">
                  <c:v>3.0535998000000002</c:v>
                </c:pt>
                <c:pt idx="5269">
                  <c:v>3.0537999</c:v>
                </c:pt>
                <c:pt idx="5270">
                  <c:v>3.0540001000000001</c:v>
                </c:pt>
                <c:pt idx="5271">
                  <c:v>3.0541999</c:v>
                </c:pt>
                <c:pt idx="5272">
                  <c:v>3.0543999999999998</c:v>
                </c:pt>
                <c:pt idx="5273">
                  <c:v>3.0545998000000001</c:v>
                </c:pt>
                <c:pt idx="5274">
                  <c:v>3.0547998000000001</c:v>
                </c:pt>
                <c:pt idx="5275">
                  <c:v>3.0550001</c:v>
                </c:pt>
                <c:pt idx="5276">
                  <c:v>3.0551998999999999</c:v>
                </c:pt>
                <c:pt idx="5277">
                  <c:v>3.0553998999999998</c:v>
                </c:pt>
                <c:pt idx="5278">
                  <c:v>3.0555998999999998</c:v>
                </c:pt>
                <c:pt idx="5279">
                  <c:v>3.0558000000000001</c:v>
                </c:pt>
                <c:pt idx="5280">
                  <c:v>3.056</c:v>
                </c:pt>
                <c:pt idx="5281">
                  <c:v>3.0561997999999999</c:v>
                </c:pt>
                <c:pt idx="5282">
                  <c:v>3.0563997999999999</c:v>
                </c:pt>
                <c:pt idx="5283">
                  <c:v>3.0566000999999998</c:v>
                </c:pt>
                <c:pt idx="5284">
                  <c:v>3.0567999000000001</c:v>
                </c:pt>
                <c:pt idx="5285">
                  <c:v>3.0569999000000001</c:v>
                </c:pt>
                <c:pt idx="5286">
                  <c:v>3.0571999999999999</c:v>
                </c:pt>
                <c:pt idx="5287">
                  <c:v>3.0573999999999999</c:v>
                </c:pt>
                <c:pt idx="5288">
                  <c:v>3.0575999999999999</c:v>
                </c:pt>
                <c:pt idx="5289">
                  <c:v>3.0577998000000002</c:v>
                </c:pt>
                <c:pt idx="5290">
                  <c:v>3.0579998000000002</c:v>
                </c:pt>
                <c:pt idx="5291">
                  <c:v>3.0581999</c:v>
                </c:pt>
                <c:pt idx="5292">
                  <c:v>3.0583998999999999</c:v>
                </c:pt>
                <c:pt idx="5293">
                  <c:v>3.0585998999999999</c:v>
                </c:pt>
                <c:pt idx="5294">
                  <c:v>3.0588000000000002</c:v>
                </c:pt>
                <c:pt idx="5295">
                  <c:v>3.0590000000000002</c:v>
                </c:pt>
                <c:pt idx="5296">
                  <c:v>3.0591998</c:v>
                </c:pt>
                <c:pt idx="5297">
                  <c:v>3.0593998</c:v>
                </c:pt>
                <c:pt idx="5298">
                  <c:v>3.0595998999999998</c:v>
                </c:pt>
                <c:pt idx="5299">
                  <c:v>3.0597998999999998</c:v>
                </c:pt>
                <c:pt idx="5300">
                  <c:v>3.0599999000000002</c:v>
                </c:pt>
                <c:pt idx="5301">
                  <c:v>3.0601997000000001</c:v>
                </c:pt>
                <c:pt idx="5302">
                  <c:v>3.0604</c:v>
                </c:pt>
                <c:pt idx="5303">
                  <c:v>3.0606</c:v>
                </c:pt>
                <c:pt idx="5304">
                  <c:v>3.0607997999999998</c:v>
                </c:pt>
                <c:pt idx="5305">
                  <c:v>3.0609999000000001</c:v>
                </c:pt>
                <c:pt idx="5306">
                  <c:v>3.0611999000000001</c:v>
                </c:pt>
                <c:pt idx="5307">
                  <c:v>3.0613999000000001</c:v>
                </c:pt>
                <c:pt idx="5308">
                  <c:v>3.0615999999999999</c:v>
                </c:pt>
                <c:pt idx="5309">
                  <c:v>3.0617998000000002</c:v>
                </c:pt>
                <c:pt idx="5310">
                  <c:v>3.0619999999999998</c:v>
                </c:pt>
                <c:pt idx="5311">
                  <c:v>3.0622001000000001</c:v>
                </c:pt>
                <c:pt idx="5312">
                  <c:v>3.0623999</c:v>
                </c:pt>
                <c:pt idx="5313">
                  <c:v>3.0625998999999999</c:v>
                </c:pt>
                <c:pt idx="5314">
                  <c:v>3.0627996999999998</c:v>
                </c:pt>
                <c:pt idx="5315">
                  <c:v>3.0630000000000002</c:v>
                </c:pt>
                <c:pt idx="5316">
                  <c:v>3.0632000000000001</c:v>
                </c:pt>
                <c:pt idx="5317">
                  <c:v>3.0633998</c:v>
                </c:pt>
                <c:pt idx="5318">
                  <c:v>3.0636000999999999</c:v>
                </c:pt>
                <c:pt idx="5319">
                  <c:v>3.0638000999999999</c:v>
                </c:pt>
                <c:pt idx="5320">
                  <c:v>3.0639999000000002</c:v>
                </c:pt>
                <c:pt idx="5321">
                  <c:v>3.0641999000000002</c:v>
                </c:pt>
                <c:pt idx="5322">
                  <c:v>3.0643997000000001</c:v>
                </c:pt>
                <c:pt idx="5323">
                  <c:v>3.0646</c:v>
                </c:pt>
                <c:pt idx="5324">
                  <c:v>3.0648</c:v>
                </c:pt>
                <c:pt idx="5325">
                  <c:v>3.0649997999999998</c:v>
                </c:pt>
                <c:pt idx="5326">
                  <c:v>3.0652001000000002</c:v>
                </c:pt>
                <c:pt idx="5327">
                  <c:v>3.0653999000000001</c:v>
                </c:pt>
                <c:pt idx="5328">
                  <c:v>3.0655999</c:v>
                </c:pt>
                <c:pt idx="5329">
                  <c:v>3.0657999999999999</c:v>
                </c:pt>
                <c:pt idx="5330">
                  <c:v>3.0659996999999999</c:v>
                </c:pt>
                <c:pt idx="5331">
                  <c:v>3.0661999999999998</c:v>
                </c:pt>
                <c:pt idx="5332">
                  <c:v>3.0663998000000001</c:v>
                </c:pt>
                <c:pt idx="5333">
                  <c:v>3.0665998000000001</c:v>
                </c:pt>
                <c:pt idx="5334">
                  <c:v>3.0668001</c:v>
                </c:pt>
                <c:pt idx="5335">
                  <c:v>3.0669998999999999</c:v>
                </c:pt>
                <c:pt idx="5336">
                  <c:v>3.0671998999999999</c:v>
                </c:pt>
                <c:pt idx="5337">
                  <c:v>3.0673997000000002</c:v>
                </c:pt>
                <c:pt idx="5338">
                  <c:v>3.0675998</c:v>
                </c:pt>
                <c:pt idx="5339">
                  <c:v>3.0678000000000001</c:v>
                </c:pt>
                <c:pt idx="5340">
                  <c:v>3.0679997999999999</c:v>
                </c:pt>
                <c:pt idx="5341">
                  <c:v>3.0681999000000002</c:v>
                </c:pt>
                <c:pt idx="5342">
                  <c:v>3.0684000999999999</c:v>
                </c:pt>
                <c:pt idx="5343">
                  <c:v>3.0685999000000002</c:v>
                </c:pt>
                <c:pt idx="5344">
                  <c:v>3.0688</c:v>
                </c:pt>
                <c:pt idx="5345">
                  <c:v>3.0689997999999998</c:v>
                </c:pt>
                <c:pt idx="5346">
                  <c:v>3.0691997999999998</c:v>
                </c:pt>
                <c:pt idx="5347">
                  <c:v>3.0694001000000002</c:v>
                </c:pt>
                <c:pt idx="5348">
                  <c:v>3.0695999</c:v>
                </c:pt>
                <c:pt idx="5349">
                  <c:v>3.0697999</c:v>
                </c:pt>
                <c:pt idx="5350">
                  <c:v>3.0699999</c:v>
                </c:pt>
                <c:pt idx="5351">
                  <c:v>3.0701999999999998</c:v>
                </c:pt>
                <c:pt idx="5352">
                  <c:v>3.0703999999999998</c:v>
                </c:pt>
                <c:pt idx="5353">
                  <c:v>3.0705998000000001</c:v>
                </c:pt>
                <c:pt idx="5354">
                  <c:v>3.0707998000000001</c:v>
                </c:pt>
                <c:pt idx="5355">
                  <c:v>3.0709998999999999</c:v>
                </c:pt>
                <c:pt idx="5356">
                  <c:v>3.0711998999999999</c:v>
                </c:pt>
                <c:pt idx="5357">
                  <c:v>3.0713998999999998</c:v>
                </c:pt>
                <c:pt idx="5358">
                  <c:v>3.0716000000000001</c:v>
                </c:pt>
                <c:pt idx="5359">
                  <c:v>3.0718000000000001</c:v>
                </c:pt>
                <c:pt idx="5360">
                  <c:v>3.0720000000000001</c:v>
                </c:pt>
                <c:pt idx="5361">
                  <c:v>3.0721997999999999</c:v>
                </c:pt>
                <c:pt idx="5362">
                  <c:v>3.0723999000000002</c:v>
                </c:pt>
                <c:pt idx="5363">
                  <c:v>3.0725999000000002</c:v>
                </c:pt>
                <c:pt idx="5364">
                  <c:v>3.0727999000000001</c:v>
                </c:pt>
                <c:pt idx="5365">
                  <c:v>3.073</c:v>
                </c:pt>
                <c:pt idx="5366">
                  <c:v>3.0731999999999999</c:v>
                </c:pt>
                <c:pt idx="5367">
                  <c:v>3.0733999999999999</c:v>
                </c:pt>
                <c:pt idx="5368">
                  <c:v>3.0735998000000002</c:v>
                </c:pt>
                <c:pt idx="5369">
                  <c:v>3.0737998000000002</c:v>
                </c:pt>
                <c:pt idx="5370">
                  <c:v>3.0739999</c:v>
                </c:pt>
                <c:pt idx="5371">
                  <c:v>3.0741999</c:v>
                </c:pt>
                <c:pt idx="5372">
                  <c:v>3.0743999</c:v>
                </c:pt>
                <c:pt idx="5373">
                  <c:v>3.0745996999999998</c:v>
                </c:pt>
                <c:pt idx="5374">
                  <c:v>3.0748000000000002</c:v>
                </c:pt>
                <c:pt idx="5375">
                  <c:v>3.0750000000000002</c:v>
                </c:pt>
                <c:pt idx="5376">
                  <c:v>3.0751998</c:v>
                </c:pt>
                <c:pt idx="5377">
                  <c:v>3.0753998999999999</c:v>
                </c:pt>
                <c:pt idx="5378">
                  <c:v>3.0755997000000002</c:v>
                </c:pt>
                <c:pt idx="5379">
                  <c:v>3.0757998999999998</c:v>
                </c:pt>
                <c:pt idx="5380">
                  <c:v>3.0760000000000001</c:v>
                </c:pt>
                <c:pt idx="5381">
                  <c:v>3.0761997999999999</c:v>
                </c:pt>
                <c:pt idx="5382">
                  <c:v>3.0764</c:v>
                </c:pt>
                <c:pt idx="5383">
                  <c:v>3.0766000999999998</c:v>
                </c:pt>
                <c:pt idx="5384">
                  <c:v>3.0767999000000001</c:v>
                </c:pt>
                <c:pt idx="5385">
                  <c:v>3.0769999000000001</c:v>
                </c:pt>
                <c:pt idx="5386">
                  <c:v>3.0771997</c:v>
                </c:pt>
                <c:pt idx="5387">
                  <c:v>3.0773999999999999</c:v>
                </c:pt>
                <c:pt idx="5388">
                  <c:v>3.0775999999999999</c:v>
                </c:pt>
                <c:pt idx="5389">
                  <c:v>3.0777998000000002</c:v>
                </c:pt>
                <c:pt idx="5390">
                  <c:v>3.0780001000000001</c:v>
                </c:pt>
                <c:pt idx="5391">
                  <c:v>3.0781999</c:v>
                </c:pt>
                <c:pt idx="5392">
                  <c:v>3.0783999</c:v>
                </c:pt>
                <c:pt idx="5393">
                  <c:v>3.0785998999999999</c:v>
                </c:pt>
                <c:pt idx="5394">
                  <c:v>3.0787996999999998</c:v>
                </c:pt>
                <c:pt idx="5395">
                  <c:v>3.0790000000000002</c:v>
                </c:pt>
                <c:pt idx="5396">
                  <c:v>3.0792000000000002</c:v>
                </c:pt>
                <c:pt idx="5397">
                  <c:v>3.0793998</c:v>
                </c:pt>
                <c:pt idx="5398">
                  <c:v>3.0796001</c:v>
                </c:pt>
                <c:pt idx="5399">
                  <c:v>3.0797998999999998</c:v>
                </c:pt>
                <c:pt idx="5400">
                  <c:v>3.0799998999999998</c:v>
                </c:pt>
                <c:pt idx="5401">
                  <c:v>3.0802</c:v>
                </c:pt>
                <c:pt idx="5402">
                  <c:v>3.0803997999999999</c:v>
                </c:pt>
                <c:pt idx="5403">
                  <c:v>3.0806</c:v>
                </c:pt>
                <c:pt idx="5404">
                  <c:v>3.0807997999999999</c:v>
                </c:pt>
                <c:pt idx="5405">
                  <c:v>3.0809999000000001</c:v>
                </c:pt>
                <c:pt idx="5406">
                  <c:v>3.0812001000000002</c:v>
                </c:pt>
                <c:pt idx="5407">
                  <c:v>3.0813999000000001</c:v>
                </c:pt>
                <c:pt idx="5408">
                  <c:v>3.0815999999999999</c:v>
                </c:pt>
                <c:pt idx="5409">
                  <c:v>3.0817996999999999</c:v>
                </c:pt>
                <c:pt idx="5410">
                  <c:v>3.0819998000000002</c:v>
                </c:pt>
                <c:pt idx="5411">
                  <c:v>3.0822001000000001</c:v>
                </c:pt>
                <c:pt idx="5412">
                  <c:v>3.0823998000000001</c:v>
                </c:pt>
                <c:pt idx="5413">
                  <c:v>3.0825998999999999</c:v>
                </c:pt>
                <c:pt idx="5414">
                  <c:v>3.0828001</c:v>
                </c:pt>
                <c:pt idx="5415">
                  <c:v>3.0829998999999999</c:v>
                </c:pt>
                <c:pt idx="5416">
                  <c:v>3.0832000000000002</c:v>
                </c:pt>
                <c:pt idx="5417">
                  <c:v>3.0833998</c:v>
                </c:pt>
                <c:pt idx="5418">
                  <c:v>3.0835998</c:v>
                </c:pt>
                <c:pt idx="5419">
                  <c:v>3.0838000999999999</c:v>
                </c:pt>
                <c:pt idx="5420">
                  <c:v>3.0839998999999998</c:v>
                </c:pt>
                <c:pt idx="5421">
                  <c:v>3.0841999000000002</c:v>
                </c:pt>
                <c:pt idx="5422">
                  <c:v>3.0843999000000002</c:v>
                </c:pt>
                <c:pt idx="5423">
                  <c:v>3.0846</c:v>
                </c:pt>
                <c:pt idx="5424">
                  <c:v>3.0848</c:v>
                </c:pt>
                <c:pt idx="5425">
                  <c:v>3.0849997999999998</c:v>
                </c:pt>
                <c:pt idx="5426">
                  <c:v>3.0851997999999998</c:v>
                </c:pt>
                <c:pt idx="5427">
                  <c:v>3.0853999000000001</c:v>
                </c:pt>
                <c:pt idx="5428">
                  <c:v>3.0855999000000001</c:v>
                </c:pt>
                <c:pt idx="5429">
                  <c:v>3.0857999</c:v>
                </c:pt>
                <c:pt idx="5430">
                  <c:v>3.0859999999999999</c:v>
                </c:pt>
                <c:pt idx="5431">
                  <c:v>3.0861999999999998</c:v>
                </c:pt>
                <c:pt idx="5432">
                  <c:v>3.0863998000000001</c:v>
                </c:pt>
                <c:pt idx="5433">
                  <c:v>3.0865998000000001</c:v>
                </c:pt>
                <c:pt idx="5434">
                  <c:v>3.0867998999999999</c:v>
                </c:pt>
                <c:pt idx="5435">
                  <c:v>3.0869998999999999</c:v>
                </c:pt>
                <c:pt idx="5436">
                  <c:v>3.0871998999999999</c:v>
                </c:pt>
                <c:pt idx="5437">
                  <c:v>3.0874000000000001</c:v>
                </c:pt>
                <c:pt idx="5438">
                  <c:v>3.0876000000000001</c:v>
                </c:pt>
                <c:pt idx="5439">
                  <c:v>3.0878000000000001</c:v>
                </c:pt>
                <c:pt idx="5440">
                  <c:v>3.0879998</c:v>
                </c:pt>
                <c:pt idx="5441">
                  <c:v>3.0881999000000002</c:v>
                </c:pt>
                <c:pt idx="5442">
                  <c:v>3.0883999000000002</c:v>
                </c:pt>
                <c:pt idx="5443">
                  <c:v>3.0885999000000002</c:v>
                </c:pt>
                <c:pt idx="5444">
                  <c:v>3.0888</c:v>
                </c:pt>
                <c:pt idx="5445">
                  <c:v>3.0889997</c:v>
                </c:pt>
                <c:pt idx="5446">
                  <c:v>3.0891999999999999</c:v>
                </c:pt>
                <c:pt idx="5447">
                  <c:v>3.0894001000000002</c:v>
                </c:pt>
                <c:pt idx="5448">
                  <c:v>3.0895997999999998</c:v>
                </c:pt>
                <c:pt idx="5449">
                  <c:v>3.0897999</c:v>
                </c:pt>
                <c:pt idx="5450">
                  <c:v>3.0899996999999999</c:v>
                </c:pt>
                <c:pt idx="5451">
                  <c:v>3.0901999</c:v>
                </c:pt>
                <c:pt idx="5452">
                  <c:v>3.0903999999999998</c:v>
                </c:pt>
                <c:pt idx="5453">
                  <c:v>3.0905998000000001</c:v>
                </c:pt>
                <c:pt idx="5454">
                  <c:v>3.0908000000000002</c:v>
                </c:pt>
                <c:pt idx="5455">
                  <c:v>3.0910001</c:v>
                </c:pt>
                <c:pt idx="5456">
                  <c:v>3.0911998999999999</c:v>
                </c:pt>
                <c:pt idx="5457">
                  <c:v>3.0913998999999999</c:v>
                </c:pt>
                <c:pt idx="5458">
                  <c:v>3.0915997000000002</c:v>
                </c:pt>
                <c:pt idx="5459">
                  <c:v>3.0918000000000001</c:v>
                </c:pt>
                <c:pt idx="5460">
                  <c:v>3.0920000000000001</c:v>
                </c:pt>
                <c:pt idx="5461">
                  <c:v>3.0921997999999999</c:v>
                </c:pt>
                <c:pt idx="5462">
                  <c:v>3.0924000999999999</c:v>
                </c:pt>
                <c:pt idx="5463">
                  <c:v>3.0925999000000002</c:v>
                </c:pt>
                <c:pt idx="5464">
                  <c:v>3.0927999000000002</c:v>
                </c:pt>
                <c:pt idx="5465">
                  <c:v>3.0929999000000001</c:v>
                </c:pt>
                <c:pt idx="5466">
                  <c:v>3.0931997</c:v>
                </c:pt>
                <c:pt idx="5467">
                  <c:v>3.0933999999999999</c:v>
                </c:pt>
                <c:pt idx="5468">
                  <c:v>3.0935997999999998</c:v>
                </c:pt>
                <c:pt idx="5469">
                  <c:v>3.0937998000000002</c:v>
                </c:pt>
                <c:pt idx="5470">
                  <c:v>3.0940001000000001</c:v>
                </c:pt>
                <c:pt idx="5471">
                  <c:v>3.0941999</c:v>
                </c:pt>
                <c:pt idx="5472">
                  <c:v>3.0943999</c:v>
                </c:pt>
                <c:pt idx="5473">
                  <c:v>3.0945999999999998</c:v>
                </c:pt>
                <c:pt idx="5474">
                  <c:v>3.0947998000000001</c:v>
                </c:pt>
                <c:pt idx="5475">
                  <c:v>3.0950000000000002</c:v>
                </c:pt>
                <c:pt idx="5476">
                  <c:v>3.0951998000000001</c:v>
                </c:pt>
                <c:pt idx="5477">
                  <c:v>3.0953998999999999</c:v>
                </c:pt>
                <c:pt idx="5478">
                  <c:v>3.0956001</c:v>
                </c:pt>
                <c:pt idx="5479">
                  <c:v>3.0957998999999998</c:v>
                </c:pt>
                <c:pt idx="5480">
                  <c:v>3.0960000000000001</c:v>
                </c:pt>
                <c:pt idx="5481">
                  <c:v>3.0961997999999999</c:v>
                </c:pt>
                <c:pt idx="5482">
                  <c:v>3.0963997999999999</c:v>
                </c:pt>
                <c:pt idx="5483">
                  <c:v>3.0966000999999999</c:v>
                </c:pt>
                <c:pt idx="5484">
                  <c:v>3.0967999000000002</c:v>
                </c:pt>
                <c:pt idx="5485">
                  <c:v>3.0969999000000001</c:v>
                </c:pt>
                <c:pt idx="5486">
                  <c:v>3.0972002000000001</c:v>
                </c:pt>
                <c:pt idx="5487">
                  <c:v>3.0973999999999999</c:v>
                </c:pt>
                <c:pt idx="5488">
                  <c:v>3.0975999999999999</c:v>
                </c:pt>
                <c:pt idx="5489">
                  <c:v>3.0977998000000002</c:v>
                </c:pt>
                <c:pt idx="5490">
                  <c:v>3.0979998000000002</c:v>
                </c:pt>
                <c:pt idx="5491">
                  <c:v>3.0982001000000001</c:v>
                </c:pt>
                <c:pt idx="5492">
                  <c:v>3.0983999</c:v>
                </c:pt>
                <c:pt idx="5493">
                  <c:v>3.0985999</c:v>
                </c:pt>
                <c:pt idx="5494">
                  <c:v>3.0987998999999999</c:v>
                </c:pt>
                <c:pt idx="5495">
                  <c:v>3.0990000000000002</c:v>
                </c:pt>
                <c:pt idx="5496">
                  <c:v>3.0992000000000002</c:v>
                </c:pt>
                <c:pt idx="5497">
                  <c:v>3.0993998</c:v>
                </c:pt>
                <c:pt idx="5498">
                  <c:v>3.0995998</c:v>
                </c:pt>
                <c:pt idx="5499">
                  <c:v>3.0997998999999998</c:v>
                </c:pt>
                <c:pt idx="5500">
                  <c:v>3.0999998999999998</c:v>
                </c:pt>
                <c:pt idx="5501">
                  <c:v>3.1001998999999998</c:v>
                </c:pt>
                <c:pt idx="5502">
                  <c:v>3.1004</c:v>
                </c:pt>
                <c:pt idx="5503">
                  <c:v>3.1006</c:v>
                </c:pt>
                <c:pt idx="5504">
                  <c:v>3.1007997999999999</c:v>
                </c:pt>
                <c:pt idx="5505">
                  <c:v>3.1009997999999999</c:v>
                </c:pt>
                <c:pt idx="5506">
                  <c:v>3.1011999000000001</c:v>
                </c:pt>
                <c:pt idx="5507">
                  <c:v>3.1013999000000001</c:v>
                </c:pt>
                <c:pt idx="5508">
                  <c:v>3.1015999000000001</c:v>
                </c:pt>
                <c:pt idx="5509">
                  <c:v>3.1017999999999999</c:v>
                </c:pt>
                <c:pt idx="5510">
                  <c:v>3.1019999999999999</c:v>
                </c:pt>
                <c:pt idx="5511">
                  <c:v>3.1021999999999998</c:v>
                </c:pt>
                <c:pt idx="5512">
                  <c:v>3.1023998000000002</c:v>
                </c:pt>
                <c:pt idx="5513">
                  <c:v>3.1025999</c:v>
                </c:pt>
                <c:pt idx="5514">
                  <c:v>3.1027998999999999</c:v>
                </c:pt>
                <c:pt idx="5515">
                  <c:v>3.1029998999999999</c:v>
                </c:pt>
                <c:pt idx="5516">
                  <c:v>3.1032000000000002</c:v>
                </c:pt>
                <c:pt idx="5517">
                  <c:v>3.1033998</c:v>
                </c:pt>
                <c:pt idx="5518">
                  <c:v>3.1036000000000001</c:v>
                </c:pt>
                <c:pt idx="5519">
                  <c:v>3.1038001</c:v>
                </c:pt>
                <c:pt idx="5520">
                  <c:v>3.1039998999999998</c:v>
                </c:pt>
                <c:pt idx="5521">
                  <c:v>3.1041998999999998</c:v>
                </c:pt>
                <c:pt idx="5522">
                  <c:v>3.1043997000000001</c:v>
                </c:pt>
                <c:pt idx="5523">
                  <c:v>3.1046</c:v>
                </c:pt>
                <c:pt idx="5524">
                  <c:v>3.1048</c:v>
                </c:pt>
                <c:pt idx="5525">
                  <c:v>3.1049997999999999</c:v>
                </c:pt>
                <c:pt idx="5526">
                  <c:v>3.1052000999999998</c:v>
                </c:pt>
                <c:pt idx="5527">
                  <c:v>3.1054001000000002</c:v>
                </c:pt>
                <c:pt idx="5528">
                  <c:v>3.1055999000000001</c:v>
                </c:pt>
                <c:pt idx="5529">
                  <c:v>3.1057999000000001</c:v>
                </c:pt>
                <c:pt idx="5530">
                  <c:v>3.1059996999999999</c:v>
                </c:pt>
                <c:pt idx="5531">
                  <c:v>3.1061999999999999</c:v>
                </c:pt>
                <c:pt idx="5532">
                  <c:v>3.1063999999999998</c:v>
                </c:pt>
                <c:pt idx="5533">
                  <c:v>3.1065998000000001</c:v>
                </c:pt>
                <c:pt idx="5534">
                  <c:v>3.1068001000000001</c:v>
                </c:pt>
                <c:pt idx="5535">
                  <c:v>3.1069998999999999</c:v>
                </c:pt>
                <c:pt idx="5536">
                  <c:v>3.1071998999999999</c:v>
                </c:pt>
                <c:pt idx="5537">
                  <c:v>3.1073998999999999</c:v>
                </c:pt>
                <c:pt idx="5538">
                  <c:v>3.1075997000000002</c:v>
                </c:pt>
                <c:pt idx="5539">
                  <c:v>3.1078000000000001</c:v>
                </c:pt>
                <c:pt idx="5540">
                  <c:v>3.1079998</c:v>
                </c:pt>
                <c:pt idx="5541">
                  <c:v>3.1081998</c:v>
                </c:pt>
                <c:pt idx="5542">
                  <c:v>3.1084000999999999</c:v>
                </c:pt>
                <c:pt idx="5543">
                  <c:v>3.1085999000000002</c:v>
                </c:pt>
                <c:pt idx="5544">
                  <c:v>3.1087999000000002</c:v>
                </c:pt>
                <c:pt idx="5545">
                  <c:v>3.1089997</c:v>
                </c:pt>
                <c:pt idx="5546">
                  <c:v>3.1091997999999998</c:v>
                </c:pt>
                <c:pt idx="5547">
                  <c:v>3.1093999999999999</c:v>
                </c:pt>
                <c:pt idx="5548">
                  <c:v>3.1095997999999998</c:v>
                </c:pt>
                <c:pt idx="5549">
                  <c:v>3.1097999000000001</c:v>
                </c:pt>
                <c:pt idx="5550">
                  <c:v>3.1100001000000002</c:v>
                </c:pt>
                <c:pt idx="5551">
                  <c:v>3.1101999</c:v>
                </c:pt>
                <c:pt idx="5552">
                  <c:v>3.1103999999999998</c:v>
                </c:pt>
                <c:pt idx="5553">
                  <c:v>3.1105998000000001</c:v>
                </c:pt>
                <c:pt idx="5554">
                  <c:v>3.1107998000000001</c:v>
                </c:pt>
                <c:pt idx="5555">
                  <c:v>3.1110001</c:v>
                </c:pt>
                <c:pt idx="5556">
                  <c:v>3.1111998999999999</c:v>
                </c:pt>
                <c:pt idx="5557">
                  <c:v>3.1113998999999999</c:v>
                </c:pt>
                <c:pt idx="5558">
                  <c:v>3.1115998999999999</c:v>
                </c:pt>
                <c:pt idx="5559">
                  <c:v>3.1118000000000001</c:v>
                </c:pt>
                <c:pt idx="5560">
                  <c:v>3.1120000000000001</c:v>
                </c:pt>
                <c:pt idx="5561">
                  <c:v>3.1121998</c:v>
                </c:pt>
                <c:pt idx="5562">
                  <c:v>3.1123997999999999</c:v>
                </c:pt>
                <c:pt idx="5563">
                  <c:v>3.1126000999999999</c:v>
                </c:pt>
                <c:pt idx="5564">
                  <c:v>3.1127999000000002</c:v>
                </c:pt>
                <c:pt idx="5565">
                  <c:v>3.1129999000000002</c:v>
                </c:pt>
                <c:pt idx="5566">
                  <c:v>3.1131999000000001</c:v>
                </c:pt>
                <c:pt idx="5567">
                  <c:v>3.1133999999999999</c:v>
                </c:pt>
                <c:pt idx="5568">
                  <c:v>3.1135999999999999</c:v>
                </c:pt>
                <c:pt idx="5569">
                  <c:v>3.1137997999999998</c:v>
                </c:pt>
                <c:pt idx="5570">
                  <c:v>3.1139998000000002</c:v>
                </c:pt>
                <c:pt idx="5571">
                  <c:v>3.1141999</c:v>
                </c:pt>
                <c:pt idx="5572">
                  <c:v>3.1143999</c:v>
                </c:pt>
                <c:pt idx="5573">
                  <c:v>3.1145999</c:v>
                </c:pt>
                <c:pt idx="5574">
                  <c:v>3.1147999999999998</c:v>
                </c:pt>
                <c:pt idx="5575">
                  <c:v>3.1150000000000002</c:v>
                </c:pt>
                <c:pt idx="5576">
                  <c:v>3.1151998000000001</c:v>
                </c:pt>
                <c:pt idx="5577">
                  <c:v>3.1153998000000001</c:v>
                </c:pt>
                <c:pt idx="5578">
                  <c:v>3.1155998999999999</c:v>
                </c:pt>
                <c:pt idx="5579">
                  <c:v>3.1157998999999998</c:v>
                </c:pt>
                <c:pt idx="5580">
                  <c:v>3.1159998999999998</c:v>
                </c:pt>
                <c:pt idx="5581">
                  <c:v>3.1161997000000001</c:v>
                </c:pt>
                <c:pt idx="5582">
                  <c:v>3.1164000000000001</c:v>
                </c:pt>
                <c:pt idx="5583">
                  <c:v>3.1166</c:v>
                </c:pt>
                <c:pt idx="5584">
                  <c:v>3.1167997999999999</c:v>
                </c:pt>
                <c:pt idx="5585">
                  <c:v>3.1169999000000002</c:v>
                </c:pt>
                <c:pt idx="5586">
                  <c:v>3.1171999000000001</c:v>
                </c:pt>
                <c:pt idx="5587">
                  <c:v>3.1173999000000001</c:v>
                </c:pt>
                <c:pt idx="5588">
                  <c:v>3.1175999999999999</c:v>
                </c:pt>
                <c:pt idx="5589">
                  <c:v>3.1177997999999998</c:v>
                </c:pt>
                <c:pt idx="5590">
                  <c:v>3.1179999999999999</c:v>
                </c:pt>
                <c:pt idx="5591">
                  <c:v>3.1182001000000001</c:v>
                </c:pt>
                <c:pt idx="5592">
                  <c:v>3.1183999</c:v>
                </c:pt>
                <c:pt idx="5593">
                  <c:v>3.1185999</c:v>
                </c:pt>
                <c:pt idx="5594">
                  <c:v>3.1187996999999998</c:v>
                </c:pt>
                <c:pt idx="5595">
                  <c:v>3.1190000000000002</c:v>
                </c:pt>
                <c:pt idx="5596">
                  <c:v>3.1192000000000002</c:v>
                </c:pt>
                <c:pt idx="5597">
                  <c:v>3.1193998000000001</c:v>
                </c:pt>
                <c:pt idx="5598">
                  <c:v>3.1196001</c:v>
                </c:pt>
                <c:pt idx="5599">
                  <c:v>3.1198001</c:v>
                </c:pt>
                <c:pt idx="5600">
                  <c:v>3.1199998999999998</c:v>
                </c:pt>
                <c:pt idx="5601">
                  <c:v>3.1201998999999998</c:v>
                </c:pt>
                <c:pt idx="5602">
                  <c:v>3.1203997000000001</c:v>
                </c:pt>
                <c:pt idx="5603">
                  <c:v>3.1206</c:v>
                </c:pt>
                <c:pt idx="5604">
                  <c:v>3.1208</c:v>
                </c:pt>
                <c:pt idx="5605">
                  <c:v>3.1209997999999999</c:v>
                </c:pt>
                <c:pt idx="5606">
                  <c:v>3.1212000999999998</c:v>
                </c:pt>
                <c:pt idx="5607">
                  <c:v>3.1213999000000001</c:v>
                </c:pt>
                <c:pt idx="5608">
                  <c:v>3.1215999000000001</c:v>
                </c:pt>
                <c:pt idx="5609">
                  <c:v>3.1217999000000001</c:v>
                </c:pt>
                <c:pt idx="5610">
                  <c:v>3.1219996999999999</c:v>
                </c:pt>
                <c:pt idx="5611">
                  <c:v>3.1221999999999999</c:v>
                </c:pt>
                <c:pt idx="5612">
                  <c:v>3.1223998000000002</c:v>
                </c:pt>
                <c:pt idx="5613">
                  <c:v>3.1225998000000001</c:v>
                </c:pt>
                <c:pt idx="5614">
                  <c:v>3.1228001000000001</c:v>
                </c:pt>
                <c:pt idx="5615">
                  <c:v>3.1229998999999999</c:v>
                </c:pt>
                <c:pt idx="5616">
                  <c:v>3.1231998999999999</c:v>
                </c:pt>
                <c:pt idx="5617">
                  <c:v>3.1233996999999998</c:v>
                </c:pt>
                <c:pt idx="5618">
                  <c:v>3.1235998</c:v>
                </c:pt>
                <c:pt idx="5619">
                  <c:v>3.1238000000000001</c:v>
                </c:pt>
                <c:pt idx="5620">
                  <c:v>3.1239998</c:v>
                </c:pt>
                <c:pt idx="5621">
                  <c:v>3.1241998999999998</c:v>
                </c:pt>
                <c:pt idx="5622">
                  <c:v>3.1244000999999999</c:v>
                </c:pt>
                <c:pt idx="5623">
                  <c:v>3.1245999000000002</c:v>
                </c:pt>
                <c:pt idx="5624">
                  <c:v>3.1248</c:v>
                </c:pt>
                <c:pt idx="5625">
                  <c:v>3.1249997999999999</c:v>
                </c:pt>
                <c:pt idx="5626">
                  <c:v>3.1251997999999999</c:v>
                </c:pt>
                <c:pt idx="5627">
                  <c:v>3.1254000999999998</c:v>
                </c:pt>
                <c:pt idx="5628">
                  <c:v>3.1255999000000001</c:v>
                </c:pt>
                <c:pt idx="5629">
                  <c:v>3.1257999000000001</c:v>
                </c:pt>
                <c:pt idx="5630">
                  <c:v>3.1259999000000001</c:v>
                </c:pt>
                <c:pt idx="5631">
                  <c:v>3.1261999999999999</c:v>
                </c:pt>
                <c:pt idx="5632">
                  <c:v>3.1263999999999998</c:v>
                </c:pt>
                <c:pt idx="5633">
                  <c:v>3.1265998000000002</c:v>
                </c:pt>
                <c:pt idx="5634">
                  <c:v>3.1267998000000001</c:v>
                </c:pt>
                <c:pt idx="5635">
                  <c:v>3.1270001000000001</c:v>
                </c:pt>
                <c:pt idx="5636">
                  <c:v>3.1271998999999999</c:v>
                </c:pt>
                <c:pt idx="5637">
                  <c:v>3.1273998999999999</c:v>
                </c:pt>
                <c:pt idx="5638">
                  <c:v>3.1276000000000002</c:v>
                </c:pt>
                <c:pt idx="5639">
                  <c:v>3.1278000000000001</c:v>
                </c:pt>
                <c:pt idx="5640">
                  <c:v>3.1280000000000001</c:v>
                </c:pt>
                <c:pt idx="5641">
                  <c:v>3.1281998</c:v>
                </c:pt>
                <c:pt idx="5642">
                  <c:v>3.1283998</c:v>
                </c:pt>
                <c:pt idx="5643">
                  <c:v>3.1285999000000002</c:v>
                </c:pt>
                <c:pt idx="5644">
                  <c:v>3.1287999000000002</c:v>
                </c:pt>
                <c:pt idx="5645">
                  <c:v>3.1289999000000002</c:v>
                </c:pt>
                <c:pt idx="5646">
                  <c:v>3.1292</c:v>
                </c:pt>
                <c:pt idx="5647">
                  <c:v>3.1294</c:v>
                </c:pt>
                <c:pt idx="5648">
                  <c:v>3.1295997999999998</c:v>
                </c:pt>
                <c:pt idx="5649">
                  <c:v>3.1297997999999998</c:v>
                </c:pt>
                <c:pt idx="5650">
                  <c:v>3.1299999000000001</c:v>
                </c:pt>
                <c:pt idx="5651">
                  <c:v>3.1301999</c:v>
                </c:pt>
                <c:pt idx="5652">
                  <c:v>3.1303999</c:v>
                </c:pt>
                <c:pt idx="5653">
                  <c:v>3.1305996999999999</c:v>
                </c:pt>
                <c:pt idx="5654">
                  <c:v>3.1307999999999998</c:v>
                </c:pt>
                <c:pt idx="5655">
                  <c:v>3.1309999999999998</c:v>
                </c:pt>
                <c:pt idx="5656">
                  <c:v>3.1311998000000001</c:v>
                </c:pt>
                <c:pt idx="5657">
                  <c:v>3.1313998999999999</c:v>
                </c:pt>
                <c:pt idx="5658">
                  <c:v>3.1315997000000002</c:v>
                </c:pt>
                <c:pt idx="5659">
                  <c:v>3.1317998999999999</c:v>
                </c:pt>
                <c:pt idx="5660">
                  <c:v>3.1320000000000001</c:v>
                </c:pt>
                <c:pt idx="5661">
                  <c:v>3.1321998</c:v>
                </c:pt>
                <c:pt idx="5662">
                  <c:v>3.1324000000000001</c:v>
                </c:pt>
                <c:pt idx="5663">
                  <c:v>3.1326000999999999</c:v>
                </c:pt>
                <c:pt idx="5664">
                  <c:v>3.1327999000000002</c:v>
                </c:pt>
                <c:pt idx="5665">
                  <c:v>3.1329999000000002</c:v>
                </c:pt>
                <c:pt idx="5666">
                  <c:v>3.1331997</c:v>
                </c:pt>
                <c:pt idx="5667">
                  <c:v>3.1334</c:v>
                </c:pt>
                <c:pt idx="5668">
                  <c:v>3.1335999999999999</c:v>
                </c:pt>
                <c:pt idx="5669">
                  <c:v>3.1337997999999998</c:v>
                </c:pt>
                <c:pt idx="5670">
                  <c:v>3.1340001000000002</c:v>
                </c:pt>
                <c:pt idx="5671">
                  <c:v>3.1341999</c:v>
                </c:pt>
                <c:pt idx="5672">
                  <c:v>3.1343999</c:v>
                </c:pt>
                <c:pt idx="5673">
                  <c:v>3.1345999</c:v>
                </c:pt>
                <c:pt idx="5674">
                  <c:v>3.1347996999999999</c:v>
                </c:pt>
                <c:pt idx="5675">
                  <c:v>3.1349999999999998</c:v>
                </c:pt>
                <c:pt idx="5676">
                  <c:v>3.1352000000000002</c:v>
                </c:pt>
                <c:pt idx="5677">
                  <c:v>3.1353998000000001</c:v>
                </c:pt>
                <c:pt idx="5678">
                  <c:v>3.1356001</c:v>
                </c:pt>
                <c:pt idx="5679">
                  <c:v>3.1357998999999999</c:v>
                </c:pt>
                <c:pt idx="5680">
                  <c:v>3.1359998999999998</c:v>
                </c:pt>
                <c:pt idx="5681">
                  <c:v>3.1362000000000001</c:v>
                </c:pt>
                <c:pt idx="5682">
                  <c:v>3.1363997000000001</c:v>
                </c:pt>
                <c:pt idx="5683">
                  <c:v>3.1366000000000001</c:v>
                </c:pt>
                <c:pt idx="5684">
                  <c:v>3.1367997999999999</c:v>
                </c:pt>
                <c:pt idx="5685">
                  <c:v>3.1369997999999999</c:v>
                </c:pt>
                <c:pt idx="5686">
                  <c:v>3.1372000999999998</c:v>
                </c:pt>
                <c:pt idx="5687">
                  <c:v>3.1373999000000001</c:v>
                </c:pt>
                <c:pt idx="5688">
                  <c:v>3.1375999000000001</c:v>
                </c:pt>
                <c:pt idx="5689">
                  <c:v>3.1377997</c:v>
                </c:pt>
                <c:pt idx="5690">
                  <c:v>3.1379997999999998</c:v>
                </c:pt>
                <c:pt idx="5691">
                  <c:v>3.1381999999999999</c:v>
                </c:pt>
                <c:pt idx="5692">
                  <c:v>3.1383998000000002</c:v>
                </c:pt>
                <c:pt idx="5693">
                  <c:v>3.1385999</c:v>
                </c:pt>
                <c:pt idx="5694">
                  <c:v>3.1388001000000001</c:v>
                </c:pt>
                <c:pt idx="5695">
                  <c:v>3.1389999</c:v>
                </c:pt>
                <c:pt idx="5696">
                  <c:v>3.1392000000000002</c:v>
                </c:pt>
                <c:pt idx="5697">
                  <c:v>3.1393998000000001</c:v>
                </c:pt>
                <c:pt idx="5698">
                  <c:v>3.1395998000000001</c:v>
                </c:pt>
                <c:pt idx="5699">
                  <c:v>3.1398001</c:v>
                </c:pt>
                <c:pt idx="5700">
                  <c:v>3.1399998999999998</c:v>
                </c:pt>
                <c:pt idx="5701">
                  <c:v>3.1401998999999998</c:v>
                </c:pt>
                <c:pt idx="5702">
                  <c:v>3.1403998999999998</c:v>
                </c:pt>
                <c:pt idx="5703">
                  <c:v>3.1406000000000001</c:v>
                </c:pt>
                <c:pt idx="5704">
                  <c:v>3.1408</c:v>
                </c:pt>
                <c:pt idx="5705">
                  <c:v>3.1409997999999999</c:v>
                </c:pt>
                <c:pt idx="5706">
                  <c:v>3.1411997999999999</c:v>
                </c:pt>
                <c:pt idx="5707">
                  <c:v>3.1413999000000001</c:v>
                </c:pt>
                <c:pt idx="5708">
                  <c:v>3.1415999000000001</c:v>
                </c:pt>
                <c:pt idx="5709">
                  <c:v>3.1417999000000001</c:v>
                </c:pt>
                <c:pt idx="5710">
                  <c:v>3.1419999999999999</c:v>
                </c:pt>
                <c:pt idx="5711">
                  <c:v>3.1421999999999999</c:v>
                </c:pt>
                <c:pt idx="5712">
                  <c:v>3.1423999999999999</c:v>
                </c:pt>
                <c:pt idx="5713">
                  <c:v>3.1425998000000002</c:v>
                </c:pt>
                <c:pt idx="5714">
                  <c:v>3.1427999</c:v>
                </c:pt>
                <c:pt idx="5715">
                  <c:v>3.1429999</c:v>
                </c:pt>
                <c:pt idx="5716">
                  <c:v>3.1431998999999999</c:v>
                </c:pt>
                <c:pt idx="5717">
                  <c:v>3.1434000000000002</c:v>
                </c:pt>
                <c:pt idx="5718">
                  <c:v>3.1436000000000002</c:v>
                </c:pt>
                <c:pt idx="5719">
                  <c:v>3.1438000000000001</c:v>
                </c:pt>
                <c:pt idx="5720">
                  <c:v>3.1439998</c:v>
                </c:pt>
                <c:pt idx="5721">
                  <c:v>3.1441998</c:v>
                </c:pt>
                <c:pt idx="5722">
                  <c:v>3.1443998999999998</c:v>
                </c:pt>
                <c:pt idx="5723">
                  <c:v>3.1445998999999998</c:v>
                </c:pt>
                <c:pt idx="5724">
                  <c:v>3.1447999000000002</c:v>
                </c:pt>
                <c:pt idx="5725">
                  <c:v>3.1449997000000001</c:v>
                </c:pt>
                <c:pt idx="5726">
                  <c:v>3.1452</c:v>
                </c:pt>
                <c:pt idx="5727">
                  <c:v>3.1454</c:v>
                </c:pt>
                <c:pt idx="5728">
                  <c:v>3.1455997999999998</c:v>
                </c:pt>
                <c:pt idx="5729">
                  <c:v>3.1457999000000001</c:v>
                </c:pt>
                <c:pt idx="5730">
                  <c:v>3.1459997</c:v>
                </c:pt>
                <c:pt idx="5731">
                  <c:v>3.1461999</c:v>
                </c:pt>
                <c:pt idx="5732">
                  <c:v>3.1463999999999999</c:v>
                </c:pt>
                <c:pt idx="5733">
                  <c:v>3.1465998000000002</c:v>
                </c:pt>
                <c:pt idx="5734">
                  <c:v>3.1467999999999998</c:v>
                </c:pt>
                <c:pt idx="5735">
                  <c:v>3.1470001000000001</c:v>
                </c:pt>
                <c:pt idx="5736">
                  <c:v>3.1471998999999999</c:v>
                </c:pt>
                <c:pt idx="5737">
                  <c:v>3.1473998999999999</c:v>
                </c:pt>
                <c:pt idx="5738">
                  <c:v>3.1475996999999998</c:v>
                </c:pt>
                <c:pt idx="5739">
                  <c:v>3.1478000000000002</c:v>
                </c:pt>
                <c:pt idx="5740">
                  <c:v>3.1480000000000001</c:v>
                </c:pt>
                <c:pt idx="5741">
                  <c:v>3.1481998</c:v>
                </c:pt>
                <c:pt idx="5742">
                  <c:v>3.1484000999999999</c:v>
                </c:pt>
                <c:pt idx="5743">
                  <c:v>3.1485998999999998</c:v>
                </c:pt>
                <c:pt idx="5744">
                  <c:v>3.1487999000000002</c:v>
                </c:pt>
                <c:pt idx="5745">
                  <c:v>3.1489999000000002</c:v>
                </c:pt>
                <c:pt idx="5746">
                  <c:v>3.1491997</c:v>
                </c:pt>
                <c:pt idx="5747">
                  <c:v>3.1494</c:v>
                </c:pt>
                <c:pt idx="5748">
                  <c:v>3.1496</c:v>
                </c:pt>
                <c:pt idx="5749">
                  <c:v>3.1497997999999998</c:v>
                </c:pt>
                <c:pt idx="5750">
                  <c:v>3.1500001000000002</c:v>
                </c:pt>
                <c:pt idx="5751">
                  <c:v>3.1501999000000001</c:v>
                </c:pt>
                <c:pt idx="5752">
                  <c:v>3.1503999</c:v>
                </c:pt>
                <c:pt idx="5753">
                  <c:v>3.1505999999999998</c:v>
                </c:pt>
                <c:pt idx="5754">
                  <c:v>3.1507998000000002</c:v>
                </c:pt>
                <c:pt idx="5755">
                  <c:v>3.1509999999999998</c:v>
                </c:pt>
                <c:pt idx="5756">
                  <c:v>3.1511998000000001</c:v>
                </c:pt>
                <c:pt idx="5757">
                  <c:v>3.1513998999999999</c:v>
                </c:pt>
                <c:pt idx="5758">
                  <c:v>3.1516001</c:v>
                </c:pt>
                <c:pt idx="5759">
                  <c:v>3.1517998999999999</c:v>
                </c:pt>
                <c:pt idx="5760">
                  <c:v>3.1520000000000001</c:v>
                </c:pt>
                <c:pt idx="5761">
                  <c:v>3.1521997000000002</c:v>
                </c:pt>
                <c:pt idx="5762">
                  <c:v>3.1523998</c:v>
                </c:pt>
                <c:pt idx="5763">
                  <c:v>3.1526000000000001</c:v>
                </c:pt>
                <c:pt idx="5764">
                  <c:v>3.1527997999999999</c:v>
                </c:pt>
                <c:pt idx="5765">
                  <c:v>3.1529999000000002</c:v>
                </c:pt>
                <c:pt idx="5766">
                  <c:v>3.1532000999999998</c:v>
                </c:pt>
                <c:pt idx="5767">
                  <c:v>3.1533999000000001</c:v>
                </c:pt>
                <c:pt idx="5768">
                  <c:v>3.1536</c:v>
                </c:pt>
                <c:pt idx="5769">
                  <c:v>3.1537997999999998</c:v>
                </c:pt>
                <c:pt idx="5770">
                  <c:v>3.1539997999999998</c:v>
                </c:pt>
                <c:pt idx="5771">
                  <c:v>3.1542001000000002</c:v>
                </c:pt>
                <c:pt idx="5772">
                  <c:v>3.1543999</c:v>
                </c:pt>
                <c:pt idx="5773">
                  <c:v>3.1545999</c:v>
                </c:pt>
                <c:pt idx="5774">
                  <c:v>3.1547999</c:v>
                </c:pt>
                <c:pt idx="5775">
                  <c:v>3.1549999999999998</c:v>
                </c:pt>
                <c:pt idx="5776">
                  <c:v>3.1551999999999998</c:v>
                </c:pt>
                <c:pt idx="5777">
                  <c:v>3.1553998000000001</c:v>
                </c:pt>
                <c:pt idx="5778">
                  <c:v>3.1555998000000001</c:v>
                </c:pt>
                <c:pt idx="5779">
                  <c:v>3.1557998999999999</c:v>
                </c:pt>
                <c:pt idx="5780">
                  <c:v>3.1559998999999999</c:v>
                </c:pt>
                <c:pt idx="5781">
                  <c:v>3.1561998999999998</c:v>
                </c:pt>
                <c:pt idx="5782">
                  <c:v>3.1564000000000001</c:v>
                </c:pt>
                <c:pt idx="5783">
                  <c:v>3.1566000000000001</c:v>
                </c:pt>
                <c:pt idx="5784">
                  <c:v>3.1567997999999999</c:v>
                </c:pt>
                <c:pt idx="5785">
                  <c:v>3.1569997999999999</c:v>
                </c:pt>
                <c:pt idx="5786">
                  <c:v>3.1571999000000002</c:v>
                </c:pt>
                <c:pt idx="5787">
                  <c:v>3.1573999000000001</c:v>
                </c:pt>
                <c:pt idx="5788">
                  <c:v>3.1575999000000001</c:v>
                </c:pt>
                <c:pt idx="5789">
                  <c:v>3.1577999999999999</c:v>
                </c:pt>
                <c:pt idx="5790">
                  <c:v>3.1579999999999999</c:v>
                </c:pt>
                <c:pt idx="5791">
                  <c:v>3.1581999999999999</c:v>
                </c:pt>
                <c:pt idx="5792">
                  <c:v>3.1583998000000002</c:v>
                </c:pt>
                <c:pt idx="5793">
                  <c:v>3.1585999</c:v>
                </c:pt>
                <c:pt idx="5794">
                  <c:v>3.1587999</c:v>
                </c:pt>
                <c:pt idx="5795">
                  <c:v>3.1589999</c:v>
                </c:pt>
                <c:pt idx="5796">
                  <c:v>3.1591999999999998</c:v>
                </c:pt>
                <c:pt idx="5797">
                  <c:v>3.1593996999999998</c:v>
                </c:pt>
                <c:pt idx="5798">
                  <c:v>3.1596000000000002</c:v>
                </c:pt>
                <c:pt idx="5799">
                  <c:v>3.1598001</c:v>
                </c:pt>
                <c:pt idx="5800">
                  <c:v>3.1599998</c:v>
                </c:pt>
                <c:pt idx="5801">
                  <c:v>3.1601998999999998</c:v>
                </c:pt>
                <c:pt idx="5802">
                  <c:v>3.1603997000000001</c:v>
                </c:pt>
                <c:pt idx="5803">
                  <c:v>3.1605998999999998</c:v>
                </c:pt>
                <c:pt idx="5804">
                  <c:v>3.1608000000000001</c:v>
                </c:pt>
                <c:pt idx="5805">
                  <c:v>3.1609997999999999</c:v>
                </c:pt>
                <c:pt idx="5806">
                  <c:v>3.1612</c:v>
                </c:pt>
                <c:pt idx="5807">
                  <c:v>3.1614000999999998</c:v>
                </c:pt>
                <c:pt idx="5808">
                  <c:v>3.1615999000000001</c:v>
                </c:pt>
                <c:pt idx="5809">
                  <c:v>3.1617999000000001</c:v>
                </c:pt>
                <c:pt idx="5810">
                  <c:v>3.1619997</c:v>
                </c:pt>
                <c:pt idx="5811">
                  <c:v>3.1621999999999999</c:v>
                </c:pt>
                <c:pt idx="5812">
                  <c:v>3.1623999999999999</c:v>
                </c:pt>
                <c:pt idx="5813">
                  <c:v>3.1625998000000002</c:v>
                </c:pt>
                <c:pt idx="5814">
                  <c:v>3.1628001000000001</c:v>
                </c:pt>
                <c:pt idx="5815">
                  <c:v>3.1629999</c:v>
                </c:pt>
                <c:pt idx="5816">
                  <c:v>3.1631999</c:v>
                </c:pt>
                <c:pt idx="5817">
                  <c:v>3.1633998999999999</c:v>
                </c:pt>
                <c:pt idx="5818">
                  <c:v>3.1635996999999998</c:v>
                </c:pt>
                <c:pt idx="5819">
                  <c:v>3.1638000000000002</c:v>
                </c:pt>
                <c:pt idx="5820">
                  <c:v>3.1639998</c:v>
                </c:pt>
                <c:pt idx="5821">
                  <c:v>3.1641998</c:v>
                </c:pt>
                <c:pt idx="5822">
                  <c:v>3.1644000999999999</c:v>
                </c:pt>
                <c:pt idx="5823">
                  <c:v>3.1645998999999998</c:v>
                </c:pt>
                <c:pt idx="5824">
                  <c:v>3.1647999000000002</c:v>
                </c:pt>
                <c:pt idx="5825">
                  <c:v>3.165</c:v>
                </c:pt>
                <c:pt idx="5826">
                  <c:v>3.1651997999999999</c:v>
                </c:pt>
                <c:pt idx="5827">
                  <c:v>3.1654</c:v>
                </c:pt>
                <c:pt idx="5828">
                  <c:v>3.1655997999999999</c:v>
                </c:pt>
                <c:pt idx="5829">
                  <c:v>3.1657999000000001</c:v>
                </c:pt>
                <c:pt idx="5830">
                  <c:v>3.1660001000000002</c:v>
                </c:pt>
                <c:pt idx="5831">
                  <c:v>3.1661999000000001</c:v>
                </c:pt>
                <c:pt idx="5832">
                  <c:v>3.1663999999999999</c:v>
                </c:pt>
                <c:pt idx="5833">
                  <c:v>3.1665998000000002</c:v>
                </c:pt>
                <c:pt idx="5834">
                  <c:v>3.1667998000000002</c:v>
                </c:pt>
                <c:pt idx="5835">
                  <c:v>3.1670001000000001</c:v>
                </c:pt>
                <c:pt idx="5836">
                  <c:v>3.1671999</c:v>
                </c:pt>
                <c:pt idx="5837">
                  <c:v>3.1673998999999999</c:v>
                </c:pt>
                <c:pt idx="5838">
                  <c:v>3.1676001999999999</c:v>
                </c:pt>
                <c:pt idx="5839">
                  <c:v>3.1677998999999999</c:v>
                </c:pt>
                <c:pt idx="5840">
                  <c:v>3.1680000000000001</c:v>
                </c:pt>
                <c:pt idx="5841">
                  <c:v>3.1681998</c:v>
                </c:pt>
                <c:pt idx="5842">
                  <c:v>3.1683998</c:v>
                </c:pt>
                <c:pt idx="5843">
                  <c:v>3.1686000999999999</c:v>
                </c:pt>
                <c:pt idx="5844">
                  <c:v>3.1687998999999998</c:v>
                </c:pt>
                <c:pt idx="5845">
                  <c:v>3.1689999000000002</c:v>
                </c:pt>
                <c:pt idx="5846">
                  <c:v>3.1691999000000002</c:v>
                </c:pt>
                <c:pt idx="5847">
                  <c:v>3.1694</c:v>
                </c:pt>
                <c:pt idx="5848">
                  <c:v>3.1696</c:v>
                </c:pt>
                <c:pt idx="5849">
                  <c:v>3.1697997999999998</c:v>
                </c:pt>
                <c:pt idx="5850">
                  <c:v>3.1699997999999998</c:v>
                </c:pt>
                <c:pt idx="5851">
                  <c:v>3.1701999000000001</c:v>
                </c:pt>
                <c:pt idx="5852">
                  <c:v>3.1703999</c:v>
                </c:pt>
                <c:pt idx="5853">
                  <c:v>3.1705999</c:v>
                </c:pt>
                <c:pt idx="5854">
                  <c:v>3.1707999999999998</c:v>
                </c:pt>
                <c:pt idx="5855">
                  <c:v>3.1709999999999998</c:v>
                </c:pt>
                <c:pt idx="5856">
                  <c:v>3.1711998000000001</c:v>
                </c:pt>
                <c:pt idx="5857">
                  <c:v>3.1713998000000001</c:v>
                </c:pt>
                <c:pt idx="5858">
                  <c:v>3.1715998999999999</c:v>
                </c:pt>
                <c:pt idx="5859">
                  <c:v>3.1717998999999999</c:v>
                </c:pt>
                <c:pt idx="5860">
                  <c:v>3.1719998999999999</c:v>
                </c:pt>
                <c:pt idx="5861">
                  <c:v>3.1722000000000001</c:v>
                </c:pt>
                <c:pt idx="5862">
                  <c:v>3.1724000000000001</c:v>
                </c:pt>
                <c:pt idx="5863">
                  <c:v>3.1726000000000001</c:v>
                </c:pt>
                <c:pt idx="5864">
                  <c:v>3.1727997999999999</c:v>
                </c:pt>
                <c:pt idx="5865">
                  <c:v>3.1729999000000002</c:v>
                </c:pt>
                <c:pt idx="5866">
                  <c:v>3.1731999000000002</c:v>
                </c:pt>
                <c:pt idx="5867">
                  <c:v>3.1733999000000002</c:v>
                </c:pt>
                <c:pt idx="5868">
                  <c:v>3.1736</c:v>
                </c:pt>
                <c:pt idx="5869">
                  <c:v>3.1737997999999998</c:v>
                </c:pt>
                <c:pt idx="5870">
                  <c:v>3.1739999999999999</c:v>
                </c:pt>
                <c:pt idx="5871">
                  <c:v>3.1742001000000002</c:v>
                </c:pt>
                <c:pt idx="5872">
                  <c:v>3.1743999000000001</c:v>
                </c:pt>
                <c:pt idx="5873">
                  <c:v>3.1745999</c:v>
                </c:pt>
                <c:pt idx="5874">
                  <c:v>3.1747996999999999</c:v>
                </c:pt>
                <c:pt idx="5875">
                  <c:v>3.1749999999999998</c:v>
                </c:pt>
                <c:pt idx="5876">
                  <c:v>3.1751999999999998</c:v>
                </c:pt>
                <c:pt idx="5877">
                  <c:v>3.1753998000000001</c:v>
                </c:pt>
                <c:pt idx="5878">
                  <c:v>3.1756001</c:v>
                </c:pt>
                <c:pt idx="5879">
                  <c:v>3.1758001</c:v>
                </c:pt>
                <c:pt idx="5880">
                  <c:v>3.1759998999999999</c:v>
                </c:pt>
                <c:pt idx="5881">
                  <c:v>3.1761998999999999</c:v>
                </c:pt>
                <c:pt idx="5882">
                  <c:v>3.1763997000000002</c:v>
                </c:pt>
                <c:pt idx="5883">
                  <c:v>3.1766000000000001</c:v>
                </c:pt>
                <c:pt idx="5884">
                  <c:v>3.1768000000000001</c:v>
                </c:pt>
                <c:pt idx="5885">
                  <c:v>3.1769997999999999</c:v>
                </c:pt>
                <c:pt idx="5886">
                  <c:v>3.1772000999999999</c:v>
                </c:pt>
                <c:pt idx="5887">
                  <c:v>3.1773999000000002</c:v>
                </c:pt>
                <c:pt idx="5888">
                  <c:v>3.1775999000000001</c:v>
                </c:pt>
                <c:pt idx="5889">
                  <c:v>3.1777999000000001</c:v>
                </c:pt>
                <c:pt idx="5890">
                  <c:v>3.1779997</c:v>
                </c:pt>
                <c:pt idx="5891">
                  <c:v>3.1781999999999999</c:v>
                </c:pt>
                <c:pt idx="5892">
                  <c:v>3.1783998000000002</c:v>
                </c:pt>
                <c:pt idx="5893">
                  <c:v>3.1785998000000002</c:v>
                </c:pt>
                <c:pt idx="5894">
                  <c:v>3.1788001000000001</c:v>
                </c:pt>
                <c:pt idx="5895">
                  <c:v>3.1789999</c:v>
                </c:pt>
                <c:pt idx="5896">
                  <c:v>3.1791999</c:v>
                </c:pt>
                <c:pt idx="5897">
                  <c:v>3.1793996999999998</c:v>
                </c:pt>
                <c:pt idx="5898">
                  <c:v>3.1795998000000001</c:v>
                </c:pt>
                <c:pt idx="5899">
                  <c:v>3.1798000000000002</c:v>
                </c:pt>
                <c:pt idx="5900">
                  <c:v>3.1799998</c:v>
                </c:pt>
                <c:pt idx="5901">
                  <c:v>3.1801998999999999</c:v>
                </c:pt>
                <c:pt idx="5902">
                  <c:v>3.1804001</c:v>
                </c:pt>
                <c:pt idx="5903">
                  <c:v>3.1805998999999998</c:v>
                </c:pt>
                <c:pt idx="5904">
                  <c:v>3.1808000000000001</c:v>
                </c:pt>
                <c:pt idx="5905">
                  <c:v>3.1809997999999999</c:v>
                </c:pt>
                <c:pt idx="5906">
                  <c:v>3.1811997999999999</c:v>
                </c:pt>
                <c:pt idx="5907">
                  <c:v>3.1814000999999998</c:v>
                </c:pt>
                <c:pt idx="5908">
                  <c:v>3.1815999000000001</c:v>
                </c:pt>
                <c:pt idx="5909">
                  <c:v>3.1817999000000001</c:v>
                </c:pt>
                <c:pt idx="5910">
                  <c:v>3.1819999000000001</c:v>
                </c:pt>
                <c:pt idx="5911">
                  <c:v>3.1821999999999999</c:v>
                </c:pt>
                <c:pt idx="5912">
                  <c:v>3.1823999999999999</c:v>
                </c:pt>
                <c:pt idx="5913">
                  <c:v>3.1825998000000002</c:v>
                </c:pt>
                <c:pt idx="5914">
                  <c:v>3.1827998000000002</c:v>
                </c:pt>
                <c:pt idx="5915">
                  <c:v>3.1830001000000001</c:v>
                </c:pt>
                <c:pt idx="5916">
                  <c:v>3.1831999</c:v>
                </c:pt>
                <c:pt idx="5917">
                  <c:v>3.1833998999999999</c:v>
                </c:pt>
                <c:pt idx="5918">
                  <c:v>3.1835998999999999</c:v>
                </c:pt>
                <c:pt idx="5919">
                  <c:v>3.1838000000000002</c:v>
                </c:pt>
                <c:pt idx="5920">
                  <c:v>3.1840000000000002</c:v>
                </c:pt>
                <c:pt idx="5921">
                  <c:v>3.1841998</c:v>
                </c:pt>
                <c:pt idx="5922">
                  <c:v>3.1843998</c:v>
                </c:pt>
                <c:pt idx="5923">
                  <c:v>3.1845998999999998</c:v>
                </c:pt>
                <c:pt idx="5924">
                  <c:v>3.1847998999999998</c:v>
                </c:pt>
                <c:pt idx="5925">
                  <c:v>3.1849999000000002</c:v>
                </c:pt>
                <c:pt idx="5926">
                  <c:v>3.1852</c:v>
                </c:pt>
                <c:pt idx="5927">
                  <c:v>3.1854</c:v>
                </c:pt>
                <c:pt idx="5928">
                  <c:v>3.1855997999999999</c:v>
                </c:pt>
                <c:pt idx="5929">
                  <c:v>3.1857997999999998</c:v>
                </c:pt>
                <c:pt idx="5930">
                  <c:v>3.1859999000000001</c:v>
                </c:pt>
                <c:pt idx="5931">
                  <c:v>3.1861999000000001</c:v>
                </c:pt>
                <c:pt idx="5932">
                  <c:v>3.1863999000000001</c:v>
                </c:pt>
                <c:pt idx="5933">
                  <c:v>3.1865996999999999</c:v>
                </c:pt>
                <c:pt idx="5934">
                  <c:v>3.1867999999999999</c:v>
                </c:pt>
                <c:pt idx="5935">
                  <c:v>3.1869999999999998</c:v>
                </c:pt>
                <c:pt idx="5936">
                  <c:v>3.1871998000000001</c:v>
                </c:pt>
                <c:pt idx="5937">
                  <c:v>3.1873999</c:v>
                </c:pt>
                <c:pt idx="5938">
                  <c:v>3.1875998999999999</c:v>
                </c:pt>
                <c:pt idx="5939">
                  <c:v>3.1877998999999999</c:v>
                </c:pt>
                <c:pt idx="5940">
                  <c:v>3.1880000000000002</c:v>
                </c:pt>
                <c:pt idx="5941">
                  <c:v>3.1881998</c:v>
                </c:pt>
                <c:pt idx="5942">
                  <c:v>3.1884000000000001</c:v>
                </c:pt>
                <c:pt idx="5943">
                  <c:v>3.1886000999999999</c:v>
                </c:pt>
                <c:pt idx="5944">
                  <c:v>3.1887998999999998</c:v>
                </c:pt>
                <c:pt idx="5945">
                  <c:v>3.1889999000000002</c:v>
                </c:pt>
                <c:pt idx="5946">
                  <c:v>3.1891997000000001</c:v>
                </c:pt>
                <c:pt idx="5947">
                  <c:v>3.1894</c:v>
                </c:pt>
                <c:pt idx="5948">
                  <c:v>3.1896</c:v>
                </c:pt>
                <c:pt idx="5949">
                  <c:v>3.1897997999999999</c:v>
                </c:pt>
                <c:pt idx="5950">
                  <c:v>3.1900000999999998</c:v>
                </c:pt>
                <c:pt idx="5951">
                  <c:v>3.1902001000000002</c:v>
                </c:pt>
                <c:pt idx="5952">
                  <c:v>3.1903999000000001</c:v>
                </c:pt>
                <c:pt idx="5953">
                  <c:v>3.1905999</c:v>
                </c:pt>
                <c:pt idx="5954">
                  <c:v>3.1907996999999999</c:v>
                </c:pt>
                <c:pt idx="5955">
                  <c:v>3.1909999999999998</c:v>
                </c:pt>
                <c:pt idx="5956">
                  <c:v>3.1911999999999998</c:v>
                </c:pt>
                <c:pt idx="5957">
                  <c:v>3.1913998000000001</c:v>
                </c:pt>
                <c:pt idx="5958">
                  <c:v>3.1916001000000001</c:v>
                </c:pt>
                <c:pt idx="5959">
                  <c:v>3.1917998999999999</c:v>
                </c:pt>
                <c:pt idx="5960">
                  <c:v>3.1919998999999999</c:v>
                </c:pt>
                <c:pt idx="5961">
                  <c:v>3.1921998999999999</c:v>
                </c:pt>
                <c:pt idx="5962">
                  <c:v>3.1923997000000002</c:v>
                </c:pt>
                <c:pt idx="5963">
                  <c:v>3.1926000000000001</c:v>
                </c:pt>
                <c:pt idx="5964">
                  <c:v>3.1927998</c:v>
                </c:pt>
                <c:pt idx="5965">
                  <c:v>3.1929997999999999</c:v>
                </c:pt>
                <c:pt idx="5966">
                  <c:v>3.1932000999999999</c:v>
                </c:pt>
                <c:pt idx="5967">
                  <c:v>3.1933999000000002</c:v>
                </c:pt>
                <c:pt idx="5968">
                  <c:v>3.1935999000000002</c:v>
                </c:pt>
                <c:pt idx="5969">
                  <c:v>3.1937997</c:v>
                </c:pt>
                <c:pt idx="5970">
                  <c:v>3.1939997999999998</c:v>
                </c:pt>
                <c:pt idx="5971">
                  <c:v>3.1941999999999999</c:v>
                </c:pt>
                <c:pt idx="5972">
                  <c:v>3.1943997999999998</c:v>
                </c:pt>
                <c:pt idx="5973">
                  <c:v>3.1945999</c:v>
                </c:pt>
                <c:pt idx="5974">
                  <c:v>3.1948001000000001</c:v>
                </c:pt>
                <c:pt idx="5975">
                  <c:v>3.1949999</c:v>
                </c:pt>
                <c:pt idx="5976">
                  <c:v>3.1951999999999998</c:v>
                </c:pt>
                <c:pt idx="5977">
                  <c:v>3.1953998000000001</c:v>
                </c:pt>
                <c:pt idx="5978">
                  <c:v>3.1955998000000001</c:v>
                </c:pt>
                <c:pt idx="5979">
                  <c:v>3.1958001</c:v>
                </c:pt>
                <c:pt idx="5980">
                  <c:v>3.1959998999999999</c:v>
                </c:pt>
                <c:pt idx="5981">
                  <c:v>3.1961998999999999</c:v>
                </c:pt>
                <c:pt idx="5982">
                  <c:v>3.1963998999999998</c:v>
                </c:pt>
                <c:pt idx="5983">
                  <c:v>3.1966000000000001</c:v>
                </c:pt>
                <c:pt idx="5984">
                  <c:v>3.1968000000000001</c:v>
                </c:pt>
                <c:pt idx="5985">
                  <c:v>3.1969997999999999</c:v>
                </c:pt>
                <c:pt idx="5986">
                  <c:v>3.1971997999999999</c:v>
                </c:pt>
                <c:pt idx="5987">
                  <c:v>3.1973999000000002</c:v>
                </c:pt>
                <c:pt idx="5988">
                  <c:v>3.1975999000000002</c:v>
                </c:pt>
                <c:pt idx="5989">
                  <c:v>3.1977999000000001</c:v>
                </c:pt>
                <c:pt idx="5990">
                  <c:v>3.198</c:v>
                </c:pt>
                <c:pt idx="5991">
                  <c:v>3.1981999999999999</c:v>
                </c:pt>
                <c:pt idx="5992">
                  <c:v>3.1983999999999999</c:v>
                </c:pt>
                <c:pt idx="5993">
                  <c:v>3.1985998000000002</c:v>
                </c:pt>
                <c:pt idx="5994">
                  <c:v>3.1987998000000002</c:v>
                </c:pt>
                <c:pt idx="5995">
                  <c:v>3.1989999</c:v>
                </c:pt>
                <c:pt idx="5996">
                  <c:v>3.1991999</c:v>
                </c:pt>
                <c:pt idx="5997">
                  <c:v>3.1993999</c:v>
                </c:pt>
                <c:pt idx="5998">
                  <c:v>3.1996000000000002</c:v>
                </c:pt>
                <c:pt idx="5999">
                  <c:v>3.1998000000000002</c:v>
                </c:pt>
                <c:pt idx="6000">
                  <c:v>3.1999998000000001</c:v>
                </c:pt>
                <c:pt idx="6001">
                  <c:v>3.2001998</c:v>
                </c:pt>
                <c:pt idx="6002">
                  <c:v>3.2003998999999999</c:v>
                </c:pt>
                <c:pt idx="6003">
                  <c:v>3.2005998999999998</c:v>
                </c:pt>
                <c:pt idx="6004">
                  <c:v>3.2007998999999998</c:v>
                </c:pt>
                <c:pt idx="6005">
                  <c:v>3.2009997000000001</c:v>
                </c:pt>
                <c:pt idx="6006">
                  <c:v>3.2012</c:v>
                </c:pt>
                <c:pt idx="6007">
                  <c:v>3.2014</c:v>
                </c:pt>
                <c:pt idx="6008">
                  <c:v>3.2015997999999999</c:v>
                </c:pt>
                <c:pt idx="6009">
                  <c:v>3.2017999000000001</c:v>
                </c:pt>
                <c:pt idx="6010">
                  <c:v>3.2019997</c:v>
                </c:pt>
                <c:pt idx="6011">
                  <c:v>3.2021999000000001</c:v>
                </c:pt>
                <c:pt idx="6012">
                  <c:v>3.2023999999999999</c:v>
                </c:pt>
                <c:pt idx="6013">
                  <c:v>3.2025998000000002</c:v>
                </c:pt>
                <c:pt idx="6014">
                  <c:v>3.2027999999999999</c:v>
                </c:pt>
                <c:pt idx="6015">
                  <c:v>3.2030001000000001</c:v>
                </c:pt>
                <c:pt idx="6016">
                  <c:v>3.2031999</c:v>
                </c:pt>
                <c:pt idx="6017">
                  <c:v>3.2033999</c:v>
                </c:pt>
                <c:pt idx="6018">
                  <c:v>3.2035996999999998</c:v>
                </c:pt>
                <c:pt idx="6019">
                  <c:v>3.2038000000000002</c:v>
                </c:pt>
                <c:pt idx="6020">
                  <c:v>3.2040000000000002</c:v>
                </c:pt>
                <c:pt idx="6021">
                  <c:v>3.2041998</c:v>
                </c:pt>
                <c:pt idx="6022">
                  <c:v>3.2044001</c:v>
                </c:pt>
                <c:pt idx="6023">
                  <c:v>3.2045998999999998</c:v>
                </c:pt>
                <c:pt idx="6024">
                  <c:v>3.2047998999999998</c:v>
                </c:pt>
                <c:pt idx="6025">
                  <c:v>3.2049998999999998</c:v>
                </c:pt>
                <c:pt idx="6026">
                  <c:v>3.2051997000000001</c:v>
                </c:pt>
                <c:pt idx="6027">
                  <c:v>3.2054</c:v>
                </c:pt>
                <c:pt idx="6028">
                  <c:v>3.2056</c:v>
                </c:pt>
                <c:pt idx="6029">
                  <c:v>3.2057997999999999</c:v>
                </c:pt>
                <c:pt idx="6030">
                  <c:v>3.2060000999999998</c:v>
                </c:pt>
                <c:pt idx="6031">
                  <c:v>3.2061999000000001</c:v>
                </c:pt>
                <c:pt idx="6032">
                  <c:v>3.2063999000000001</c:v>
                </c:pt>
                <c:pt idx="6033">
                  <c:v>3.2065999999999999</c:v>
                </c:pt>
                <c:pt idx="6034">
                  <c:v>3.2067996999999999</c:v>
                </c:pt>
                <c:pt idx="6035">
                  <c:v>3.2069999999999999</c:v>
                </c:pt>
                <c:pt idx="6036">
                  <c:v>3.2071998000000002</c:v>
                </c:pt>
                <c:pt idx="6037">
                  <c:v>3.2073998000000001</c:v>
                </c:pt>
                <c:pt idx="6038">
                  <c:v>3.2076001000000001</c:v>
                </c:pt>
                <c:pt idx="6039">
                  <c:v>3.2077998999999999</c:v>
                </c:pt>
                <c:pt idx="6040">
                  <c:v>3.2079998999999999</c:v>
                </c:pt>
                <c:pt idx="6041">
                  <c:v>3.2081997000000002</c:v>
                </c:pt>
                <c:pt idx="6042">
                  <c:v>3.2083998</c:v>
                </c:pt>
                <c:pt idx="6043">
                  <c:v>3.2086000000000001</c:v>
                </c:pt>
                <c:pt idx="6044">
                  <c:v>3.2087998</c:v>
                </c:pt>
                <c:pt idx="6045">
                  <c:v>3.2089998999999998</c:v>
                </c:pt>
                <c:pt idx="6046">
                  <c:v>3.2092000999999999</c:v>
                </c:pt>
                <c:pt idx="6047">
                  <c:v>3.2093999000000002</c:v>
                </c:pt>
                <c:pt idx="6048">
                  <c:v>3.2096</c:v>
                </c:pt>
                <c:pt idx="6049">
                  <c:v>3.2097997999999999</c:v>
                </c:pt>
                <c:pt idx="6050">
                  <c:v>3.2099997999999998</c:v>
                </c:pt>
                <c:pt idx="6051">
                  <c:v>3.2102000999999998</c:v>
                </c:pt>
                <c:pt idx="6052">
                  <c:v>3.2103999000000001</c:v>
                </c:pt>
                <c:pt idx="6053">
                  <c:v>3.2105999000000001</c:v>
                </c:pt>
                <c:pt idx="6054">
                  <c:v>3.2107999</c:v>
                </c:pt>
                <c:pt idx="6055">
                  <c:v>3.2109999999999999</c:v>
                </c:pt>
                <c:pt idx="6056">
                  <c:v>3.2111999999999998</c:v>
                </c:pt>
                <c:pt idx="6057">
                  <c:v>3.2113998000000001</c:v>
                </c:pt>
                <c:pt idx="6058">
                  <c:v>3.2115998000000001</c:v>
                </c:pt>
                <c:pt idx="6059">
                  <c:v>3.2117998999999999</c:v>
                </c:pt>
                <c:pt idx="6060">
                  <c:v>3.2119998999999999</c:v>
                </c:pt>
                <c:pt idx="6061">
                  <c:v>3.2121998999999999</c:v>
                </c:pt>
                <c:pt idx="6062">
                  <c:v>3.2124000000000001</c:v>
                </c:pt>
                <c:pt idx="6063">
                  <c:v>3.2126000000000001</c:v>
                </c:pt>
                <c:pt idx="6064">
                  <c:v>3.2128000000000001</c:v>
                </c:pt>
                <c:pt idx="6065">
                  <c:v>3.2129998</c:v>
                </c:pt>
                <c:pt idx="6066">
                  <c:v>3.2131999000000002</c:v>
                </c:pt>
                <c:pt idx="6067">
                  <c:v>3.2133999000000002</c:v>
                </c:pt>
                <c:pt idx="6068">
                  <c:v>3.2135999000000002</c:v>
                </c:pt>
                <c:pt idx="6069">
                  <c:v>3.2138</c:v>
                </c:pt>
                <c:pt idx="6070">
                  <c:v>3.214</c:v>
                </c:pt>
                <c:pt idx="6071">
                  <c:v>3.2141999999999999</c:v>
                </c:pt>
                <c:pt idx="6072">
                  <c:v>3.2143997999999998</c:v>
                </c:pt>
                <c:pt idx="6073">
                  <c:v>3.2145997999999998</c:v>
                </c:pt>
                <c:pt idx="6074">
                  <c:v>3.2147999</c:v>
                </c:pt>
                <c:pt idx="6075">
                  <c:v>3.2149999</c:v>
                </c:pt>
                <c:pt idx="6076">
                  <c:v>3.2151999</c:v>
                </c:pt>
                <c:pt idx="6077">
                  <c:v>3.2153996999999999</c:v>
                </c:pt>
                <c:pt idx="6078">
                  <c:v>3.2155999999999998</c:v>
                </c:pt>
                <c:pt idx="6079">
                  <c:v>3.2158000000000002</c:v>
                </c:pt>
                <c:pt idx="6080">
                  <c:v>3.2159998000000001</c:v>
                </c:pt>
                <c:pt idx="6081">
                  <c:v>3.2161998999999999</c:v>
                </c:pt>
                <c:pt idx="6082">
                  <c:v>3.2163997000000002</c:v>
                </c:pt>
                <c:pt idx="6083">
                  <c:v>3.2165998999999998</c:v>
                </c:pt>
                <c:pt idx="6084">
                  <c:v>3.2168000000000001</c:v>
                </c:pt>
                <c:pt idx="6085">
                  <c:v>3.2169998</c:v>
                </c:pt>
                <c:pt idx="6086">
                  <c:v>3.2172000000000001</c:v>
                </c:pt>
                <c:pt idx="6087">
                  <c:v>3.2174000999999999</c:v>
                </c:pt>
                <c:pt idx="6088">
                  <c:v>3.2175999000000002</c:v>
                </c:pt>
                <c:pt idx="6089">
                  <c:v>3.2177999000000002</c:v>
                </c:pt>
                <c:pt idx="6090">
                  <c:v>3.2179997</c:v>
                </c:pt>
                <c:pt idx="6091">
                  <c:v>3.2181999999999999</c:v>
                </c:pt>
                <c:pt idx="6092">
                  <c:v>3.2183999999999999</c:v>
                </c:pt>
                <c:pt idx="6093">
                  <c:v>3.2185997999999998</c:v>
                </c:pt>
                <c:pt idx="6094">
                  <c:v>3.2188001000000002</c:v>
                </c:pt>
                <c:pt idx="6095">
                  <c:v>3.2189999</c:v>
                </c:pt>
                <c:pt idx="6096">
                  <c:v>3.2191999</c:v>
                </c:pt>
                <c:pt idx="6097">
                  <c:v>3.2193999</c:v>
                </c:pt>
                <c:pt idx="6098">
                  <c:v>3.2195996999999998</c:v>
                </c:pt>
                <c:pt idx="6099">
                  <c:v>3.2198000000000002</c:v>
                </c:pt>
                <c:pt idx="6100">
                  <c:v>3.2199998000000001</c:v>
                </c:pt>
                <c:pt idx="6101">
                  <c:v>3.2201998000000001</c:v>
                </c:pt>
                <c:pt idx="6102">
                  <c:v>3.2204001</c:v>
                </c:pt>
                <c:pt idx="6103">
                  <c:v>3.2205998999999998</c:v>
                </c:pt>
                <c:pt idx="6104">
                  <c:v>3.2207998999999998</c:v>
                </c:pt>
                <c:pt idx="6105">
                  <c:v>3.2210000000000001</c:v>
                </c:pt>
                <c:pt idx="6106">
                  <c:v>3.2211997999999999</c:v>
                </c:pt>
                <c:pt idx="6107">
                  <c:v>3.2214</c:v>
                </c:pt>
                <c:pt idx="6108">
                  <c:v>3.2215997999999999</c:v>
                </c:pt>
                <c:pt idx="6109">
                  <c:v>3.2217999000000002</c:v>
                </c:pt>
                <c:pt idx="6110">
                  <c:v>3.2220000999999998</c:v>
                </c:pt>
                <c:pt idx="6111">
                  <c:v>3.2221999000000001</c:v>
                </c:pt>
                <c:pt idx="6112">
                  <c:v>3.2223999999999999</c:v>
                </c:pt>
                <c:pt idx="6113">
                  <c:v>3.2225997</c:v>
                </c:pt>
                <c:pt idx="6114">
                  <c:v>3.2227998000000002</c:v>
                </c:pt>
                <c:pt idx="6115">
                  <c:v>3.2229999999999999</c:v>
                </c:pt>
                <c:pt idx="6116">
                  <c:v>3.2231998000000002</c:v>
                </c:pt>
                <c:pt idx="6117">
                  <c:v>3.2233999</c:v>
                </c:pt>
                <c:pt idx="6118">
                  <c:v>3.2236001000000001</c:v>
                </c:pt>
                <c:pt idx="6119">
                  <c:v>3.2237998999999999</c:v>
                </c:pt>
                <c:pt idx="6120">
                  <c:v>3.2240000000000002</c:v>
                </c:pt>
                <c:pt idx="6121">
                  <c:v>3.2241998000000001</c:v>
                </c:pt>
                <c:pt idx="6122">
                  <c:v>3.2243998</c:v>
                </c:pt>
                <c:pt idx="6123">
                  <c:v>3.2246001</c:v>
                </c:pt>
                <c:pt idx="6124">
                  <c:v>3.2247998999999998</c:v>
                </c:pt>
                <c:pt idx="6125">
                  <c:v>3.2249998999999998</c:v>
                </c:pt>
                <c:pt idx="6126">
                  <c:v>3.2251998999999998</c:v>
                </c:pt>
                <c:pt idx="6127">
                  <c:v>3.2254</c:v>
                </c:pt>
                <c:pt idx="6128">
                  <c:v>3.2256</c:v>
                </c:pt>
                <c:pt idx="6129">
                  <c:v>3.2257997999999999</c:v>
                </c:pt>
                <c:pt idx="6130">
                  <c:v>3.2259997999999999</c:v>
                </c:pt>
                <c:pt idx="6131">
                  <c:v>3.2261999000000001</c:v>
                </c:pt>
                <c:pt idx="6132">
                  <c:v>3.2263999000000001</c:v>
                </c:pt>
                <c:pt idx="6133">
                  <c:v>3.2265999000000001</c:v>
                </c:pt>
                <c:pt idx="6134">
                  <c:v>3.2267999999999999</c:v>
                </c:pt>
                <c:pt idx="6135">
                  <c:v>3.2269999999999999</c:v>
                </c:pt>
                <c:pt idx="6136">
                  <c:v>3.2271998000000002</c:v>
                </c:pt>
                <c:pt idx="6137">
                  <c:v>3.2273998000000002</c:v>
                </c:pt>
                <c:pt idx="6138">
                  <c:v>3.2275999</c:v>
                </c:pt>
                <c:pt idx="6139">
                  <c:v>3.2277998999999999</c:v>
                </c:pt>
                <c:pt idx="6140">
                  <c:v>3.2279998999999999</c:v>
                </c:pt>
                <c:pt idx="6141">
                  <c:v>3.2282000000000002</c:v>
                </c:pt>
                <c:pt idx="6142">
                  <c:v>3.2284000000000002</c:v>
                </c:pt>
                <c:pt idx="6143">
                  <c:v>3.2286000000000001</c:v>
                </c:pt>
                <c:pt idx="6144">
                  <c:v>3.2287998</c:v>
                </c:pt>
                <c:pt idx="6145">
                  <c:v>3.2289998999999998</c:v>
                </c:pt>
                <c:pt idx="6146">
                  <c:v>3.2291998999999998</c:v>
                </c:pt>
                <c:pt idx="6147">
                  <c:v>3.2293999000000002</c:v>
                </c:pt>
                <c:pt idx="6148">
                  <c:v>3.2296</c:v>
                </c:pt>
                <c:pt idx="6149">
                  <c:v>3.2297997000000001</c:v>
                </c:pt>
                <c:pt idx="6150">
                  <c:v>3.23</c:v>
                </c:pt>
                <c:pt idx="6151">
                  <c:v>3.2302000999999998</c:v>
                </c:pt>
                <c:pt idx="6152">
                  <c:v>3.2303997999999998</c:v>
                </c:pt>
                <c:pt idx="6153">
                  <c:v>3.2305999000000001</c:v>
                </c:pt>
                <c:pt idx="6154">
                  <c:v>3.2307996999999999</c:v>
                </c:pt>
                <c:pt idx="6155">
                  <c:v>3.2309999</c:v>
                </c:pt>
                <c:pt idx="6156">
                  <c:v>3.2311999999999999</c:v>
                </c:pt>
                <c:pt idx="6157">
                  <c:v>3.2313998000000002</c:v>
                </c:pt>
                <c:pt idx="6158">
                  <c:v>3.2315999999999998</c:v>
                </c:pt>
                <c:pt idx="6159">
                  <c:v>3.2318001000000001</c:v>
                </c:pt>
                <c:pt idx="6160">
                  <c:v>3.2319998999999999</c:v>
                </c:pt>
                <c:pt idx="6161">
                  <c:v>3.2321998999999999</c:v>
                </c:pt>
                <c:pt idx="6162">
                  <c:v>3.2323997000000002</c:v>
                </c:pt>
                <c:pt idx="6163">
                  <c:v>3.2326000000000001</c:v>
                </c:pt>
                <c:pt idx="6164">
                  <c:v>3.2328000000000001</c:v>
                </c:pt>
                <c:pt idx="6165">
                  <c:v>3.2329998</c:v>
                </c:pt>
                <c:pt idx="6166">
                  <c:v>3.2332000999999999</c:v>
                </c:pt>
                <c:pt idx="6167">
                  <c:v>3.2333999000000002</c:v>
                </c:pt>
                <c:pt idx="6168">
                  <c:v>3.2335999000000002</c:v>
                </c:pt>
                <c:pt idx="6169">
                  <c:v>3.2337999000000002</c:v>
                </c:pt>
                <c:pt idx="6170">
                  <c:v>3.2339997</c:v>
                </c:pt>
                <c:pt idx="6171">
                  <c:v>3.2342</c:v>
                </c:pt>
                <c:pt idx="6172">
                  <c:v>3.2343997999999998</c:v>
                </c:pt>
                <c:pt idx="6173">
                  <c:v>3.2345997999999998</c:v>
                </c:pt>
                <c:pt idx="6174">
                  <c:v>3.2348001000000002</c:v>
                </c:pt>
                <c:pt idx="6175">
                  <c:v>3.2349999</c:v>
                </c:pt>
                <c:pt idx="6176">
                  <c:v>3.2351999</c:v>
                </c:pt>
                <c:pt idx="6177">
                  <c:v>3.2353999999999998</c:v>
                </c:pt>
                <c:pt idx="6178">
                  <c:v>3.2355998000000001</c:v>
                </c:pt>
                <c:pt idx="6179">
                  <c:v>3.2357999999999998</c:v>
                </c:pt>
                <c:pt idx="6180">
                  <c:v>3.2359998000000001</c:v>
                </c:pt>
                <c:pt idx="6181">
                  <c:v>3.2361998999999999</c:v>
                </c:pt>
                <c:pt idx="6182">
                  <c:v>3.2364001</c:v>
                </c:pt>
                <c:pt idx="6183">
                  <c:v>3.2365998999999999</c:v>
                </c:pt>
                <c:pt idx="6184">
                  <c:v>3.2368000000000001</c:v>
                </c:pt>
                <c:pt idx="6185">
                  <c:v>3.2369998</c:v>
                </c:pt>
                <c:pt idx="6186">
                  <c:v>3.2371998</c:v>
                </c:pt>
                <c:pt idx="6187">
                  <c:v>3.2374000999999999</c:v>
                </c:pt>
                <c:pt idx="6188">
                  <c:v>3.2375997999999999</c:v>
                </c:pt>
                <c:pt idx="6189">
                  <c:v>3.2377999000000002</c:v>
                </c:pt>
                <c:pt idx="6190">
                  <c:v>3.2380002000000001</c:v>
                </c:pt>
                <c:pt idx="6191">
                  <c:v>3.2381999000000001</c:v>
                </c:pt>
                <c:pt idx="6192">
                  <c:v>3.2383999999999999</c:v>
                </c:pt>
                <c:pt idx="6193">
                  <c:v>3.2385997999999998</c:v>
                </c:pt>
                <c:pt idx="6194">
                  <c:v>3.2387997999999998</c:v>
                </c:pt>
                <c:pt idx="6195">
                  <c:v>3.2390001000000002</c:v>
                </c:pt>
                <c:pt idx="6196">
                  <c:v>3.2391999</c:v>
                </c:pt>
                <c:pt idx="6197">
                  <c:v>3.2393999</c:v>
                </c:pt>
                <c:pt idx="6198">
                  <c:v>3.2395999</c:v>
                </c:pt>
                <c:pt idx="6199">
                  <c:v>3.2397999999999998</c:v>
                </c:pt>
                <c:pt idx="6200">
                  <c:v>3.24</c:v>
                </c:pt>
                <c:pt idx="6201">
                  <c:v>3.2401998000000001</c:v>
                </c:pt>
                <c:pt idx="6202">
                  <c:v>3.2403998000000001</c:v>
                </c:pt>
                <c:pt idx="6203">
                  <c:v>3.2405998999999999</c:v>
                </c:pt>
                <c:pt idx="6204">
                  <c:v>3.2407998999999998</c:v>
                </c:pt>
                <c:pt idx="6205">
                  <c:v>3.2409998999999998</c:v>
                </c:pt>
                <c:pt idx="6206">
                  <c:v>3.2412000000000001</c:v>
                </c:pt>
                <c:pt idx="6207">
                  <c:v>3.2414000000000001</c:v>
                </c:pt>
                <c:pt idx="6208">
                  <c:v>3.2415997999999999</c:v>
                </c:pt>
                <c:pt idx="6209">
                  <c:v>3.2417997999999999</c:v>
                </c:pt>
                <c:pt idx="6210">
                  <c:v>3.2419999000000002</c:v>
                </c:pt>
                <c:pt idx="6211">
                  <c:v>3.2421999000000001</c:v>
                </c:pt>
                <c:pt idx="6212">
                  <c:v>3.2423999000000001</c:v>
                </c:pt>
                <c:pt idx="6213">
                  <c:v>3.2425997</c:v>
                </c:pt>
                <c:pt idx="6214">
                  <c:v>3.2427999999999999</c:v>
                </c:pt>
                <c:pt idx="6215">
                  <c:v>3.2429999999999999</c:v>
                </c:pt>
                <c:pt idx="6216">
                  <c:v>3.2431998000000002</c:v>
                </c:pt>
                <c:pt idx="6217">
                  <c:v>3.2433999</c:v>
                </c:pt>
                <c:pt idx="6218">
                  <c:v>3.2435999</c:v>
                </c:pt>
                <c:pt idx="6219">
                  <c:v>3.2437999</c:v>
                </c:pt>
                <c:pt idx="6220">
                  <c:v>3.2440000000000002</c:v>
                </c:pt>
                <c:pt idx="6221">
                  <c:v>3.2441998000000001</c:v>
                </c:pt>
                <c:pt idx="6222">
                  <c:v>3.2444000000000002</c:v>
                </c:pt>
                <c:pt idx="6223">
                  <c:v>3.2446001</c:v>
                </c:pt>
                <c:pt idx="6224">
                  <c:v>3.2447998999999998</c:v>
                </c:pt>
                <c:pt idx="6225">
                  <c:v>3.2449998999999998</c:v>
                </c:pt>
                <c:pt idx="6226">
                  <c:v>3.2451997000000001</c:v>
                </c:pt>
                <c:pt idx="6227">
                  <c:v>3.2454000000000001</c:v>
                </c:pt>
                <c:pt idx="6228">
                  <c:v>3.2456</c:v>
                </c:pt>
                <c:pt idx="6229">
                  <c:v>3.2457997999999999</c:v>
                </c:pt>
                <c:pt idx="6230">
                  <c:v>3.2460000999999998</c:v>
                </c:pt>
                <c:pt idx="6231">
                  <c:v>3.2462000999999998</c:v>
                </c:pt>
                <c:pt idx="6232">
                  <c:v>3.2463999000000001</c:v>
                </c:pt>
                <c:pt idx="6233">
                  <c:v>3.2465999000000001</c:v>
                </c:pt>
                <c:pt idx="6234">
                  <c:v>3.2467997</c:v>
                </c:pt>
                <c:pt idx="6235">
                  <c:v>3.2469999999999999</c:v>
                </c:pt>
                <c:pt idx="6236">
                  <c:v>3.2471999999999999</c:v>
                </c:pt>
                <c:pt idx="6237">
                  <c:v>3.2473998000000002</c:v>
                </c:pt>
                <c:pt idx="6238">
                  <c:v>3.2476001000000001</c:v>
                </c:pt>
                <c:pt idx="6239">
                  <c:v>3.2477999</c:v>
                </c:pt>
                <c:pt idx="6240">
                  <c:v>3.2479998999999999</c:v>
                </c:pt>
                <c:pt idx="6241">
                  <c:v>3.2481998999999999</c:v>
                </c:pt>
                <c:pt idx="6242">
                  <c:v>3.2483996999999998</c:v>
                </c:pt>
                <c:pt idx="6243">
                  <c:v>3.2486000000000002</c:v>
                </c:pt>
                <c:pt idx="6244">
                  <c:v>3.2487998</c:v>
                </c:pt>
                <c:pt idx="6245">
                  <c:v>3.2489998</c:v>
                </c:pt>
                <c:pt idx="6246">
                  <c:v>3.2492000999999999</c:v>
                </c:pt>
                <c:pt idx="6247">
                  <c:v>3.2493998999999998</c:v>
                </c:pt>
                <c:pt idx="6248">
                  <c:v>3.2495999000000002</c:v>
                </c:pt>
                <c:pt idx="6249">
                  <c:v>3.2497997000000001</c:v>
                </c:pt>
                <c:pt idx="6250">
                  <c:v>3.2499997999999999</c:v>
                </c:pt>
                <c:pt idx="6251">
                  <c:v>3.2502</c:v>
                </c:pt>
                <c:pt idx="6252">
                  <c:v>3.2503997999999998</c:v>
                </c:pt>
                <c:pt idx="6253">
                  <c:v>3.2505999000000001</c:v>
                </c:pt>
                <c:pt idx="6254">
                  <c:v>3.2508001000000002</c:v>
                </c:pt>
                <c:pt idx="6255">
                  <c:v>3.2509999000000001</c:v>
                </c:pt>
                <c:pt idx="6256">
                  <c:v>3.2511999999999999</c:v>
                </c:pt>
                <c:pt idx="6257">
                  <c:v>3.2513998000000002</c:v>
                </c:pt>
                <c:pt idx="6258">
                  <c:v>3.2515998000000002</c:v>
                </c:pt>
                <c:pt idx="6259">
                  <c:v>3.2518001000000001</c:v>
                </c:pt>
                <c:pt idx="6260">
                  <c:v>3.2519998999999999</c:v>
                </c:pt>
                <c:pt idx="6261">
                  <c:v>3.2521998999999999</c:v>
                </c:pt>
                <c:pt idx="6262">
                  <c:v>3.2523998999999999</c:v>
                </c:pt>
                <c:pt idx="6263">
                  <c:v>3.2526000000000002</c:v>
                </c:pt>
                <c:pt idx="6264">
                  <c:v>3.2528000000000001</c:v>
                </c:pt>
                <c:pt idx="6265">
                  <c:v>3.2529998</c:v>
                </c:pt>
                <c:pt idx="6266">
                  <c:v>3.2531998</c:v>
                </c:pt>
                <c:pt idx="6267">
                  <c:v>3.2534000999999999</c:v>
                </c:pt>
                <c:pt idx="6268">
                  <c:v>3.2535999000000002</c:v>
                </c:pt>
                <c:pt idx="6269">
                  <c:v>3.2537999000000002</c:v>
                </c:pt>
                <c:pt idx="6270">
                  <c:v>3.2539999000000002</c:v>
                </c:pt>
                <c:pt idx="6271">
                  <c:v>3.2542</c:v>
                </c:pt>
                <c:pt idx="6272">
                  <c:v>3.2544</c:v>
                </c:pt>
                <c:pt idx="6273">
                  <c:v>3.2545997999999998</c:v>
                </c:pt>
                <c:pt idx="6274">
                  <c:v>3.2547997999999998</c:v>
                </c:pt>
                <c:pt idx="6275">
                  <c:v>3.2549999000000001</c:v>
                </c:pt>
                <c:pt idx="6276">
                  <c:v>3.2551999</c:v>
                </c:pt>
                <c:pt idx="6277">
                  <c:v>3.2553999</c:v>
                </c:pt>
                <c:pt idx="6278">
                  <c:v>3.2555999999999998</c:v>
                </c:pt>
                <c:pt idx="6279">
                  <c:v>3.2557999999999998</c:v>
                </c:pt>
                <c:pt idx="6280">
                  <c:v>3.2559998000000001</c:v>
                </c:pt>
                <c:pt idx="6281">
                  <c:v>3.2561998000000001</c:v>
                </c:pt>
                <c:pt idx="6282">
                  <c:v>3.2563998999999999</c:v>
                </c:pt>
                <c:pt idx="6283">
                  <c:v>3.2565998999999999</c:v>
                </c:pt>
                <c:pt idx="6284">
                  <c:v>3.2567998999999999</c:v>
                </c:pt>
                <c:pt idx="6285">
                  <c:v>3.2569997000000002</c:v>
                </c:pt>
                <c:pt idx="6286">
                  <c:v>3.2572000000000001</c:v>
                </c:pt>
                <c:pt idx="6287">
                  <c:v>3.2574000000000001</c:v>
                </c:pt>
                <c:pt idx="6288">
                  <c:v>3.2575997999999999</c:v>
                </c:pt>
                <c:pt idx="6289">
                  <c:v>3.2577999000000002</c:v>
                </c:pt>
                <c:pt idx="6290">
                  <c:v>3.2579999000000002</c:v>
                </c:pt>
                <c:pt idx="6291">
                  <c:v>3.2581999000000001</c:v>
                </c:pt>
                <c:pt idx="6292">
                  <c:v>3.2584</c:v>
                </c:pt>
                <c:pt idx="6293">
                  <c:v>3.2585997999999998</c:v>
                </c:pt>
                <c:pt idx="6294">
                  <c:v>3.2587999999999999</c:v>
                </c:pt>
                <c:pt idx="6295">
                  <c:v>3.2590001000000002</c:v>
                </c:pt>
                <c:pt idx="6296">
                  <c:v>3.2591999</c:v>
                </c:pt>
                <c:pt idx="6297">
                  <c:v>3.2593999</c:v>
                </c:pt>
                <c:pt idx="6298">
                  <c:v>3.2595996999999999</c:v>
                </c:pt>
                <c:pt idx="6299">
                  <c:v>3.2597999999999998</c:v>
                </c:pt>
                <c:pt idx="6300">
                  <c:v>3.26</c:v>
                </c:pt>
                <c:pt idx="6301">
                  <c:v>3.2601998000000001</c:v>
                </c:pt>
                <c:pt idx="6302">
                  <c:v>3.2604001</c:v>
                </c:pt>
                <c:pt idx="6303">
                  <c:v>3.2606001</c:v>
                </c:pt>
                <c:pt idx="6304">
                  <c:v>3.2607998999999999</c:v>
                </c:pt>
                <c:pt idx="6305">
                  <c:v>3.2609998999999998</c:v>
                </c:pt>
                <c:pt idx="6306">
                  <c:v>3.2611997000000001</c:v>
                </c:pt>
                <c:pt idx="6307">
                  <c:v>3.2614000000000001</c:v>
                </c:pt>
                <c:pt idx="6308">
                  <c:v>3.2616000000000001</c:v>
                </c:pt>
                <c:pt idx="6309">
                  <c:v>3.2617997999999999</c:v>
                </c:pt>
                <c:pt idx="6310">
                  <c:v>3.2620000999999998</c:v>
                </c:pt>
                <c:pt idx="6311">
                  <c:v>3.2621999000000002</c:v>
                </c:pt>
                <c:pt idx="6312">
                  <c:v>3.2623999000000001</c:v>
                </c:pt>
                <c:pt idx="6313">
                  <c:v>3.2625999000000001</c:v>
                </c:pt>
                <c:pt idx="6314">
                  <c:v>3.2627997</c:v>
                </c:pt>
                <c:pt idx="6315">
                  <c:v>3.2629999999999999</c:v>
                </c:pt>
                <c:pt idx="6316">
                  <c:v>3.2631998000000002</c:v>
                </c:pt>
                <c:pt idx="6317">
                  <c:v>3.2633998000000002</c:v>
                </c:pt>
                <c:pt idx="6318">
                  <c:v>3.2636001000000001</c:v>
                </c:pt>
                <c:pt idx="6319">
                  <c:v>3.2637999</c:v>
                </c:pt>
                <c:pt idx="6320">
                  <c:v>3.2639999</c:v>
                </c:pt>
                <c:pt idx="6321">
                  <c:v>3.2641996999999998</c:v>
                </c:pt>
                <c:pt idx="6322">
                  <c:v>3.2643998000000001</c:v>
                </c:pt>
                <c:pt idx="6323">
                  <c:v>3.2646000000000002</c:v>
                </c:pt>
                <c:pt idx="6324">
                  <c:v>3.2647998</c:v>
                </c:pt>
                <c:pt idx="6325">
                  <c:v>3.2649998999999998</c:v>
                </c:pt>
                <c:pt idx="6326">
                  <c:v>3.2652000999999999</c:v>
                </c:pt>
                <c:pt idx="6327">
                  <c:v>3.2653998999999998</c:v>
                </c:pt>
                <c:pt idx="6328">
                  <c:v>3.2656000000000001</c:v>
                </c:pt>
                <c:pt idx="6329">
                  <c:v>3.2657997999999999</c:v>
                </c:pt>
                <c:pt idx="6330">
                  <c:v>3.2659997999999999</c:v>
                </c:pt>
                <c:pt idx="6331">
                  <c:v>3.2662000999999998</c:v>
                </c:pt>
                <c:pt idx="6332">
                  <c:v>3.2663999000000001</c:v>
                </c:pt>
                <c:pt idx="6333">
                  <c:v>3.2665999000000001</c:v>
                </c:pt>
                <c:pt idx="6334">
                  <c:v>3.2667999000000001</c:v>
                </c:pt>
                <c:pt idx="6335">
                  <c:v>3.2669999999999999</c:v>
                </c:pt>
                <c:pt idx="6336">
                  <c:v>3.2671999999999999</c:v>
                </c:pt>
                <c:pt idx="6337">
                  <c:v>3.2673998000000002</c:v>
                </c:pt>
                <c:pt idx="6338">
                  <c:v>3.2675998000000002</c:v>
                </c:pt>
                <c:pt idx="6339">
                  <c:v>3.2677999</c:v>
                </c:pt>
                <c:pt idx="6340">
                  <c:v>3.2679999</c:v>
                </c:pt>
                <c:pt idx="6341">
                  <c:v>3.2681998999999999</c:v>
                </c:pt>
                <c:pt idx="6342">
                  <c:v>3.2684000000000002</c:v>
                </c:pt>
                <c:pt idx="6343">
                  <c:v>3.2686000000000002</c:v>
                </c:pt>
                <c:pt idx="6344">
                  <c:v>3.2688000000000001</c:v>
                </c:pt>
                <c:pt idx="6345">
                  <c:v>3.2689998</c:v>
                </c:pt>
                <c:pt idx="6346">
                  <c:v>3.2691998</c:v>
                </c:pt>
                <c:pt idx="6347">
                  <c:v>3.2693998999999998</c:v>
                </c:pt>
                <c:pt idx="6348">
                  <c:v>3.2695998999999998</c:v>
                </c:pt>
                <c:pt idx="6349">
                  <c:v>3.2697999000000002</c:v>
                </c:pt>
                <c:pt idx="6350">
                  <c:v>3.27</c:v>
                </c:pt>
                <c:pt idx="6351">
                  <c:v>3.2702</c:v>
                </c:pt>
                <c:pt idx="6352">
                  <c:v>3.2703997999999999</c:v>
                </c:pt>
                <c:pt idx="6353">
                  <c:v>3.2705997999999998</c:v>
                </c:pt>
                <c:pt idx="6354">
                  <c:v>3.2707999000000001</c:v>
                </c:pt>
                <c:pt idx="6355">
                  <c:v>3.2709999000000001</c:v>
                </c:pt>
                <c:pt idx="6356">
                  <c:v>3.2711999</c:v>
                </c:pt>
                <c:pt idx="6357">
                  <c:v>3.2713996999999999</c:v>
                </c:pt>
                <c:pt idx="6358">
                  <c:v>3.2715999999999998</c:v>
                </c:pt>
                <c:pt idx="6359">
                  <c:v>3.2717999999999998</c:v>
                </c:pt>
                <c:pt idx="6360">
                  <c:v>3.2719998000000001</c:v>
                </c:pt>
                <c:pt idx="6361">
                  <c:v>3.2721998999999999</c:v>
                </c:pt>
                <c:pt idx="6362">
                  <c:v>3.2723996999999998</c:v>
                </c:pt>
                <c:pt idx="6363">
                  <c:v>3.2725998999999999</c:v>
                </c:pt>
                <c:pt idx="6364">
                  <c:v>3.2728000000000002</c:v>
                </c:pt>
                <c:pt idx="6365">
                  <c:v>3.2729998</c:v>
                </c:pt>
                <c:pt idx="6366">
                  <c:v>3.2732000000000001</c:v>
                </c:pt>
                <c:pt idx="6367">
                  <c:v>3.2734000999999999</c:v>
                </c:pt>
                <c:pt idx="6368">
                  <c:v>3.2735998999999998</c:v>
                </c:pt>
                <c:pt idx="6369">
                  <c:v>3.2737999000000002</c:v>
                </c:pt>
                <c:pt idx="6370">
                  <c:v>3.2739997000000001</c:v>
                </c:pt>
                <c:pt idx="6371">
                  <c:v>3.2742</c:v>
                </c:pt>
                <c:pt idx="6372">
                  <c:v>3.2744</c:v>
                </c:pt>
                <c:pt idx="6373">
                  <c:v>3.2745997999999998</c:v>
                </c:pt>
                <c:pt idx="6374">
                  <c:v>3.2748001000000002</c:v>
                </c:pt>
                <c:pt idx="6375">
                  <c:v>3.2749999000000001</c:v>
                </c:pt>
                <c:pt idx="6376">
                  <c:v>3.2751999000000001</c:v>
                </c:pt>
                <c:pt idx="6377">
                  <c:v>3.2753999</c:v>
                </c:pt>
                <c:pt idx="6378">
                  <c:v>3.2755996999999999</c:v>
                </c:pt>
                <c:pt idx="6379">
                  <c:v>3.2757999999999998</c:v>
                </c:pt>
                <c:pt idx="6380">
                  <c:v>3.2759999999999998</c:v>
                </c:pt>
                <c:pt idx="6381">
                  <c:v>3.2761998000000001</c:v>
                </c:pt>
                <c:pt idx="6382">
                  <c:v>3.2764001</c:v>
                </c:pt>
                <c:pt idx="6383">
                  <c:v>3.2765998999999999</c:v>
                </c:pt>
                <c:pt idx="6384">
                  <c:v>3.2767998999999999</c:v>
                </c:pt>
                <c:pt idx="6385">
                  <c:v>3.2770000000000001</c:v>
                </c:pt>
                <c:pt idx="6386">
                  <c:v>3.2771997000000002</c:v>
                </c:pt>
                <c:pt idx="6387">
                  <c:v>3.2774000000000001</c:v>
                </c:pt>
                <c:pt idx="6388">
                  <c:v>3.2775998</c:v>
                </c:pt>
                <c:pt idx="6389">
                  <c:v>3.2777997999999999</c:v>
                </c:pt>
                <c:pt idx="6390">
                  <c:v>3.2780000999999999</c:v>
                </c:pt>
                <c:pt idx="6391">
                  <c:v>3.2781999000000002</c:v>
                </c:pt>
                <c:pt idx="6392">
                  <c:v>3.2783999000000001</c:v>
                </c:pt>
                <c:pt idx="6393">
                  <c:v>3.2785997</c:v>
                </c:pt>
                <c:pt idx="6394">
                  <c:v>3.2787997999999998</c:v>
                </c:pt>
                <c:pt idx="6395">
                  <c:v>3.2789999999999999</c:v>
                </c:pt>
                <c:pt idx="6396">
                  <c:v>3.2791998000000002</c:v>
                </c:pt>
                <c:pt idx="6397">
                  <c:v>3.2793999</c:v>
                </c:pt>
                <c:pt idx="6398">
                  <c:v>3.2796001000000001</c:v>
                </c:pt>
                <c:pt idx="6399">
                  <c:v>3.2797999</c:v>
                </c:pt>
                <c:pt idx="6400">
                  <c:v>3.28</c:v>
                </c:pt>
                <c:pt idx="6401">
                  <c:v>3.2801998000000001</c:v>
                </c:pt>
                <c:pt idx="6402">
                  <c:v>3.2803998000000001</c:v>
                </c:pt>
                <c:pt idx="6403">
                  <c:v>3.2806001</c:v>
                </c:pt>
                <c:pt idx="6404">
                  <c:v>3.2807998999999999</c:v>
                </c:pt>
                <c:pt idx="6405">
                  <c:v>3.2809998999999999</c:v>
                </c:pt>
                <c:pt idx="6406">
                  <c:v>3.2811998999999998</c:v>
                </c:pt>
                <c:pt idx="6407">
                  <c:v>3.2814000000000001</c:v>
                </c:pt>
                <c:pt idx="6408">
                  <c:v>3.2816000000000001</c:v>
                </c:pt>
                <c:pt idx="6409">
                  <c:v>3.2817997999999999</c:v>
                </c:pt>
                <c:pt idx="6410">
                  <c:v>3.2819997999999999</c:v>
                </c:pt>
                <c:pt idx="6411">
                  <c:v>3.2821999000000002</c:v>
                </c:pt>
                <c:pt idx="6412">
                  <c:v>3.2823999000000001</c:v>
                </c:pt>
                <c:pt idx="6413">
                  <c:v>3.2825999000000001</c:v>
                </c:pt>
                <c:pt idx="6414">
                  <c:v>3.2827999999999999</c:v>
                </c:pt>
                <c:pt idx="6415">
                  <c:v>3.2829999999999999</c:v>
                </c:pt>
                <c:pt idx="6416">
                  <c:v>3.2831999999999999</c:v>
                </c:pt>
                <c:pt idx="6417">
                  <c:v>3.2833998000000002</c:v>
                </c:pt>
                <c:pt idx="6418">
                  <c:v>3.2835999</c:v>
                </c:pt>
                <c:pt idx="6419">
                  <c:v>3.2837999</c:v>
                </c:pt>
                <c:pt idx="6420">
                  <c:v>3.2839999</c:v>
                </c:pt>
                <c:pt idx="6421">
                  <c:v>3.2841999999999998</c:v>
                </c:pt>
                <c:pt idx="6422">
                  <c:v>3.2844000000000002</c:v>
                </c:pt>
                <c:pt idx="6423">
                  <c:v>3.2846000000000002</c:v>
                </c:pt>
                <c:pt idx="6424">
                  <c:v>3.2847998</c:v>
                </c:pt>
                <c:pt idx="6425">
                  <c:v>3.2849998</c:v>
                </c:pt>
                <c:pt idx="6426">
                  <c:v>3.2851998999999998</c:v>
                </c:pt>
                <c:pt idx="6427">
                  <c:v>3.2853998999999998</c:v>
                </c:pt>
                <c:pt idx="6428">
                  <c:v>3.2855998999999998</c:v>
                </c:pt>
                <c:pt idx="6429">
                  <c:v>3.2857997000000001</c:v>
                </c:pt>
                <c:pt idx="6430">
                  <c:v>3.286</c:v>
                </c:pt>
                <c:pt idx="6431">
                  <c:v>3.2862</c:v>
                </c:pt>
                <c:pt idx="6432">
                  <c:v>3.2863997999999999</c:v>
                </c:pt>
                <c:pt idx="6433">
                  <c:v>3.2865999000000001</c:v>
                </c:pt>
                <c:pt idx="6434">
                  <c:v>3.2867997</c:v>
                </c:pt>
                <c:pt idx="6435">
                  <c:v>3.2869999000000001</c:v>
                </c:pt>
                <c:pt idx="6436">
                  <c:v>3.2871999999999999</c:v>
                </c:pt>
                <c:pt idx="6437">
                  <c:v>3.2873998000000002</c:v>
                </c:pt>
                <c:pt idx="6438">
                  <c:v>3.2875999999999999</c:v>
                </c:pt>
                <c:pt idx="6439">
                  <c:v>3.2878001000000001</c:v>
                </c:pt>
                <c:pt idx="6440">
                  <c:v>3.2879999</c:v>
                </c:pt>
                <c:pt idx="6441">
                  <c:v>3.2881999</c:v>
                </c:pt>
                <c:pt idx="6442">
                  <c:v>3.2883996999999998</c:v>
                </c:pt>
                <c:pt idx="6443">
                  <c:v>3.2886000000000002</c:v>
                </c:pt>
                <c:pt idx="6444">
                  <c:v>3.2888000000000002</c:v>
                </c:pt>
                <c:pt idx="6445">
                  <c:v>3.2889998</c:v>
                </c:pt>
                <c:pt idx="6446">
                  <c:v>3.2892001</c:v>
                </c:pt>
                <c:pt idx="6447">
                  <c:v>3.2893998999999998</c:v>
                </c:pt>
                <c:pt idx="6448">
                  <c:v>3.2895998999999998</c:v>
                </c:pt>
                <c:pt idx="6449">
                  <c:v>3.2897999000000002</c:v>
                </c:pt>
                <c:pt idx="6450">
                  <c:v>3.2899997000000001</c:v>
                </c:pt>
                <c:pt idx="6451">
                  <c:v>3.2902</c:v>
                </c:pt>
                <c:pt idx="6452">
                  <c:v>3.2903997999999999</c:v>
                </c:pt>
                <c:pt idx="6453">
                  <c:v>3.2905997999999999</c:v>
                </c:pt>
                <c:pt idx="6454">
                  <c:v>3.2908000999999998</c:v>
                </c:pt>
                <c:pt idx="6455">
                  <c:v>3.2909999000000001</c:v>
                </c:pt>
                <c:pt idx="6456">
                  <c:v>3.2911999000000001</c:v>
                </c:pt>
                <c:pt idx="6457">
                  <c:v>3.2913999999999999</c:v>
                </c:pt>
                <c:pt idx="6458">
                  <c:v>3.2915998000000002</c:v>
                </c:pt>
                <c:pt idx="6459">
                  <c:v>3.2917999999999998</c:v>
                </c:pt>
                <c:pt idx="6460">
                  <c:v>3.2919998000000001</c:v>
                </c:pt>
                <c:pt idx="6461">
                  <c:v>3.2921999</c:v>
                </c:pt>
                <c:pt idx="6462">
                  <c:v>3.2924001000000001</c:v>
                </c:pt>
                <c:pt idx="6463">
                  <c:v>3.2925998999999999</c:v>
                </c:pt>
                <c:pt idx="6464">
                  <c:v>3.2927998999999999</c:v>
                </c:pt>
                <c:pt idx="6465">
                  <c:v>3.2929997000000002</c:v>
                </c:pt>
                <c:pt idx="6466">
                  <c:v>3.2931998</c:v>
                </c:pt>
                <c:pt idx="6467">
                  <c:v>3.2934000000000001</c:v>
                </c:pt>
                <c:pt idx="6468">
                  <c:v>3.2935998</c:v>
                </c:pt>
                <c:pt idx="6469">
                  <c:v>3.2937998999999998</c:v>
                </c:pt>
                <c:pt idx="6470">
                  <c:v>3.2940000999999999</c:v>
                </c:pt>
                <c:pt idx="6471">
                  <c:v>3.2941999000000002</c:v>
                </c:pt>
                <c:pt idx="6472">
                  <c:v>3.2944</c:v>
                </c:pt>
                <c:pt idx="6473">
                  <c:v>3.2945997999999999</c:v>
                </c:pt>
                <c:pt idx="6474">
                  <c:v>3.2947997999999998</c:v>
                </c:pt>
                <c:pt idx="6475">
                  <c:v>3.2950001000000002</c:v>
                </c:pt>
                <c:pt idx="6476">
                  <c:v>3.2951999000000001</c:v>
                </c:pt>
                <c:pt idx="6477">
                  <c:v>3.2953999</c:v>
                </c:pt>
                <c:pt idx="6478">
                  <c:v>3.2955999</c:v>
                </c:pt>
                <c:pt idx="6479">
                  <c:v>3.2957999999999998</c:v>
                </c:pt>
                <c:pt idx="6480">
                  <c:v>3.2959999999999998</c:v>
                </c:pt>
                <c:pt idx="6481">
                  <c:v>3.2961998000000001</c:v>
                </c:pt>
                <c:pt idx="6482">
                  <c:v>3.2963998000000001</c:v>
                </c:pt>
                <c:pt idx="6483">
                  <c:v>3.2965998999999999</c:v>
                </c:pt>
                <c:pt idx="6484">
                  <c:v>3.2967998999999999</c:v>
                </c:pt>
                <c:pt idx="6485">
                  <c:v>3.2969998999999999</c:v>
                </c:pt>
                <c:pt idx="6486">
                  <c:v>3.2972000000000001</c:v>
                </c:pt>
                <c:pt idx="6487">
                  <c:v>3.2974000000000001</c:v>
                </c:pt>
                <c:pt idx="6488">
                  <c:v>3.2975998</c:v>
                </c:pt>
                <c:pt idx="6489">
                  <c:v>3.2977997999999999</c:v>
                </c:pt>
                <c:pt idx="6490">
                  <c:v>3.2979999000000002</c:v>
                </c:pt>
                <c:pt idx="6491">
                  <c:v>3.2981999000000002</c:v>
                </c:pt>
                <c:pt idx="6492">
                  <c:v>3.2983999000000002</c:v>
                </c:pt>
                <c:pt idx="6493">
                  <c:v>3.2986</c:v>
                </c:pt>
                <c:pt idx="6494">
                  <c:v>3.2988</c:v>
                </c:pt>
                <c:pt idx="6495">
                  <c:v>3.2989999999999999</c:v>
                </c:pt>
                <c:pt idx="6496">
                  <c:v>3.2991997999999998</c:v>
                </c:pt>
                <c:pt idx="6497">
                  <c:v>3.2993999000000001</c:v>
                </c:pt>
                <c:pt idx="6498">
                  <c:v>3.2995999</c:v>
                </c:pt>
                <c:pt idx="6499">
                  <c:v>3.2997999</c:v>
                </c:pt>
                <c:pt idx="6500">
                  <c:v>3.3</c:v>
                </c:pt>
                <c:pt idx="6501">
                  <c:v>3.3001996999999998</c:v>
                </c:pt>
                <c:pt idx="6502">
                  <c:v>3.3003999999999998</c:v>
                </c:pt>
                <c:pt idx="6503">
                  <c:v>3.3006001</c:v>
                </c:pt>
                <c:pt idx="6504">
                  <c:v>3.3007998000000001</c:v>
                </c:pt>
                <c:pt idx="6505">
                  <c:v>3.3009998999999999</c:v>
                </c:pt>
                <c:pt idx="6506">
                  <c:v>3.3011997000000002</c:v>
                </c:pt>
                <c:pt idx="6507">
                  <c:v>3.3013998999999998</c:v>
                </c:pt>
                <c:pt idx="6508">
                  <c:v>3.3016000000000001</c:v>
                </c:pt>
                <c:pt idx="6509">
                  <c:v>3.3017998</c:v>
                </c:pt>
                <c:pt idx="6510">
                  <c:v>3.302</c:v>
                </c:pt>
                <c:pt idx="6511">
                  <c:v>3.3022000999999999</c:v>
                </c:pt>
                <c:pt idx="6512">
                  <c:v>3.3023999000000002</c:v>
                </c:pt>
                <c:pt idx="6513">
                  <c:v>3.3025999000000001</c:v>
                </c:pt>
                <c:pt idx="6514">
                  <c:v>3.3027997</c:v>
                </c:pt>
                <c:pt idx="6515">
                  <c:v>3.3029999999999999</c:v>
                </c:pt>
                <c:pt idx="6516">
                  <c:v>3.3031999999999999</c:v>
                </c:pt>
                <c:pt idx="6517">
                  <c:v>3.3033998000000002</c:v>
                </c:pt>
                <c:pt idx="6518">
                  <c:v>3.3036001000000002</c:v>
                </c:pt>
                <c:pt idx="6519">
                  <c:v>3.3037999</c:v>
                </c:pt>
                <c:pt idx="6520">
                  <c:v>3.3039999</c:v>
                </c:pt>
                <c:pt idx="6521">
                  <c:v>3.3041999</c:v>
                </c:pt>
                <c:pt idx="6522">
                  <c:v>3.3043996999999998</c:v>
                </c:pt>
                <c:pt idx="6523">
                  <c:v>3.3046000000000002</c:v>
                </c:pt>
                <c:pt idx="6524">
                  <c:v>3.3047998000000001</c:v>
                </c:pt>
                <c:pt idx="6525">
                  <c:v>3.3049998</c:v>
                </c:pt>
                <c:pt idx="6526">
                  <c:v>3.3052001</c:v>
                </c:pt>
                <c:pt idx="6527">
                  <c:v>3.3053998999999998</c:v>
                </c:pt>
                <c:pt idx="6528">
                  <c:v>3.3055998999999998</c:v>
                </c:pt>
                <c:pt idx="6529">
                  <c:v>3.3058000000000001</c:v>
                </c:pt>
                <c:pt idx="6530">
                  <c:v>3.3059997999999999</c:v>
                </c:pt>
                <c:pt idx="6531">
                  <c:v>3.3062</c:v>
                </c:pt>
                <c:pt idx="6532">
                  <c:v>3.3063997999999999</c:v>
                </c:pt>
                <c:pt idx="6533">
                  <c:v>3.3065999000000001</c:v>
                </c:pt>
                <c:pt idx="6534">
                  <c:v>3.3068000999999998</c:v>
                </c:pt>
                <c:pt idx="6535">
                  <c:v>3.3069999000000001</c:v>
                </c:pt>
                <c:pt idx="6536">
                  <c:v>3.3071999999999999</c:v>
                </c:pt>
                <c:pt idx="6537">
                  <c:v>3.3073996999999999</c:v>
                </c:pt>
                <c:pt idx="6538">
                  <c:v>3.3075998000000002</c:v>
                </c:pt>
                <c:pt idx="6539">
                  <c:v>3.3078001000000001</c:v>
                </c:pt>
                <c:pt idx="6540">
                  <c:v>3.3079998000000002</c:v>
                </c:pt>
                <c:pt idx="6541">
                  <c:v>3.3081999</c:v>
                </c:pt>
                <c:pt idx="6542">
                  <c:v>3.3083998999999999</c:v>
                </c:pt>
                <c:pt idx="6543">
                  <c:v>3.3085998999999999</c:v>
                </c:pt>
                <c:pt idx="6544">
                  <c:v>3.3088000000000002</c:v>
                </c:pt>
                <c:pt idx="6545">
                  <c:v>3.3089998</c:v>
                </c:pt>
                <c:pt idx="6546">
                  <c:v>3.3091998</c:v>
                </c:pt>
                <c:pt idx="6547">
                  <c:v>3.3094001</c:v>
                </c:pt>
                <c:pt idx="6548">
                  <c:v>3.3095998999999998</c:v>
                </c:pt>
                <c:pt idx="6549">
                  <c:v>3.3097998999999998</c:v>
                </c:pt>
                <c:pt idx="6550">
                  <c:v>3.3099999000000002</c:v>
                </c:pt>
                <c:pt idx="6551">
                  <c:v>3.3102</c:v>
                </c:pt>
                <c:pt idx="6552">
                  <c:v>3.3104</c:v>
                </c:pt>
                <c:pt idx="6553">
                  <c:v>3.3105997999999999</c:v>
                </c:pt>
                <c:pt idx="6554">
                  <c:v>3.3107997999999998</c:v>
                </c:pt>
                <c:pt idx="6555">
                  <c:v>3.3109999000000001</c:v>
                </c:pt>
                <c:pt idx="6556">
                  <c:v>3.3111999000000001</c:v>
                </c:pt>
                <c:pt idx="6557">
                  <c:v>3.3113999000000001</c:v>
                </c:pt>
                <c:pt idx="6558">
                  <c:v>3.3115999999999999</c:v>
                </c:pt>
                <c:pt idx="6559">
                  <c:v>3.3117999999999999</c:v>
                </c:pt>
                <c:pt idx="6560">
                  <c:v>3.3119998000000002</c:v>
                </c:pt>
                <c:pt idx="6561">
                  <c:v>3.3121998000000001</c:v>
                </c:pt>
                <c:pt idx="6562">
                  <c:v>3.3123999</c:v>
                </c:pt>
                <c:pt idx="6563">
                  <c:v>3.3125998999999999</c:v>
                </c:pt>
                <c:pt idx="6564">
                  <c:v>3.3127998999999999</c:v>
                </c:pt>
                <c:pt idx="6565">
                  <c:v>3.3129997000000002</c:v>
                </c:pt>
                <c:pt idx="6566">
                  <c:v>3.3132000000000001</c:v>
                </c:pt>
                <c:pt idx="6567">
                  <c:v>3.3134000000000001</c:v>
                </c:pt>
                <c:pt idx="6568">
                  <c:v>3.3135998</c:v>
                </c:pt>
                <c:pt idx="6569">
                  <c:v>3.3137998999999998</c:v>
                </c:pt>
                <c:pt idx="6570">
                  <c:v>3.3139999000000002</c:v>
                </c:pt>
                <c:pt idx="6571">
                  <c:v>3.3141999000000002</c:v>
                </c:pt>
                <c:pt idx="6572">
                  <c:v>3.3144</c:v>
                </c:pt>
                <c:pt idx="6573">
                  <c:v>3.3145997999999999</c:v>
                </c:pt>
                <c:pt idx="6574">
                  <c:v>3.3148</c:v>
                </c:pt>
                <c:pt idx="6575">
                  <c:v>3.3150000999999998</c:v>
                </c:pt>
                <c:pt idx="6576">
                  <c:v>3.3151999000000001</c:v>
                </c:pt>
                <c:pt idx="6577">
                  <c:v>3.3153999000000001</c:v>
                </c:pt>
                <c:pt idx="6578">
                  <c:v>3.3155996999999999</c:v>
                </c:pt>
                <c:pt idx="6579">
                  <c:v>3.3157999999999999</c:v>
                </c:pt>
                <c:pt idx="6580">
                  <c:v>3.3159999999999998</c:v>
                </c:pt>
                <c:pt idx="6581">
                  <c:v>3.3161998000000001</c:v>
                </c:pt>
                <c:pt idx="6582">
                  <c:v>3.3164001000000001</c:v>
                </c:pt>
                <c:pt idx="6583">
                  <c:v>3.3166001000000001</c:v>
                </c:pt>
                <c:pt idx="6584">
                  <c:v>3.3167998999999999</c:v>
                </c:pt>
                <c:pt idx="6585">
                  <c:v>3.3169998999999999</c:v>
                </c:pt>
                <c:pt idx="6586">
                  <c:v>3.3171997000000002</c:v>
                </c:pt>
                <c:pt idx="6587">
                  <c:v>3.3174000000000001</c:v>
                </c:pt>
                <c:pt idx="6588">
                  <c:v>3.3176000000000001</c:v>
                </c:pt>
                <c:pt idx="6589">
                  <c:v>3.3177998</c:v>
                </c:pt>
                <c:pt idx="6590">
                  <c:v>3.3180000999999999</c:v>
                </c:pt>
                <c:pt idx="6591">
                  <c:v>3.3181999000000002</c:v>
                </c:pt>
                <c:pt idx="6592">
                  <c:v>3.3183999000000002</c:v>
                </c:pt>
                <c:pt idx="6593">
                  <c:v>3.3185999000000002</c:v>
                </c:pt>
                <c:pt idx="6594">
                  <c:v>3.3187997</c:v>
                </c:pt>
                <c:pt idx="6595">
                  <c:v>3.319</c:v>
                </c:pt>
                <c:pt idx="6596">
                  <c:v>3.3191997999999998</c:v>
                </c:pt>
                <c:pt idx="6597">
                  <c:v>3.3193997999999998</c:v>
                </c:pt>
                <c:pt idx="6598">
                  <c:v>3.3196001000000002</c:v>
                </c:pt>
                <c:pt idx="6599">
                  <c:v>3.3197999</c:v>
                </c:pt>
                <c:pt idx="6600">
                  <c:v>3.3199999</c:v>
                </c:pt>
                <c:pt idx="6601">
                  <c:v>3.3201996999999999</c:v>
                </c:pt>
                <c:pt idx="6602">
                  <c:v>3.3203998000000001</c:v>
                </c:pt>
                <c:pt idx="6603">
                  <c:v>3.3206000000000002</c:v>
                </c:pt>
                <c:pt idx="6604">
                  <c:v>3.3207998000000001</c:v>
                </c:pt>
                <c:pt idx="6605">
                  <c:v>3.3209998999999999</c:v>
                </c:pt>
                <c:pt idx="6606">
                  <c:v>3.3212001</c:v>
                </c:pt>
                <c:pt idx="6607">
                  <c:v>3.3213998999999998</c:v>
                </c:pt>
                <c:pt idx="6608">
                  <c:v>3.3216000000000001</c:v>
                </c:pt>
                <c:pt idx="6609">
                  <c:v>3.3217998</c:v>
                </c:pt>
                <c:pt idx="6610">
                  <c:v>3.3219997999999999</c:v>
                </c:pt>
                <c:pt idx="6611">
                  <c:v>3.3222000999999999</c:v>
                </c:pt>
                <c:pt idx="6612">
                  <c:v>3.3223999000000002</c:v>
                </c:pt>
                <c:pt idx="6613">
                  <c:v>3.3225999000000002</c:v>
                </c:pt>
                <c:pt idx="6614">
                  <c:v>3.3227999000000001</c:v>
                </c:pt>
                <c:pt idx="6615">
                  <c:v>3.323</c:v>
                </c:pt>
                <c:pt idx="6616">
                  <c:v>3.3231999999999999</c:v>
                </c:pt>
                <c:pt idx="6617">
                  <c:v>3.3233997999999998</c:v>
                </c:pt>
                <c:pt idx="6618">
                  <c:v>3.3235998000000002</c:v>
                </c:pt>
                <c:pt idx="6619">
                  <c:v>3.3238001000000001</c:v>
                </c:pt>
                <c:pt idx="6620">
                  <c:v>3.3239999</c:v>
                </c:pt>
                <c:pt idx="6621">
                  <c:v>3.3241999</c:v>
                </c:pt>
                <c:pt idx="6622">
                  <c:v>3.3243999</c:v>
                </c:pt>
                <c:pt idx="6623">
                  <c:v>3.3246000000000002</c:v>
                </c:pt>
                <c:pt idx="6624">
                  <c:v>3.3248000000000002</c:v>
                </c:pt>
                <c:pt idx="6625">
                  <c:v>3.3249998000000001</c:v>
                </c:pt>
                <c:pt idx="6626">
                  <c:v>3.3251998</c:v>
                </c:pt>
                <c:pt idx="6627">
                  <c:v>3.3253998999999999</c:v>
                </c:pt>
                <c:pt idx="6628">
                  <c:v>3.3255998999999998</c:v>
                </c:pt>
                <c:pt idx="6629">
                  <c:v>3.3257998999999998</c:v>
                </c:pt>
                <c:pt idx="6630">
                  <c:v>3.3260000000000001</c:v>
                </c:pt>
                <c:pt idx="6631">
                  <c:v>3.3262</c:v>
                </c:pt>
                <c:pt idx="6632">
                  <c:v>3.3263997999999999</c:v>
                </c:pt>
                <c:pt idx="6633">
                  <c:v>3.3265997999999999</c:v>
                </c:pt>
                <c:pt idx="6634">
                  <c:v>3.3267999000000001</c:v>
                </c:pt>
                <c:pt idx="6635">
                  <c:v>3.3269999000000001</c:v>
                </c:pt>
                <c:pt idx="6636">
                  <c:v>3.3271999000000001</c:v>
                </c:pt>
                <c:pt idx="6637">
                  <c:v>3.3273997</c:v>
                </c:pt>
                <c:pt idx="6638">
                  <c:v>3.3275999999999999</c:v>
                </c:pt>
                <c:pt idx="6639">
                  <c:v>3.3277999999999999</c:v>
                </c:pt>
                <c:pt idx="6640">
                  <c:v>3.3279998000000002</c:v>
                </c:pt>
                <c:pt idx="6641">
                  <c:v>3.3281999</c:v>
                </c:pt>
                <c:pt idx="6642">
                  <c:v>3.3283999</c:v>
                </c:pt>
                <c:pt idx="6643">
                  <c:v>3.3285998999999999</c:v>
                </c:pt>
                <c:pt idx="6644">
                  <c:v>3.3288000000000002</c:v>
                </c:pt>
                <c:pt idx="6645">
                  <c:v>3.3289998000000001</c:v>
                </c:pt>
                <c:pt idx="6646">
                  <c:v>3.3292000000000002</c:v>
                </c:pt>
                <c:pt idx="6647">
                  <c:v>3.3294001</c:v>
                </c:pt>
                <c:pt idx="6648">
                  <c:v>3.3295998999999998</c:v>
                </c:pt>
                <c:pt idx="6649">
                  <c:v>3.3297998999999998</c:v>
                </c:pt>
                <c:pt idx="6650">
                  <c:v>3.3299997000000001</c:v>
                </c:pt>
                <c:pt idx="6651">
                  <c:v>3.3302</c:v>
                </c:pt>
                <c:pt idx="6652">
                  <c:v>3.3304</c:v>
                </c:pt>
                <c:pt idx="6653">
                  <c:v>3.3305997999999999</c:v>
                </c:pt>
                <c:pt idx="6654">
                  <c:v>3.3308000999999998</c:v>
                </c:pt>
                <c:pt idx="6655">
                  <c:v>3.3309999000000001</c:v>
                </c:pt>
                <c:pt idx="6656">
                  <c:v>3.3311999000000001</c:v>
                </c:pt>
                <c:pt idx="6657">
                  <c:v>3.3313999000000001</c:v>
                </c:pt>
                <c:pt idx="6658">
                  <c:v>3.3315996999999999</c:v>
                </c:pt>
                <c:pt idx="6659">
                  <c:v>3.3317999999999999</c:v>
                </c:pt>
                <c:pt idx="6660">
                  <c:v>3.3319999999999999</c:v>
                </c:pt>
                <c:pt idx="6661">
                  <c:v>3.3321998000000002</c:v>
                </c:pt>
                <c:pt idx="6662">
                  <c:v>3.3324001000000001</c:v>
                </c:pt>
                <c:pt idx="6663">
                  <c:v>3.3325998999999999</c:v>
                </c:pt>
                <c:pt idx="6664">
                  <c:v>3.3327998999999999</c:v>
                </c:pt>
                <c:pt idx="6665">
                  <c:v>3.3329998999999999</c:v>
                </c:pt>
                <c:pt idx="6666">
                  <c:v>3.3331997000000002</c:v>
                </c:pt>
                <c:pt idx="6667">
                  <c:v>3.3334000000000001</c:v>
                </c:pt>
                <c:pt idx="6668">
                  <c:v>3.3335998</c:v>
                </c:pt>
                <c:pt idx="6669">
                  <c:v>3.3337998</c:v>
                </c:pt>
                <c:pt idx="6670">
                  <c:v>3.3340000999999999</c:v>
                </c:pt>
                <c:pt idx="6671">
                  <c:v>3.3341999000000002</c:v>
                </c:pt>
                <c:pt idx="6672">
                  <c:v>3.3343999000000002</c:v>
                </c:pt>
                <c:pt idx="6673">
                  <c:v>3.3345997000000001</c:v>
                </c:pt>
                <c:pt idx="6674">
                  <c:v>3.3347997999999999</c:v>
                </c:pt>
                <c:pt idx="6675">
                  <c:v>3.335</c:v>
                </c:pt>
                <c:pt idx="6676">
                  <c:v>3.3351997999999998</c:v>
                </c:pt>
                <c:pt idx="6677">
                  <c:v>3.3353999000000001</c:v>
                </c:pt>
                <c:pt idx="6678">
                  <c:v>3.3356001000000002</c:v>
                </c:pt>
                <c:pt idx="6679">
                  <c:v>3.3357999</c:v>
                </c:pt>
                <c:pt idx="6680">
                  <c:v>3.3359999999999999</c:v>
                </c:pt>
                <c:pt idx="6681">
                  <c:v>3.3361998000000002</c:v>
                </c:pt>
                <c:pt idx="6682">
                  <c:v>3.3363998000000001</c:v>
                </c:pt>
                <c:pt idx="6683">
                  <c:v>3.3366001000000001</c:v>
                </c:pt>
                <c:pt idx="6684">
                  <c:v>3.3367998999999999</c:v>
                </c:pt>
                <c:pt idx="6685">
                  <c:v>3.3369998999999999</c:v>
                </c:pt>
                <c:pt idx="6686">
                  <c:v>3.3371998999999999</c:v>
                </c:pt>
                <c:pt idx="6687">
                  <c:v>3.3374000000000001</c:v>
                </c:pt>
                <c:pt idx="6688">
                  <c:v>3.3376000000000001</c:v>
                </c:pt>
                <c:pt idx="6689">
                  <c:v>3.3377998</c:v>
                </c:pt>
                <c:pt idx="6690">
                  <c:v>3.3379998</c:v>
                </c:pt>
                <c:pt idx="6691">
                  <c:v>3.3381999000000002</c:v>
                </c:pt>
                <c:pt idx="6692">
                  <c:v>3.3383999000000002</c:v>
                </c:pt>
                <c:pt idx="6693">
                  <c:v>3.3385999000000002</c:v>
                </c:pt>
                <c:pt idx="6694">
                  <c:v>3.3388</c:v>
                </c:pt>
                <c:pt idx="6695">
                  <c:v>3.339</c:v>
                </c:pt>
                <c:pt idx="6696">
                  <c:v>3.3391999999999999</c:v>
                </c:pt>
                <c:pt idx="6697">
                  <c:v>3.3393997999999998</c:v>
                </c:pt>
                <c:pt idx="6698">
                  <c:v>3.3395997999999998</c:v>
                </c:pt>
                <c:pt idx="6699">
                  <c:v>3.3397999</c:v>
                </c:pt>
                <c:pt idx="6700">
                  <c:v>3.3399999</c:v>
                </c:pt>
                <c:pt idx="6701">
                  <c:v>3.3401999</c:v>
                </c:pt>
                <c:pt idx="6702">
                  <c:v>3.3403999999999998</c:v>
                </c:pt>
                <c:pt idx="6703">
                  <c:v>3.3405999999999998</c:v>
                </c:pt>
                <c:pt idx="6704">
                  <c:v>3.3407998000000001</c:v>
                </c:pt>
                <c:pt idx="6705">
                  <c:v>3.3409998000000001</c:v>
                </c:pt>
                <c:pt idx="6706">
                  <c:v>3.3411998999999999</c:v>
                </c:pt>
                <c:pt idx="6707">
                  <c:v>3.3413998999999999</c:v>
                </c:pt>
                <c:pt idx="6708">
                  <c:v>3.3415998999999998</c:v>
                </c:pt>
                <c:pt idx="6709">
                  <c:v>3.3417997000000002</c:v>
                </c:pt>
                <c:pt idx="6710">
                  <c:v>3.3420000000000001</c:v>
                </c:pt>
                <c:pt idx="6711">
                  <c:v>3.3422000000000001</c:v>
                </c:pt>
                <c:pt idx="6712">
                  <c:v>3.3423997999999999</c:v>
                </c:pt>
                <c:pt idx="6713">
                  <c:v>3.3425999000000002</c:v>
                </c:pt>
                <c:pt idx="6714">
                  <c:v>3.3427997</c:v>
                </c:pt>
                <c:pt idx="6715">
                  <c:v>3.3429999000000001</c:v>
                </c:pt>
                <c:pt idx="6716">
                  <c:v>3.3431999999999999</c:v>
                </c:pt>
                <c:pt idx="6717">
                  <c:v>3.3433997999999998</c:v>
                </c:pt>
                <c:pt idx="6718">
                  <c:v>3.3435999999999999</c:v>
                </c:pt>
                <c:pt idx="6719">
                  <c:v>3.3438001000000002</c:v>
                </c:pt>
                <c:pt idx="6720">
                  <c:v>3.3439999</c:v>
                </c:pt>
                <c:pt idx="6721">
                  <c:v>3.3441999</c:v>
                </c:pt>
                <c:pt idx="6722">
                  <c:v>3.3443996999999999</c:v>
                </c:pt>
                <c:pt idx="6723">
                  <c:v>3.3445999999999998</c:v>
                </c:pt>
                <c:pt idx="6724">
                  <c:v>3.3448000000000002</c:v>
                </c:pt>
                <c:pt idx="6725">
                  <c:v>3.3449998000000001</c:v>
                </c:pt>
                <c:pt idx="6726">
                  <c:v>3.3452001</c:v>
                </c:pt>
                <c:pt idx="6727">
                  <c:v>3.3453998999999999</c:v>
                </c:pt>
                <c:pt idx="6728">
                  <c:v>3.3455998999999998</c:v>
                </c:pt>
                <c:pt idx="6729">
                  <c:v>3.3457998999999998</c:v>
                </c:pt>
                <c:pt idx="6730">
                  <c:v>3.3459997000000001</c:v>
                </c:pt>
                <c:pt idx="6731">
                  <c:v>3.3462000000000001</c:v>
                </c:pt>
                <c:pt idx="6732">
                  <c:v>3.3464</c:v>
                </c:pt>
                <c:pt idx="6733">
                  <c:v>3.3465997999999999</c:v>
                </c:pt>
                <c:pt idx="6734">
                  <c:v>3.3468000999999998</c:v>
                </c:pt>
                <c:pt idx="6735">
                  <c:v>3.3469999000000001</c:v>
                </c:pt>
                <c:pt idx="6736">
                  <c:v>3.3471999000000001</c:v>
                </c:pt>
                <c:pt idx="6737">
                  <c:v>3.3473999999999999</c:v>
                </c:pt>
                <c:pt idx="6738">
                  <c:v>3.3475997</c:v>
                </c:pt>
                <c:pt idx="6739">
                  <c:v>3.3477999999999999</c:v>
                </c:pt>
                <c:pt idx="6740">
                  <c:v>3.3479998000000002</c:v>
                </c:pt>
                <c:pt idx="6741">
                  <c:v>3.3481998000000002</c:v>
                </c:pt>
                <c:pt idx="6742">
                  <c:v>3.3484001000000001</c:v>
                </c:pt>
                <c:pt idx="6743">
                  <c:v>3.3485999</c:v>
                </c:pt>
                <c:pt idx="6744">
                  <c:v>3.3487998999999999</c:v>
                </c:pt>
                <c:pt idx="6745">
                  <c:v>3.3489996999999998</c:v>
                </c:pt>
                <c:pt idx="6746">
                  <c:v>3.3491998000000001</c:v>
                </c:pt>
                <c:pt idx="6747">
                  <c:v>3.3494000000000002</c:v>
                </c:pt>
                <c:pt idx="6748">
                  <c:v>3.3495998</c:v>
                </c:pt>
                <c:pt idx="6749">
                  <c:v>3.3497998999999998</c:v>
                </c:pt>
                <c:pt idx="6750">
                  <c:v>3.3500000999999999</c:v>
                </c:pt>
                <c:pt idx="6751">
                  <c:v>3.3501998999999998</c:v>
                </c:pt>
                <c:pt idx="6752">
                  <c:v>3.3504</c:v>
                </c:pt>
                <c:pt idx="6753">
                  <c:v>3.3505997999999999</c:v>
                </c:pt>
                <c:pt idx="6754">
                  <c:v>3.3507997999999999</c:v>
                </c:pt>
                <c:pt idx="6755">
                  <c:v>3.3510000999999998</c:v>
                </c:pt>
                <c:pt idx="6756">
                  <c:v>3.3511999000000001</c:v>
                </c:pt>
                <c:pt idx="6757">
                  <c:v>3.3513999000000001</c:v>
                </c:pt>
                <c:pt idx="6758">
                  <c:v>3.3515999000000001</c:v>
                </c:pt>
                <c:pt idx="6759">
                  <c:v>3.3517999999999999</c:v>
                </c:pt>
                <c:pt idx="6760">
                  <c:v>3.3519999999999999</c:v>
                </c:pt>
                <c:pt idx="6761">
                  <c:v>3.3521998000000002</c:v>
                </c:pt>
                <c:pt idx="6762">
                  <c:v>3.3523998000000002</c:v>
                </c:pt>
                <c:pt idx="6763">
                  <c:v>3.3525999</c:v>
                </c:pt>
                <c:pt idx="6764">
                  <c:v>3.3527998999999999</c:v>
                </c:pt>
                <c:pt idx="6765">
                  <c:v>3.3529998999999999</c:v>
                </c:pt>
                <c:pt idx="6766">
                  <c:v>3.3532000000000002</c:v>
                </c:pt>
                <c:pt idx="6767">
                  <c:v>3.3534000000000002</c:v>
                </c:pt>
                <c:pt idx="6768">
                  <c:v>3.3535998</c:v>
                </c:pt>
                <c:pt idx="6769">
                  <c:v>3.3537998</c:v>
                </c:pt>
                <c:pt idx="6770">
                  <c:v>3.3539998999999998</c:v>
                </c:pt>
                <c:pt idx="6771">
                  <c:v>3.3541998999999998</c:v>
                </c:pt>
                <c:pt idx="6772">
                  <c:v>3.3543999000000002</c:v>
                </c:pt>
                <c:pt idx="6773">
                  <c:v>3.3546</c:v>
                </c:pt>
                <c:pt idx="6774">
                  <c:v>3.3548</c:v>
                </c:pt>
                <c:pt idx="6775">
                  <c:v>3.355</c:v>
                </c:pt>
                <c:pt idx="6776">
                  <c:v>3.3551997999999998</c:v>
                </c:pt>
                <c:pt idx="6777">
                  <c:v>3.3553997999999998</c:v>
                </c:pt>
                <c:pt idx="6778">
                  <c:v>3.3555999000000001</c:v>
                </c:pt>
                <c:pt idx="6779">
                  <c:v>3.3557999000000001</c:v>
                </c:pt>
                <c:pt idx="6780">
                  <c:v>3.3559999</c:v>
                </c:pt>
                <c:pt idx="6781">
                  <c:v>3.3561996999999999</c:v>
                </c:pt>
                <c:pt idx="6782">
                  <c:v>3.3563999999999998</c:v>
                </c:pt>
                <c:pt idx="6783">
                  <c:v>3.3565999999999998</c:v>
                </c:pt>
                <c:pt idx="6784">
                  <c:v>3.3567998000000001</c:v>
                </c:pt>
                <c:pt idx="6785">
                  <c:v>3.3569998999999999</c:v>
                </c:pt>
                <c:pt idx="6786">
                  <c:v>3.3571996999999998</c:v>
                </c:pt>
                <c:pt idx="6787">
                  <c:v>3.3573998999999999</c:v>
                </c:pt>
                <c:pt idx="6788">
                  <c:v>3.3576000000000001</c:v>
                </c:pt>
                <c:pt idx="6789">
                  <c:v>3.3577998</c:v>
                </c:pt>
                <c:pt idx="6790">
                  <c:v>3.3580000000000001</c:v>
                </c:pt>
                <c:pt idx="6791">
                  <c:v>3.3582000999999999</c:v>
                </c:pt>
                <c:pt idx="6792">
                  <c:v>3.3583999000000002</c:v>
                </c:pt>
                <c:pt idx="6793">
                  <c:v>3.3585999000000002</c:v>
                </c:pt>
                <c:pt idx="6794">
                  <c:v>3.3587997000000001</c:v>
                </c:pt>
                <c:pt idx="6795">
                  <c:v>3.359</c:v>
                </c:pt>
                <c:pt idx="6796">
                  <c:v>3.3592</c:v>
                </c:pt>
                <c:pt idx="6797">
                  <c:v>3.3593997999999998</c:v>
                </c:pt>
                <c:pt idx="6798">
                  <c:v>3.3596001000000002</c:v>
                </c:pt>
                <c:pt idx="6799">
                  <c:v>3.3597999000000001</c:v>
                </c:pt>
                <c:pt idx="6800">
                  <c:v>3.3599999</c:v>
                </c:pt>
                <c:pt idx="6801">
                  <c:v>3.3601999</c:v>
                </c:pt>
                <c:pt idx="6802">
                  <c:v>3.3603996999999999</c:v>
                </c:pt>
                <c:pt idx="6803">
                  <c:v>3.3605999999999998</c:v>
                </c:pt>
                <c:pt idx="6804">
                  <c:v>3.3607998000000001</c:v>
                </c:pt>
                <c:pt idx="6805">
                  <c:v>3.3609998000000001</c:v>
                </c:pt>
                <c:pt idx="6806">
                  <c:v>3.3612001</c:v>
                </c:pt>
                <c:pt idx="6807">
                  <c:v>3.3613998999999999</c:v>
                </c:pt>
                <c:pt idx="6808">
                  <c:v>3.3615998999999999</c:v>
                </c:pt>
                <c:pt idx="6809">
                  <c:v>3.3618000000000001</c:v>
                </c:pt>
                <c:pt idx="6810">
                  <c:v>3.3619998</c:v>
                </c:pt>
                <c:pt idx="6811">
                  <c:v>3.3622000000000001</c:v>
                </c:pt>
                <c:pt idx="6812">
                  <c:v>3.3623997999999999</c:v>
                </c:pt>
                <c:pt idx="6813">
                  <c:v>3.3625997999999999</c:v>
                </c:pt>
                <c:pt idx="6814">
                  <c:v>3.3628000999999998</c:v>
                </c:pt>
                <c:pt idx="6815">
                  <c:v>3.3629999000000002</c:v>
                </c:pt>
                <c:pt idx="6816">
                  <c:v>3.3631999000000001</c:v>
                </c:pt>
                <c:pt idx="6817">
                  <c:v>3.3633997</c:v>
                </c:pt>
                <c:pt idx="6818">
                  <c:v>3.3635997999999998</c:v>
                </c:pt>
                <c:pt idx="6819">
                  <c:v>3.3637999999999999</c:v>
                </c:pt>
                <c:pt idx="6820">
                  <c:v>3.3639998000000002</c:v>
                </c:pt>
                <c:pt idx="6821">
                  <c:v>3.3641999</c:v>
                </c:pt>
                <c:pt idx="6822">
                  <c:v>3.3644001000000001</c:v>
                </c:pt>
                <c:pt idx="6823">
                  <c:v>3.3645999</c:v>
                </c:pt>
                <c:pt idx="6824">
                  <c:v>3.3647999999999998</c:v>
                </c:pt>
                <c:pt idx="6825">
                  <c:v>3.3649998000000001</c:v>
                </c:pt>
                <c:pt idx="6826">
                  <c:v>3.3651998000000001</c:v>
                </c:pt>
                <c:pt idx="6827">
                  <c:v>3.3654001</c:v>
                </c:pt>
                <c:pt idx="6828">
                  <c:v>3.3655998999999999</c:v>
                </c:pt>
                <c:pt idx="6829">
                  <c:v>3.3657998999999998</c:v>
                </c:pt>
                <c:pt idx="6830">
                  <c:v>3.3659998999999998</c:v>
                </c:pt>
                <c:pt idx="6831">
                  <c:v>3.3662000000000001</c:v>
                </c:pt>
                <c:pt idx="6832">
                  <c:v>3.3664000000000001</c:v>
                </c:pt>
                <c:pt idx="6833">
                  <c:v>3.3665997999999999</c:v>
                </c:pt>
                <c:pt idx="6834">
                  <c:v>3.3667997999999999</c:v>
                </c:pt>
                <c:pt idx="6835">
                  <c:v>3.3669999000000002</c:v>
                </c:pt>
                <c:pt idx="6836">
                  <c:v>3.3671999000000001</c:v>
                </c:pt>
                <c:pt idx="6837">
                  <c:v>3.3673999000000001</c:v>
                </c:pt>
                <c:pt idx="6838">
                  <c:v>3.3675999999999999</c:v>
                </c:pt>
                <c:pt idx="6839">
                  <c:v>3.3677999999999999</c:v>
                </c:pt>
                <c:pt idx="6840">
                  <c:v>3.3679998000000002</c:v>
                </c:pt>
                <c:pt idx="6841">
                  <c:v>3.3681998000000002</c:v>
                </c:pt>
                <c:pt idx="6842">
                  <c:v>3.3683999</c:v>
                </c:pt>
                <c:pt idx="6843">
                  <c:v>3.3685999</c:v>
                </c:pt>
                <c:pt idx="6844">
                  <c:v>3.3687999</c:v>
                </c:pt>
                <c:pt idx="6845">
                  <c:v>3.3690000000000002</c:v>
                </c:pt>
                <c:pt idx="6846">
                  <c:v>3.3692000000000002</c:v>
                </c:pt>
                <c:pt idx="6847">
                  <c:v>3.3694000000000002</c:v>
                </c:pt>
                <c:pt idx="6848">
                  <c:v>3.3695998</c:v>
                </c:pt>
                <c:pt idx="6849">
                  <c:v>3.3697998999999998</c:v>
                </c:pt>
                <c:pt idx="6850">
                  <c:v>3.3699998999999998</c:v>
                </c:pt>
                <c:pt idx="6851">
                  <c:v>3.3701998999999998</c:v>
                </c:pt>
                <c:pt idx="6852">
                  <c:v>3.3704000000000001</c:v>
                </c:pt>
                <c:pt idx="6853">
                  <c:v>3.3705997000000001</c:v>
                </c:pt>
                <c:pt idx="6854">
                  <c:v>3.3708</c:v>
                </c:pt>
                <c:pt idx="6855">
                  <c:v>3.3710000999999998</c:v>
                </c:pt>
                <c:pt idx="6856">
                  <c:v>3.3711997999999999</c:v>
                </c:pt>
                <c:pt idx="6857">
                  <c:v>3.3713999000000001</c:v>
                </c:pt>
                <c:pt idx="6858">
                  <c:v>3.3715997</c:v>
                </c:pt>
                <c:pt idx="6859">
                  <c:v>3.3717999000000001</c:v>
                </c:pt>
                <c:pt idx="6860">
                  <c:v>3.3719999999999999</c:v>
                </c:pt>
                <c:pt idx="6861">
                  <c:v>3.3721998000000002</c:v>
                </c:pt>
                <c:pt idx="6862">
                  <c:v>3.3723999999999998</c:v>
                </c:pt>
                <c:pt idx="6863">
                  <c:v>3.3726001000000001</c:v>
                </c:pt>
                <c:pt idx="6864">
                  <c:v>3.3727999</c:v>
                </c:pt>
                <c:pt idx="6865">
                  <c:v>3.3729998999999999</c:v>
                </c:pt>
                <c:pt idx="6866">
                  <c:v>3.3731996999999998</c:v>
                </c:pt>
                <c:pt idx="6867">
                  <c:v>3.3734000000000002</c:v>
                </c:pt>
                <c:pt idx="6868">
                  <c:v>3.3736000000000002</c:v>
                </c:pt>
                <c:pt idx="6869">
                  <c:v>3.3737998</c:v>
                </c:pt>
                <c:pt idx="6870">
                  <c:v>3.3740000999999999</c:v>
                </c:pt>
                <c:pt idx="6871">
                  <c:v>3.3741998999999998</c:v>
                </c:pt>
                <c:pt idx="6872">
                  <c:v>3.3743998999999998</c:v>
                </c:pt>
                <c:pt idx="6873">
                  <c:v>3.3745999000000002</c:v>
                </c:pt>
                <c:pt idx="6874">
                  <c:v>3.3747997000000001</c:v>
                </c:pt>
                <c:pt idx="6875">
                  <c:v>3.375</c:v>
                </c:pt>
                <c:pt idx="6876">
                  <c:v>3.3751997999999999</c:v>
                </c:pt>
                <c:pt idx="6877">
                  <c:v>3.3753997999999998</c:v>
                </c:pt>
                <c:pt idx="6878">
                  <c:v>3.3756001000000002</c:v>
                </c:pt>
                <c:pt idx="6879">
                  <c:v>3.3757999000000001</c:v>
                </c:pt>
                <c:pt idx="6880">
                  <c:v>3.3759999000000001</c:v>
                </c:pt>
                <c:pt idx="6881">
                  <c:v>3.3761996999999999</c:v>
                </c:pt>
                <c:pt idx="6882">
                  <c:v>3.3763998000000002</c:v>
                </c:pt>
                <c:pt idx="6883">
                  <c:v>3.3765999999999998</c:v>
                </c:pt>
                <c:pt idx="6884">
                  <c:v>3.3767998000000001</c:v>
                </c:pt>
                <c:pt idx="6885">
                  <c:v>3.3769998999999999</c:v>
                </c:pt>
                <c:pt idx="6886">
                  <c:v>3.3772001</c:v>
                </c:pt>
                <c:pt idx="6887">
                  <c:v>3.3773998999999999</c:v>
                </c:pt>
                <c:pt idx="6888">
                  <c:v>3.3776000000000002</c:v>
                </c:pt>
                <c:pt idx="6889">
                  <c:v>3.3777997000000002</c:v>
                </c:pt>
                <c:pt idx="6890">
                  <c:v>3.3779998</c:v>
                </c:pt>
                <c:pt idx="6891">
                  <c:v>3.3782000999999999</c:v>
                </c:pt>
                <c:pt idx="6892">
                  <c:v>3.3783998</c:v>
                </c:pt>
                <c:pt idx="6893">
                  <c:v>3.3785999000000002</c:v>
                </c:pt>
                <c:pt idx="6894">
                  <c:v>3.3787999000000002</c:v>
                </c:pt>
                <c:pt idx="6895">
                  <c:v>3.3789999000000002</c:v>
                </c:pt>
                <c:pt idx="6896">
                  <c:v>3.3792</c:v>
                </c:pt>
                <c:pt idx="6897">
                  <c:v>3.3793997999999998</c:v>
                </c:pt>
                <c:pt idx="6898">
                  <c:v>3.3795997999999998</c:v>
                </c:pt>
                <c:pt idx="6899">
                  <c:v>3.3798001000000002</c:v>
                </c:pt>
                <c:pt idx="6900">
                  <c:v>3.3799999000000001</c:v>
                </c:pt>
                <c:pt idx="6901">
                  <c:v>3.3801999</c:v>
                </c:pt>
                <c:pt idx="6902">
                  <c:v>3.3803999</c:v>
                </c:pt>
                <c:pt idx="6903">
                  <c:v>3.3805999999999998</c:v>
                </c:pt>
                <c:pt idx="6904">
                  <c:v>3.3807999999999998</c:v>
                </c:pt>
                <c:pt idx="6905">
                  <c:v>3.3809998000000001</c:v>
                </c:pt>
                <c:pt idx="6906">
                  <c:v>3.3811998000000001</c:v>
                </c:pt>
                <c:pt idx="6907">
                  <c:v>3.3813998999999999</c:v>
                </c:pt>
                <c:pt idx="6908">
                  <c:v>3.3815998999999999</c:v>
                </c:pt>
                <c:pt idx="6909">
                  <c:v>3.3817998999999999</c:v>
                </c:pt>
                <c:pt idx="6910">
                  <c:v>3.3820000000000001</c:v>
                </c:pt>
                <c:pt idx="6911">
                  <c:v>3.3822000000000001</c:v>
                </c:pt>
                <c:pt idx="6912">
                  <c:v>3.3823998</c:v>
                </c:pt>
                <c:pt idx="6913">
                  <c:v>3.3825997999999999</c:v>
                </c:pt>
                <c:pt idx="6914">
                  <c:v>3.3827999000000002</c:v>
                </c:pt>
                <c:pt idx="6915">
                  <c:v>3.3829999000000002</c:v>
                </c:pt>
                <c:pt idx="6916">
                  <c:v>3.3831999000000001</c:v>
                </c:pt>
                <c:pt idx="6917">
                  <c:v>3.3833997</c:v>
                </c:pt>
                <c:pt idx="6918">
                  <c:v>3.3835999999999999</c:v>
                </c:pt>
                <c:pt idx="6919">
                  <c:v>3.3837999999999999</c:v>
                </c:pt>
                <c:pt idx="6920">
                  <c:v>3.3839997999999998</c:v>
                </c:pt>
                <c:pt idx="6921">
                  <c:v>3.3841999</c:v>
                </c:pt>
                <c:pt idx="6922">
                  <c:v>3.3843999</c:v>
                </c:pt>
                <c:pt idx="6923">
                  <c:v>3.3845999</c:v>
                </c:pt>
                <c:pt idx="6924">
                  <c:v>3.3847999999999998</c:v>
                </c:pt>
                <c:pt idx="6925">
                  <c:v>3.3849998000000001</c:v>
                </c:pt>
                <c:pt idx="6926">
                  <c:v>3.3852000000000002</c:v>
                </c:pt>
                <c:pt idx="6927">
                  <c:v>3.3854001</c:v>
                </c:pt>
                <c:pt idx="6928">
                  <c:v>3.3855998999999999</c:v>
                </c:pt>
                <c:pt idx="6929">
                  <c:v>3.3857998999999999</c:v>
                </c:pt>
                <c:pt idx="6930">
                  <c:v>3.3859997000000002</c:v>
                </c:pt>
                <c:pt idx="6931">
                  <c:v>3.3862000000000001</c:v>
                </c:pt>
                <c:pt idx="6932">
                  <c:v>3.3864000000000001</c:v>
                </c:pt>
                <c:pt idx="6933">
                  <c:v>3.3865997999999999</c:v>
                </c:pt>
                <c:pt idx="6934">
                  <c:v>3.3868000999999999</c:v>
                </c:pt>
                <c:pt idx="6935">
                  <c:v>3.3870000999999998</c:v>
                </c:pt>
                <c:pt idx="6936">
                  <c:v>3.3871999000000002</c:v>
                </c:pt>
                <c:pt idx="6937">
                  <c:v>3.3873999000000001</c:v>
                </c:pt>
                <c:pt idx="6938">
                  <c:v>3.3875997</c:v>
                </c:pt>
                <c:pt idx="6939">
                  <c:v>3.3877999999999999</c:v>
                </c:pt>
                <c:pt idx="6940">
                  <c:v>3.3879999999999999</c:v>
                </c:pt>
                <c:pt idx="6941">
                  <c:v>3.3881998000000002</c:v>
                </c:pt>
                <c:pt idx="6942">
                  <c:v>3.3884001000000001</c:v>
                </c:pt>
                <c:pt idx="6943">
                  <c:v>3.3885999</c:v>
                </c:pt>
                <c:pt idx="6944">
                  <c:v>3.3887999</c:v>
                </c:pt>
                <c:pt idx="6945">
                  <c:v>3.3889999</c:v>
                </c:pt>
                <c:pt idx="6946">
                  <c:v>3.3891996999999998</c:v>
                </c:pt>
                <c:pt idx="6947">
                  <c:v>3.3894000000000002</c:v>
                </c:pt>
                <c:pt idx="6948">
                  <c:v>3.3895998000000001</c:v>
                </c:pt>
                <c:pt idx="6949">
                  <c:v>3.3897998</c:v>
                </c:pt>
                <c:pt idx="6950">
                  <c:v>3.3900001</c:v>
                </c:pt>
                <c:pt idx="6951">
                  <c:v>3.3901998999999998</c:v>
                </c:pt>
                <c:pt idx="6952">
                  <c:v>3.3903998999999998</c:v>
                </c:pt>
                <c:pt idx="6953">
                  <c:v>3.3905997000000001</c:v>
                </c:pt>
                <c:pt idx="6954">
                  <c:v>3.3907997999999999</c:v>
                </c:pt>
                <c:pt idx="6955">
                  <c:v>3.391</c:v>
                </c:pt>
                <c:pt idx="6956">
                  <c:v>3.3911997999999999</c:v>
                </c:pt>
                <c:pt idx="6957">
                  <c:v>3.3913999000000001</c:v>
                </c:pt>
                <c:pt idx="6958">
                  <c:v>3.3916000999999998</c:v>
                </c:pt>
                <c:pt idx="6959">
                  <c:v>3.3917999000000001</c:v>
                </c:pt>
                <c:pt idx="6960">
                  <c:v>3.3919999999999999</c:v>
                </c:pt>
                <c:pt idx="6961">
                  <c:v>3.3921998000000002</c:v>
                </c:pt>
                <c:pt idx="6962">
                  <c:v>3.3923998000000002</c:v>
                </c:pt>
                <c:pt idx="6963">
                  <c:v>3.3926001000000001</c:v>
                </c:pt>
                <c:pt idx="6964">
                  <c:v>3.3927999</c:v>
                </c:pt>
                <c:pt idx="6965">
                  <c:v>3.3929999</c:v>
                </c:pt>
                <c:pt idx="6966">
                  <c:v>3.3931998999999999</c:v>
                </c:pt>
                <c:pt idx="6967">
                  <c:v>3.3934000000000002</c:v>
                </c:pt>
                <c:pt idx="6968">
                  <c:v>3.3936000000000002</c:v>
                </c:pt>
                <c:pt idx="6969">
                  <c:v>3.3937998</c:v>
                </c:pt>
                <c:pt idx="6970">
                  <c:v>3.3939998</c:v>
                </c:pt>
                <c:pt idx="6971">
                  <c:v>3.3942000999999999</c:v>
                </c:pt>
                <c:pt idx="6972">
                  <c:v>3.3943998999999998</c:v>
                </c:pt>
                <c:pt idx="6973">
                  <c:v>3.3945998999999998</c:v>
                </c:pt>
                <c:pt idx="6974">
                  <c:v>3.3947999000000002</c:v>
                </c:pt>
                <c:pt idx="6975">
                  <c:v>3.395</c:v>
                </c:pt>
                <c:pt idx="6976">
                  <c:v>3.3952</c:v>
                </c:pt>
                <c:pt idx="6977">
                  <c:v>3.3953997999999999</c:v>
                </c:pt>
                <c:pt idx="6978">
                  <c:v>3.3955997999999998</c:v>
                </c:pt>
                <c:pt idx="6979">
                  <c:v>3.3957999000000001</c:v>
                </c:pt>
                <c:pt idx="6980">
                  <c:v>3.3959999000000001</c:v>
                </c:pt>
                <c:pt idx="6981">
                  <c:v>3.3961999</c:v>
                </c:pt>
                <c:pt idx="6982">
                  <c:v>3.3963999999999999</c:v>
                </c:pt>
                <c:pt idx="6983">
                  <c:v>3.3965999999999998</c:v>
                </c:pt>
                <c:pt idx="6984">
                  <c:v>3.3967998000000001</c:v>
                </c:pt>
                <c:pt idx="6985">
                  <c:v>3.3969998000000001</c:v>
                </c:pt>
                <c:pt idx="6986">
                  <c:v>3.3971998999999999</c:v>
                </c:pt>
                <c:pt idx="6987">
                  <c:v>3.3973998999999999</c:v>
                </c:pt>
                <c:pt idx="6988">
                  <c:v>3.3975998999999999</c:v>
                </c:pt>
                <c:pt idx="6989">
                  <c:v>3.3977997000000002</c:v>
                </c:pt>
                <c:pt idx="6990">
                  <c:v>3.3980000000000001</c:v>
                </c:pt>
                <c:pt idx="6991">
                  <c:v>3.3982000000000001</c:v>
                </c:pt>
                <c:pt idx="6992">
                  <c:v>3.3983998</c:v>
                </c:pt>
                <c:pt idx="6993">
                  <c:v>3.3985998999999998</c:v>
                </c:pt>
                <c:pt idx="6994">
                  <c:v>3.3987997000000001</c:v>
                </c:pt>
                <c:pt idx="6995">
                  <c:v>3.3989999000000002</c:v>
                </c:pt>
                <c:pt idx="6996">
                  <c:v>3.3992</c:v>
                </c:pt>
                <c:pt idx="6997">
                  <c:v>3.3993997999999999</c:v>
                </c:pt>
                <c:pt idx="6998">
                  <c:v>3.3996</c:v>
                </c:pt>
                <c:pt idx="6999">
                  <c:v>3.3998001000000002</c:v>
                </c:pt>
                <c:pt idx="7000">
                  <c:v>3.3999999000000001</c:v>
                </c:pt>
                <c:pt idx="7001">
                  <c:v>3.4001999000000001</c:v>
                </c:pt>
                <c:pt idx="7002">
                  <c:v>3.4003996999999999</c:v>
                </c:pt>
                <c:pt idx="7003">
                  <c:v>3.4005999999999998</c:v>
                </c:pt>
                <c:pt idx="7004">
                  <c:v>3.4007999999999998</c:v>
                </c:pt>
                <c:pt idx="7005">
                  <c:v>3.4009998000000001</c:v>
                </c:pt>
                <c:pt idx="7006">
                  <c:v>3.4012001000000001</c:v>
                </c:pt>
                <c:pt idx="7007">
                  <c:v>3.4013998999999999</c:v>
                </c:pt>
                <c:pt idx="7008">
                  <c:v>3.4015998999999999</c:v>
                </c:pt>
                <c:pt idx="7009">
                  <c:v>3.4017998999999999</c:v>
                </c:pt>
                <c:pt idx="7010">
                  <c:v>3.4019997000000002</c:v>
                </c:pt>
                <c:pt idx="7011">
                  <c:v>3.4022000000000001</c:v>
                </c:pt>
                <c:pt idx="7012">
                  <c:v>3.4024000000000001</c:v>
                </c:pt>
                <c:pt idx="7013">
                  <c:v>3.4025998</c:v>
                </c:pt>
                <c:pt idx="7014">
                  <c:v>3.4028000999999999</c:v>
                </c:pt>
                <c:pt idx="7015">
                  <c:v>3.4029999000000002</c:v>
                </c:pt>
                <c:pt idx="7016">
                  <c:v>3.4031999000000002</c:v>
                </c:pt>
                <c:pt idx="7017">
                  <c:v>3.4033999000000001</c:v>
                </c:pt>
                <c:pt idx="7018">
                  <c:v>3.4035997</c:v>
                </c:pt>
                <c:pt idx="7019">
                  <c:v>3.4037999999999999</c:v>
                </c:pt>
                <c:pt idx="7020">
                  <c:v>3.4039997999999998</c:v>
                </c:pt>
                <c:pt idx="7021">
                  <c:v>3.4041998000000002</c:v>
                </c:pt>
                <c:pt idx="7022">
                  <c:v>3.4044001000000002</c:v>
                </c:pt>
                <c:pt idx="7023">
                  <c:v>3.4045999</c:v>
                </c:pt>
                <c:pt idx="7024">
                  <c:v>3.4047999</c:v>
                </c:pt>
                <c:pt idx="7025">
                  <c:v>3.4049996999999999</c:v>
                </c:pt>
                <c:pt idx="7026">
                  <c:v>3.4051998000000001</c:v>
                </c:pt>
                <c:pt idx="7027">
                  <c:v>3.4054000000000002</c:v>
                </c:pt>
                <c:pt idx="7028">
                  <c:v>3.4055998000000001</c:v>
                </c:pt>
                <c:pt idx="7029">
                  <c:v>3.4057998999999999</c:v>
                </c:pt>
                <c:pt idx="7030">
                  <c:v>3.4060001</c:v>
                </c:pt>
                <c:pt idx="7031">
                  <c:v>3.4061998999999998</c:v>
                </c:pt>
                <c:pt idx="7032">
                  <c:v>3.4064000000000001</c:v>
                </c:pt>
                <c:pt idx="7033">
                  <c:v>3.4065998</c:v>
                </c:pt>
                <c:pt idx="7034">
                  <c:v>3.4067997999999999</c:v>
                </c:pt>
                <c:pt idx="7035">
                  <c:v>3.4070000999999999</c:v>
                </c:pt>
                <c:pt idx="7036">
                  <c:v>3.4071999000000002</c:v>
                </c:pt>
                <c:pt idx="7037">
                  <c:v>3.4073999000000001</c:v>
                </c:pt>
                <c:pt idx="7038">
                  <c:v>3.4075999000000001</c:v>
                </c:pt>
                <c:pt idx="7039">
                  <c:v>3.4077999999999999</c:v>
                </c:pt>
                <c:pt idx="7040">
                  <c:v>3.4079999999999999</c:v>
                </c:pt>
                <c:pt idx="7041">
                  <c:v>3.4081997999999998</c:v>
                </c:pt>
                <c:pt idx="7042">
                  <c:v>3.4083998000000002</c:v>
                </c:pt>
                <c:pt idx="7043">
                  <c:v>3.4085999</c:v>
                </c:pt>
                <c:pt idx="7044">
                  <c:v>3.4087999</c:v>
                </c:pt>
                <c:pt idx="7045">
                  <c:v>3.4089999</c:v>
                </c:pt>
                <c:pt idx="7046">
                  <c:v>3.4091999999999998</c:v>
                </c:pt>
                <c:pt idx="7047">
                  <c:v>3.4094000000000002</c:v>
                </c:pt>
                <c:pt idx="7048">
                  <c:v>3.4096000000000002</c:v>
                </c:pt>
                <c:pt idx="7049">
                  <c:v>3.4097998</c:v>
                </c:pt>
                <c:pt idx="7050">
                  <c:v>3.4099998</c:v>
                </c:pt>
                <c:pt idx="7051">
                  <c:v>3.4101998999999998</c:v>
                </c:pt>
                <c:pt idx="7052">
                  <c:v>3.4103998999999998</c:v>
                </c:pt>
                <c:pt idx="7053">
                  <c:v>3.4105998999999998</c:v>
                </c:pt>
                <c:pt idx="7054">
                  <c:v>3.4108000000000001</c:v>
                </c:pt>
                <c:pt idx="7055">
                  <c:v>3.411</c:v>
                </c:pt>
                <c:pt idx="7056">
                  <c:v>3.4111997999999999</c:v>
                </c:pt>
                <c:pt idx="7057">
                  <c:v>3.4113997999999999</c:v>
                </c:pt>
                <c:pt idx="7058">
                  <c:v>3.4115999000000001</c:v>
                </c:pt>
                <c:pt idx="7059">
                  <c:v>3.4117999000000001</c:v>
                </c:pt>
                <c:pt idx="7060">
                  <c:v>3.4119999000000001</c:v>
                </c:pt>
                <c:pt idx="7061">
                  <c:v>3.4121996999999999</c:v>
                </c:pt>
                <c:pt idx="7062">
                  <c:v>3.4123999999999999</c:v>
                </c:pt>
                <c:pt idx="7063">
                  <c:v>3.4125999999999999</c:v>
                </c:pt>
                <c:pt idx="7064">
                  <c:v>3.4127998000000002</c:v>
                </c:pt>
                <c:pt idx="7065">
                  <c:v>3.4129999</c:v>
                </c:pt>
                <c:pt idx="7066">
                  <c:v>3.4131996999999998</c:v>
                </c:pt>
                <c:pt idx="7067">
                  <c:v>3.4133998999999999</c:v>
                </c:pt>
                <c:pt idx="7068">
                  <c:v>3.4136000000000002</c:v>
                </c:pt>
                <c:pt idx="7069">
                  <c:v>3.4137998000000001</c:v>
                </c:pt>
                <c:pt idx="7070">
                  <c:v>3.4140000000000001</c:v>
                </c:pt>
                <c:pt idx="7071">
                  <c:v>3.4142001</c:v>
                </c:pt>
                <c:pt idx="7072">
                  <c:v>3.4143998999999998</c:v>
                </c:pt>
                <c:pt idx="7073">
                  <c:v>3.4145998999999998</c:v>
                </c:pt>
                <c:pt idx="7074">
                  <c:v>3.4147997000000001</c:v>
                </c:pt>
                <c:pt idx="7075">
                  <c:v>3.415</c:v>
                </c:pt>
                <c:pt idx="7076">
                  <c:v>3.4152</c:v>
                </c:pt>
                <c:pt idx="7077">
                  <c:v>3.4153997999999999</c:v>
                </c:pt>
                <c:pt idx="7078">
                  <c:v>3.4156000999999998</c:v>
                </c:pt>
                <c:pt idx="7079">
                  <c:v>3.4157999000000001</c:v>
                </c:pt>
                <c:pt idx="7080">
                  <c:v>3.4159999000000001</c:v>
                </c:pt>
                <c:pt idx="7081">
                  <c:v>3.4161999000000001</c:v>
                </c:pt>
                <c:pt idx="7082">
                  <c:v>3.4163996999999999</c:v>
                </c:pt>
                <c:pt idx="7083">
                  <c:v>3.4165999999999999</c:v>
                </c:pt>
                <c:pt idx="7084">
                  <c:v>3.4167999999999998</c:v>
                </c:pt>
                <c:pt idx="7085">
                  <c:v>3.4169998000000001</c:v>
                </c:pt>
                <c:pt idx="7086">
                  <c:v>3.4172001000000001</c:v>
                </c:pt>
                <c:pt idx="7087">
                  <c:v>3.4173998999999999</c:v>
                </c:pt>
                <c:pt idx="7088">
                  <c:v>3.4175998999999999</c:v>
                </c:pt>
                <c:pt idx="7089">
                  <c:v>3.4177998999999999</c:v>
                </c:pt>
                <c:pt idx="7090">
                  <c:v>3.4179997000000002</c:v>
                </c:pt>
                <c:pt idx="7091">
                  <c:v>3.4182000000000001</c:v>
                </c:pt>
                <c:pt idx="7092">
                  <c:v>3.4183998</c:v>
                </c:pt>
                <c:pt idx="7093">
                  <c:v>3.4185998</c:v>
                </c:pt>
                <c:pt idx="7094">
                  <c:v>3.4188000999999999</c:v>
                </c:pt>
                <c:pt idx="7095">
                  <c:v>3.4189999000000002</c:v>
                </c:pt>
                <c:pt idx="7096">
                  <c:v>3.4191999000000002</c:v>
                </c:pt>
                <c:pt idx="7097">
                  <c:v>3.4193997</c:v>
                </c:pt>
                <c:pt idx="7098">
                  <c:v>3.4195997999999999</c:v>
                </c:pt>
                <c:pt idx="7099">
                  <c:v>3.4198</c:v>
                </c:pt>
                <c:pt idx="7100">
                  <c:v>3.4199997999999998</c:v>
                </c:pt>
                <c:pt idx="7101">
                  <c:v>3.4201999000000001</c:v>
                </c:pt>
                <c:pt idx="7102">
                  <c:v>3.4204001000000002</c:v>
                </c:pt>
                <c:pt idx="7103">
                  <c:v>3.4205999</c:v>
                </c:pt>
                <c:pt idx="7104">
                  <c:v>3.4207999999999998</c:v>
                </c:pt>
                <c:pt idx="7105">
                  <c:v>3.4209998000000001</c:v>
                </c:pt>
                <c:pt idx="7106">
                  <c:v>3.4211998000000001</c:v>
                </c:pt>
                <c:pt idx="7107">
                  <c:v>3.4214001000000001</c:v>
                </c:pt>
                <c:pt idx="7108">
                  <c:v>3.4215998999999999</c:v>
                </c:pt>
                <c:pt idx="7109">
                  <c:v>3.4217998999999999</c:v>
                </c:pt>
                <c:pt idx="7110">
                  <c:v>3.4219998999999999</c:v>
                </c:pt>
                <c:pt idx="7111">
                  <c:v>3.4222000000000001</c:v>
                </c:pt>
                <c:pt idx="7112">
                  <c:v>3.4224000000000001</c:v>
                </c:pt>
                <c:pt idx="7113">
                  <c:v>3.4225998</c:v>
                </c:pt>
                <c:pt idx="7114">
                  <c:v>3.4227997999999999</c:v>
                </c:pt>
                <c:pt idx="7115">
                  <c:v>3.4229999000000002</c:v>
                </c:pt>
                <c:pt idx="7116">
                  <c:v>3.4231999000000002</c:v>
                </c:pt>
                <c:pt idx="7117">
                  <c:v>3.4233999000000002</c:v>
                </c:pt>
                <c:pt idx="7118">
                  <c:v>3.4236</c:v>
                </c:pt>
                <c:pt idx="7119">
                  <c:v>3.4238</c:v>
                </c:pt>
                <c:pt idx="7120">
                  <c:v>3.4239997999999998</c:v>
                </c:pt>
                <c:pt idx="7121">
                  <c:v>3.4241997999999998</c:v>
                </c:pt>
                <c:pt idx="7122">
                  <c:v>3.4243999000000001</c:v>
                </c:pt>
                <c:pt idx="7123">
                  <c:v>3.4245999</c:v>
                </c:pt>
                <c:pt idx="7124">
                  <c:v>3.4247999</c:v>
                </c:pt>
                <c:pt idx="7125">
                  <c:v>3.4249999999999998</c:v>
                </c:pt>
                <c:pt idx="7126">
                  <c:v>3.4251999999999998</c:v>
                </c:pt>
                <c:pt idx="7127">
                  <c:v>3.4253999999999998</c:v>
                </c:pt>
                <c:pt idx="7128">
                  <c:v>3.4255998000000001</c:v>
                </c:pt>
                <c:pt idx="7129">
                  <c:v>3.4257998000000001</c:v>
                </c:pt>
                <c:pt idx="7130">
                  <c:v>3.4259998999999999</c:v>
                </c:pt>
                <c:pt idx="7131">
                  <c:v>3.4261998999999999</c:v>
                </c:pt>
                <c:pt idx="7132">
                  <c:v>3.4263998999999998</c:v>
                </c:pt>
                <c:pt idx="7133">
                  <c:v>3.4265997000000001</c:v>
                </c:pt>
                <c:pt idx="7134">
                  <c:v>3.4268000000000001</c:v>
                </c:pt>
                <c:pt idx="7135">
                  <c:v>3.427</c:v>
                </c:pt>
                <c:pt idx="7136">
                  <c:v>3.4271997999999999</c:v>
                </c:pt>
                <c:pt idx="7137">
                  <c:v>3.4273999000000002</c:v>
                </c:pt>
                <c:pt idx="7138">
                  <c:v>3.4275997</c:v>
                </c:pt>
                <c:pt idx="7139">
                  <c:v>3.4277999000000001</c:v>
                </c:pt>
                <c:pt idx="7140">
                  <c:v>3.4279999999999999</c:v>
                </c:pt>
                <c:pt idx="7141">
                  <c:v>3.4281997999999998</c:v>
                </c:pt>
                <c:pt idx="7142">
                  <c:v>3.4283999999999999</c:v>
                </c:pt>
                <c:pt idx="7143">
                  <c:v>3.4286001000000002</c:v>
                </c:pt>
                <c:pt idx="7144">
                  <c:v>3.4287999</c:v>
                </c:pt>
                <c:pt idx="7145">
                  <c:v>3.4289999</c:v>
                </c:pt>
                <c:pt idx="7146">
                  <c:v>3.4291996999999999</c:v>
                </c:pt>
                <c:pt idx="7147">
                  <c:v>3.4293999999999998</c:v>
                </c:pt>
                <c:pt idx="7148">
                  <c:v>3.4296000000000002</c:v>
                </c:pt>
                <c:pt idx="7149">
                  <c:v>3.4297998000000001</c:v>
                </c:pt>
                <c:pt idx="7150">
                  <c:v>3.4300001</c:v>
                </c:pt>
                <c:pt idx="7151">
                  <c:v>3.4301998999999999</c:v>
                </c:pt>
                <c:pt idx="7152">
                  <c:v>3.4303998999999998</c:v>
                </c:pt>
                <c:pt idx="7153">
                  <c:v>3.4305998999999998</c:v>
                </c:pt>
                <c:pt idx="7154">
                  <c:v>3.4307997000000001</c:v>
                </c:pt>
                <c:pt idx="7155">
                  <c:v>3.431</c:v>
                </c:pt>
                <c:pt idx="7156">
                  <c:v>3.4311997999999999</c:v>
                </c:pt>
                <c:pt idx="7157">
                  <c:v>3.4313997999999999</c:v>
                </c:pt>
                <c:pt idx="7158">
                  <c:v>3.4316000999999998</c:v>
                </c:pt>
                <c:pt idx="7159">
                  <c:v>3.4317999000000001</c:v>
                </c:pt>
                <c:pt idx="7160">
                  <c:v>3.4319999000000001</c:v>
                </c:pt>
                <c:pt idx="7161">
                  <c:v>3.4321999999999999</c:v>
                </c:pt>
                <c:pt idx="7162">
                  <c:v>3.4323996999999999</c:v>
                </c:pt>
                <c:pt idx="7163">
                  <c:v>3.4325999999999999</c:v>
                </c:pt>
                <c:pt idx="7164">
                  <c:v>3.4327998000000002</c:v>
                </c:pt>
                <c:pt idx="7165">
                  <c:v>3.4329998000000002</c:v>
                </c:pt>
                <c:pt idx="7166">
                  <c:v>3.4332001000000001</c:v>
                </c:pt>
                <c:pt idx="7167">
                  <c:v>3.4333998999999999</c:v>
                </c:pt>
                <c:pt idx="7168">
                  <c:v>3.4335998999999999</c:v>
                </c:pt>
                <c:pt idx="7169">
                  <c:v>3.4337996999999998</c:v>
                </c:pt>
                <c:pt idx="7170">
                  <c:v>3.4339998</c:v>
                </c:pt>
                <c:pt idx="7171">
                  <c:v>3.4342000000000001</c:v>
                </c:pt>
                <c:pt idx="7172">
                  <c:v>3.4343998</c:v>
                </c:pt>
                <c:pt idx="7173">
                  <c:v>3.4345998999999998</c:v>
                </c:pt>
                <c:pt idx="7174">
                  <c:v>3.4348000999999999</c:v>
                </c:pt>
                <c:pt idx="7175">
                  <c:v>3.4349999000000002</c:v>
                </c:pt>
                <c:pt idx="7176">
                  <c:v>3.4352</c:v>
                </c:pt>
                <c:pt idx="7177">
                  <c:v>3.4353997999999999</c:v>
                </c:pt>
                <c:pt idx="7178">
                  <c:v>3.4355997999999999</c:v>
                </c:pt>
                <c:pt idx="7179">
                  <c:v>3.4358000999999998</c:v>
                </c:pt>
                <c:pt idx="7180">
                  <c:v>3.4359999000000001</c:v>
                </c:pt>
                <c:pt idx="7181">
                  <c:v>3.4361999000000001</c:v>
                </c:pt>
                <c:pt idx="7182">
                  <c:v>3.4363999000000001</c:v>
                </c:pt>
                <c:pt idx="7183">
                  <c:v>3.4365999999999999</c:v>
                </c:pt>
                <c:pt idx="7184">
                  <c:v>3.4367999999999999</c:v>
                </c:pt>
                <c:pt idx="7185">
                  <c:v>3.4369998000000002</c:v>
                </c:pt>
                <c:pt idx="7186">
                  <c:v>3.4371998000000001</c:v>
                </c:pt>
                <c:pt idx="7187">
                  <c:v>3.4373999</c:v>
                </c:pt>
                <c:pt idx="7188">
                  <c:v>3.4375998999999999</c:v>
                </c:pt>
                <c:pt idx="7189">
                  <c:v>3.4377998999999999</c:v>
                </c:pt>
                <c:pt idx="7190">
                  <c:v>3.4380000000000002</c:v>
                </c:pt>
                <c:pt idx="7191">
                  <c:v>3.4382000000000001</c:v>
                </c:pt>
                <c:pt idx="7192">
                  <c:v>3.4383998</c:v>
                </c:pt>
                <c:pt idx="7193">
                  <c:v>3.4385998</c:v>
                </c:pt>
                <c:pt idx="7194">
                  <c:v>3.4387998999999998</c:v>
                </c:pt>
                <c:pt idx="7195">
                  <c:v>3.4389999000000002</c:v>
                </c:pt>
                <c:pt idx="7196">
                  <c:v>3.4391999000000002</c:v>
                </c:pt>
                <c:pt idx="7197">
                  <c:v>3.4394</c:v>
                </c:pt>
                <c:pt idx="7198">
                  <c:v>3.4396</c:v>
                </c:pt>
                <c:pt idx="7199">
                  <c:v>3.4398</c:v>
                </c:pt>
                <c:pt idx="7200">
                  <c:v>3.4399997999999998</c:v>
                </c:pt>
                <c:pt idx="7201">
                  <c:v>3.4401999000000001</c:v>
                </c:pt>
                <c:pt idx="7202">
                  <c:v>3.4403999000000001</c:v>
                </c:pt>
                <c:pt idx="7203">
                  <c:v>3.4405999</c:v>
                </c:pt>
                <c:pt idx="7204">
                  <c:v>3.4407999999999999</c:v>
                </c:pt>
                <c:pt idx="7205">
                  <c:v>3.4409996999999999</c:v>
                </c:pt>
                <c:pt idx="7206">
                  <c:v>3.4411999999999998</c:v>
                </c:pt>
                <c:pt idx="7207">
                  <c:v>3.4414001000000001</c:v>
                </c:pt>
                <c:pt idx="7208">
                  <c:v>3.4415998000000001</c:v>
                </c:pt>
                <c:pt idx="7209">
                  <c:v>3.4417998999999999</c:v>
                </c:pt>
                <c:pt idx="7210">
                  <c:v>3.4419997000000002</c:v>
                </c:pt>
                <c:pt idx="7211">
                  <c:v>3.4421998999999999</c:v>
                </c:pt>
                <c:pt idx="7212">
                  <c:v>3.4424000000000001</c:v>
                </c:pt>
                <c:pt idx="7213">
                  <c:v>3.4425998</c:v>
                </c:pt>
                <c:pt idx="7214">
                  <c:v>3.4428000000000001</c:v>
                </c:pt>
                <c:pt idx="7215">
                  <c:v>3.4430000999999999</c:v>
                </c:pt>
                <c:pt idx="7216">
                  <c:v>3.4431999000000002</c:v>
                </c:pt>
                <c:pt idx="7217">
                  <c:v>3.4433999000000002</c:v>
                </c:pt>
                <c:pt idx="7218">
                  <c:v>3.4435997</c:v>
                </c:pt>
                <c:pt idx="7219">
                  <c:v>3.4438</c:v>
                </c:pt>
                <c:pt idx="7220">
                  <c:v>3.444</c:v>
                </c:pt>
                <c:pt idx="7221">
                  <c:v>3.4441997999999998</c:v>
                </c:pt>
                <c:pt idx="7222">
                  <c:v>3.4444001000000002</c:v>
                </c:pt>
                <c:pt idx="7223">
                  <c:v>3.4445999</c:v>
                </c:pt>
                <c:pt idx="7224">
                  <c:v>3.4447999</c:v>
                </c:pt>
                <c:pt idx="7225">
                  <c:v>3.4449999</c:v>
                </c:pt>
                <c:pt idx="7226">
                  <c:v>3.4451996999999999</c:v>
                </c:pt>
                <c:pt idx="7227">
                  <c:v>3.4453999999999998</c:v>
                </c:pt>
                <c:pt idx="7228">
                  <c:v>3.4455998000000001</c:v>
                </c:pt>
                <c:pt idx="7229">
                  <c:v>3.4457998000000001</c:v>
                </c:pt>
                <c:pt idx="7230">
                  <c:v>3.4460001</c:v>
                </c:pt>
                <c:pt idx="7231">
                  <c:v>3.4461998999999999</c:v>
                </c:pt>
                <c:pt idx="7232">
                  <c:v>3.4463998999999998</c:v>
                </c:pt>
                <c:pt idx="7233">
                  <c:v>3.4465997000000002</c:v>
                </c:pt>
                <c:pt idx="7234">
                  <c:v>3.4467998</c:v>
                </c:pt>
                <c:pt idx="7235">
                  <c:v>3.4470000000000001</c:v>
                </c:pt>
                <c:pt idx="7236">
                  <c:v>3.4471997999999999</c:v>
                </c:pt>
                <c:pt idx="7237">
                  <c:v>3.4473999000000002</c:v>
                </c:pt>
                <c:pt idx="7238">
                  <c:v>3.4476000999999998</c:v>
                </c:pt>
                <c:pt idx="7239">
                  <c:v>3.4477999000000001</c:v>
                </c:pt>
                <c:pt idx="7240">
                  <c:v>3.448</c:v>
                </c:pt>
                <c:pt idx="7241">
                  <c:v>3.4481997</c:v>
                </c:pt>
                <c:pt idx="7242">
                  <c:v>3.4483997999999998</c:v>
                </c:pt>
                <c:pt idx="7243">
                  <c:v>3.4486001000000002</c:v>
                </c:pt>
                <c:pt idx="7244">
                  <c:v>3.4487998000000002</c:v>
                </c:pt>
                <c:pt idx="7245">
                  <c:v>3.4489999</c:v>
                </c:pt>
                <c:pt idx="7246">
                  <c:v>3.4491999</c:v>
                </c:pt>
                <c:pt idx="7247">
                  <c:v>3.4493999</c:v>
                </c:pt>
                <c:pt idx="7248">
                  <c:v>3.4496000000000002</c:v>
                </c:pt>
                <c:pt idx="7249">
                  <c:v>3.4497998000000001</c:v>
                </c:pt>
                <c:pt idx="7250">
                  <c:v>3.4499998000000001</c:v>
                </c:pt>
                <c:pt idx="7251">
                  <c:v>3.4502001</c:v>
                </c:pt>
                <c:pt idx="7252">
                  <c:v>3.4503998999999999</c:v>
                </c:pt>
                <c:pt idx="7253">
                  <c:v>3.4505998999999998</c:v>
                </c:pt>
                <c:pt idx="7254">
                  <c:v>3.4507998999999998</c:v>
                </c:pt>
                <c:pt idx="7255">
                  <c:v>3.4510000000000001</c:v>
                </c:pt>
                <c:pt idx="7256">
                  <c:v>3.4512</c:v>
                </c:pt>
                <c:pt idx="7257">
                  <c:v>3.4513997999999999</c:v>
                </c:pt>
                <c:pt idx="7258">
                  <c:v>3.4515997999999999</c:v>
                </c:pt>
                <c:pt idx="7259">
                  <c:v>3.4517999000000001</c:v>
                </c:pt>
                <c:pt idx="7260">
                  <c:v>3.4519999000000001</c:v>
                </c:pt>
                <c:pt idx="7261">
                  <c:v>3.4521999000000001</c:v>
                </c:pt>
                <c:pt idx="7262">
                  <c:v>3.4523999999999999</c:v>
                </c:pt>
                <c:pt idx="7263">
                  <c:v>3.4525999999999999</c:v>
                </c:pt>
                <c:pt idx="7264">
                  <c:v>3.4527998000000002</c:v>
                </c:pt>
                <c:pt idx="7265">
                  <c:v>3.4529998000000002</c:v>
                </c:pt>
                <c:pt idx="7266">
                  <c:v>3.4531999</c:v>
                </c:pt>
                <c:pt idx="7267">
                  <c:v>3.4533999</c:v>
                </c:pt>
                <c:pt idx="7268">
                  <c:v>3.4535998999999999</c:v>
                </c:pt>
                <c:pt idx="7269">
                  <c:v>3.4537996999999998</c:v>
                </c:pt>
                <c:pt idx="7270">
                  <c:v>3.4540000000000002</c:v>
                </c:pt>
                <c:pt idx="7271">
                  <c:v>3.4542000000000002</c:v>
                </c:pt>
                <c:pt idx="7272">
                  <c:v>3.4543998</c:v>
                </c:pt>
                <c:pt idx="7273">
                  <c:v>3.4545998999999998</c:v>
                </c:pt>
                <c:pt idx="7274">
                  <c:v>3.4547998999999998</c:v>
                </c:pt>
                <c:pt idx="7275">
                  <c:v>3.4549998999999998</c:v>
                </c:pt>
                <c:pt idx="7276">
                  <c:v>3.4552</c:v>
                </c:pt>
                <c:pt idx="7277">
                  <c:v>3.4553997999999999</c:v>
                </c:pt>
                <c:pt idx="7278">
                  <c:v>3.4556</c:v>
                </c:pt>
                <c:pt idx="7279">
                  <c:v>3.4558000999999998</c:v>
                </c:pt>
                <c:pt idx="7280">
                  <c:v>3.4559999000000001</c:v>
                </c:pt>
                <c:pt idx="7281">
                  <c:v>3.4561999000000001</c:v>
                </c:pt>
                <c:pt idx="7282">
                  <c:v>3.4563997</c:v>
                </c:pt>
                <c:pt idx="7283">
                  <c:v>3.4565999999999999</c:v>
                </c:pt>
                <c:pt idx="7284">
                  <c:v>3.4567999999999999</c:v>
                </c:pt>
                <c:pt idx="7285">
                  <c:v>3.4569998000000002</c:v>
                </c:pt>
                <c:pt idx="7286">
                  <c:v>3.4572001000000001</c:v>
                </c:pt>
                <c:pt idx="7287">
                  <c:v>3.4574001000000001</c:v>
                </c:pt>
                <c:pt idx="7288">
                  <c:v>3.4575998999999999</c:v>
                </c:pt>
                <c:pt idx="7289">
                  <c:v>3.4577998999999999</c:v>
                </c:pt>
                <c:pt idx="7290">
                  <c:v>3.4579996999999998</c:v>
                </c:pt>
                <c:pt idx="7291">
                  <c:v>3.4582000000000002</c:v>
                </c:pt>
                <c:pt idx="7292">
                  <c:v>3.4584000000000001</c:v>
                </c:pt>
                <c:pt idx="7293">
                  <c:v>3.4585998</c:v>
                </c:pt>
                <c:pt idx="7294">
                  <c:v>3.4588000999999999</c:v>
                </c:pt>
                <c:pt idx="7295">
                  <c:v>3.4589998999999998</c:v>
                </c:pt>
                <c:pt idx="7296">
                  <c:v>3.4591999000000002</c:v>
                </c:pt>
                <c:pt idx="7297">
                  <c:v>3.4593999000000002</c:v>
                </c:pt>
                <c:pt idx="7298">
                  <c:v>3.4595997000000001</c:v>
                </c:pt>
                <c:pt idx="7299">
                  <c:v>3.4598</c:v>
                </c:pt>
                <c:pt idx="7300">
                  <c:v>3.4599997999999998</c:v>
                </c:pt>
                <c:pt idx="7301">
                  <c:v>3.4601997999999998</c:v>
                </c:pt>
                <c:pt idx="7302">
                  <c:v>3.4604001000000002</c:v>
                </c:pt>
                <c:pt idx="7303">
                  <c:v>3.4605999000000001</c:v>
                </c:pt>
                <c:pt idx="7304">
                  <c:v>3.4607999</c:v>
                </c:pt>
                <c:pt idx="7305">
                  <c:v>3.4609996999999999</c:v>
                </c:pt>
                <c:pt idx="7306">
                  <c:v>3.4611998000000002</c:v>
                </c:pt>
                <c:pt idx="7307">
                  <c:v>3.4613999999999998</c:v>
                </c:pt>
                <c:pt idx="7308">
                  <c:v>3.4615998000000001</c:v>
                </c:pt>
                <c:pt idx="7309">
                  <c:v>3.4617998999999999</c:v>
                </c:pt>
                <c:pt idx="7310">
                  <c:v>3.4620001</c:v>
                </c:pt>
                <c:pt idx="7311">
                  <c:v>3.4621998999999999</c:v>
                </c:pt>
                <c:pt idx="7312">
                  <c:v>3.4624000000000001</c:v>
                </c:pt>
                <c:pt idx="7313">
                  <c:v>3.4625998</c:v>
                </c:pt>
                <c:pt idx="7314">
                  <c:v>3.4627998</c:v>
                </c:pt>
                <c:pt idx="7315">
                  <c:v>3.4630000999999999</c:v>
                </c:pt>
                <c:pt idx="7316">
                  <c:v>3.4631999000000002</c:v>
                </c:pt>
                <c:pt idx="7317">
                  <c:v>3.4633999000000002</c:v>
                </c:pt>
                <c:pt idx="7318">
                  <c:v>3.4635999000000002</c:v>
                </c:pt>
                <c:pt idx="7319">
                  <c:v>3.4638</c:v>
                </c:pt>
                <c:pt idx="7320">
                  <c:v>3.464</c:v>
                </c:pt>
                <c:pt idx="7321">
                  <c:v>3.4641997999999998</c:v>
                </c:pt>
                <c:pt idx="7322">
                  <c:v>3.4643997999999998</c:v>
                </c:pt>
                <c:pt idx="7323">
                  <c:v>3.4645997999999998</c:v>
                </c:pt>
                <c:pt idx="7324">
                  <c:v>3.4647999</c:v>
                </c:pt>
                <c:pt idx="7325">
                  <c:v>3.4649999</c:v>
                </c:pt>
                <c:pt idx="7326">
                  <c:v>3.4651999</c:v>
                </c:pt>
                <c:pt idx="7327">
                  <c:v>3.4653999999999998</c:v>
                </c:pt>
                <c:pt idx="7328">
                  <c:v>3.4655999999999998</c:v>
                </c:pt>
                <c:pt idx="7329">
                  <c:v>3.4657998000000001</c:v>
                </c:pt>
                <c:pt idx="7330">
                  <c:v>3.4659998000000001</c:v>
                </c:pt>
                <c:pt idx="7331">
                  <c:v>3.4661998999999999</c:v>
                </c:pt>
                <c:pt idx="7332">
                  <c:v>3.4663998999999999</c:v>
                </c:pt>
                <c:pt idx="7333">
                  <c:v>3.4665998999999998</c:v>
                </c:pt>
                <c:pt idx="7334">
                  <c:v>3.4668000000000001</c:v>
                </c:pt>
                <c:pt idx="7335">
                  <c:v>3.4670000000000001</c:v>
                </c:pt>
                <c:pt idx="7336">
                  <c:v>3.4671997999999999</c:v>
                </c:pt>
                <c:pt idx="7337">
                  <c:v>3.4673997999999999</c:v>
                </c:pt>
                <c:pt idx="7338">
                  <c:v>3.4675999000000002</c:v>
                </c:pt>
                <c:pt idx="7339">
                  <c:v>3.4677999000000002</c:v>
                </c:pt>
                <c:pt idx="7340">
                  <c:v>3.4679999000000001</c:v>
                </c:pt>
                <c:pt idx="7341">
                  <c:v>3.4681997</c:v>
                </c:pt>
                <c:pt idx="7342">
                  <c:v>3.4683999999999999</c:v>
                </c:pt>
                <c:pt idx="7343">
                  <c:v>3.4685999999999999</c:v>
                </c:pt>
                <c:pt idx="7344">
                  <c:v>3.4687998000000002</c:v>
                </c:pt>
                <c:pt idx="7345">
                  <c:v>3.4689999</c:v>
                </c:pt>
                <c:pt idx="7346">
                  <c:v>3.4691996999999999</c:v>
                </c:pt>
                <c:pt idx="7347">
                  <c:v>3.4693999</c:v>
                </c:pt>
                <c:pt idx="7348">
                  <c:v>3.4695999999999998</c:v>
                </c:pt>
                <c:pt idx="7349">
                  <c:v>3.4697998000000001</c:v>
                </c:pt>
                <c:pt idx="7350">
                  <c:v>3.47</c:v>
                </c:pt>
                <c:pt idx="7351">
                  <c:v>3.4702001</c:v>
                </c:pt>
                <c:pt idx="7352">
                  <c:v>3.4703998999999999</c:v>
                </c:pt>
                <c:pt idx="7353">
                  <c:v>3.4705998999999998</c:v>
                </c:pt>
                <c:pt idx="7354">
                  <c:v>3.4707997000000002</c:v>
                </c:pt>
                <c:pt idx="7355">
                  <c:v>3.4710000000000001</c:v>
                </c:pt>
                <c:pt idx="7356">
                  <c:v>3.4712000000000001</c:v>
                </c:pt>
                <c:pt idx="7357">
                  <c:v>3.4713997999999999</c:v>
                </c:pt>
                <c:pt idx="7358">
                  <c:v>3.4716000999999999</c:v>
                </c:pt>
                <c:pt idx="7359">
                  <c:v>3.4717999000000002</c:v>
                </c:pt>
                <c:pt idx="7360">
                  <c:v>3.4719999000000001</c:v>
                </c:pt>
                <c:pt idx="7361">
                  <c:v>3.4721999000000001</c:v>
                </c:pt>
                <c:pt idx="7362">
                  <c:v>3.4723997</c:v>
                </c:pt>
                <c:pt idx="7363">
                  <c:v>3.4725999999999999</c:v>
                </c:pt>
                <c:pt idx="7364">
                  <c:v>3.4727999999999999</c:v>
                </c:pt>
                <c:pt idx="7365">
                  <c:v>3.4729998000000002</c:v>
                </c:pt>
                <c:pt idx="7366">
                  <c:v>3.4732001000000001</c:v>
                </c:pt>
                <c:pt idx="7367">
                  <c:v>3.4733999</c:v>
                </c:pt>
                <c:pt idx="7368">
                  <c:v>3.4735999</c:v>
                </c:pt>
                <c:pt idx="7369">
                  <c:v>3.4737998999999999</c:v>
                </c:pt>
                <c:pt idx="7370">
                  <c:v>3.4739996999999998</c:v>
                </c:pt>
                <c:pt idx="7371">
                  <c:v>3.4742000000000002</c:v>
                </c:pt>
                <c:pt idx="7372">
                  <c:v>3.4743998</c:v>
                </c:pt>
                <c:pt idx="7373">
                  <c:v>3.4745998</c:v>
                </c:pt>
                <c:pt idx="7374">
                  <c:v>3.4748000999999999</c:v>
                </c:pt>
                <c:pt idx="7375">
                  <c:v>3.4749998999999998</c:v>
                </c:pt>
                <c:pt idx="7376">
                  <c:v>3.4751998999999998</c:v>
                </c:pt>
                <c:pt idx="7377">
                  <c:v>3.4753997000000001</c:v>
                </c:pt>
                <c:pt idx="7378">
                  <c:v>3.4755997999999999</c:v>
                </c:pt>
                <c:pt idx="7379">
                  <c:v>3.4758</c:v>
                </c:pt>
                <c:pt idx="7380">
                  <c:v>3.4759997999999999</c:v>
                </c:pt>
                <c:pt idx="7381">
                  <c:v>3.4761999000000001</c:v>
                </c:pt>
                <c:pt idx="7382">
                  <c:v>3.4764001000000002</c:v>
                </c:pt>
                <c:pt idx="7383">
                  <c:v>3.4765999000000001</c:v>
                </c:pt>
                <c:pt idx="7384">
                  <c:v>3.4767999999999999</c:v>
                </c:pt>
                <c:pt idx="7385">
                  <c:v>3.4769998000000002</c:v>
                </c:pt>
                <c:pt idx="7386">
                  <c:v>3.4771998000000002</c:v>
                </c:pt>
                <c:pt idx="7387">
                  <c:v>3.4774001000000001</c:v>
                </c:pt>
                <c:pt idx="7388">
                  <c:v>3.4775999</c:v>
                </c:pt>
                <c:pt idx="7389">
                  <c:v>3.4777998999999999</c:v>
                </c:pt>
                <c:pt idx="7390">
                  <c:v>3.4779998999999999</c:v>
                </c:pt>
                <c:pt idx="7391">
                  <c:v>3.4782000000000002</c:v>
                </c:pt>
                <c:pt idx="7392">
                  <c:v>3.4784000000000002</c:v>
                </c:pt>
                <c:pt idx="7393">
                  <c:v>3.4785998</c:v>
                </c:pt>
                <c:pt idx="7394">
                  <c:v>3.4787998</c:v>
                </c:pt>
                <c:pt idx="7395">
                  <c:v>3.4789998999999998</c:v>
                </c:pt>
                <c:pt idx="7396">
                  <c:v>3.4791998999999998</c:v>
                </c:pt>
                <c:pt idx="7397">
                  <c:v>3.4793999000000002</c:v>
                </c:pt>
                <c:pt idx="7398">
                  <c:v>3.4796</c:v>
                </c:pt>
                <c:pt idx="7399">
                  <c:v>3.4798</c:v>
                </c:pt>
                <c:pt idx="7400">
                  <c:v>3.48</c:v>
                </c:pt>
                <c:pt idx="7401">
                  <c:v>3.4801997999999998</c:v>
                </c:pt>
                <c:pt idx="7402">
                  <c:v>3.4803997999999998</c:v>
                </c:pt>
                <c:pt idx="7403">
                  <c:v>3.4805999000000001</c:v>
                </c:pt>
                <c:pt idx="7404">
                  <c:v>3.4807999000000001</c:v>
                </c:pt>
                <c:pt idx="7405">
                  <c:v>3.4809999</c:v>
                </c:pt>
                <c:pt idx="7406">
                  <c:v>3.4811999999999999</c:v>
                </c:pt>
                <c:pt idx="7407">
                  <c:v>3.4813999999999998</c:v>
                </c:pt>
                <c:pt idx="7408">
                  <c:v>3.4815998000000001</c:v>
                </c:pt>
                <c:pt idx="7409">
                  <c:v>3.4817998000000001</c:v>
                </c:pt>
                <c:pt idx="7410">
                  <c:v>3.4819998999999999</c:v>
                </c:pt>
                <c:pt idx="7411">
                  <c:v>3.4821998999999999</c:v>
                </c:pt>
                <c:pt idx="7412">
                  <c:v>3.4823998999999999</c:v>
                </c:pt>
                <c:pt idx="7413">
                  <c:v>3.4825997000000002</c:v>
                </c:pt>
                <c:pt idx="7414">
                  <c:v>3.4828000000000001</c:v>
                </c:pt>
                <c:pt idx="7415">
                  <c:v>3.4830000000000001</c:v>
                </c:pt>
                <c:pt idx="7416">
                  <c:v>3.4831998</c:v>
                </c:pt>
                <c:pt idx="7417">
                  <c:v>3.4833999000000002</c:v>
                </c:pt>
                <c:pt idx="7418">
                  <c:v>3.4835997000000001</c:v>
                </c:pt>
                <c:pt idx="7419">
                  <c:v>3.4837999000000002</c:v>
                </c:pt>
                <c:pt idx="7420">
                  <c:v>3.484</c:v>
                </c:pt>
                <c:pt idx="7421">
                  <c:v>3.4841997999999998</c:v>
                </c:pt>
                <c:pt idx="7422">
                  <c:v>3.4843999999999999</c:v>
                </c:pt>
                <c:pt idx="7423">
                  <c:v>3.4846001000000002</c:v>
                </c:pt>
                <c:pt idx="7424">
                  <c:v>3.4847999000000001</c:v>
                </c:pt>
                <c:pt idx="7425">
                  <c:v>3.4849999</c:v>
                </c:pt>
                <c:pt idx="7426">
                  <c:v>3.4851996999999999</c:v>
                </c:pt>
                <c:pt idx="7427">
                  <c:v>3.4853999999999998</c:v>
                </c:pt>
                <c:pt idx="7428">
                  <c:v>3.4855999999999998</c:v>
                </c:pt>
                <c:pt idx="7429">
                  <c:v>3.4857998000000001</c:v>
                </c:pt>
                <c:pt idx="7430">
                  <c:v>3.4860001</c:v>
                </c:pt>
                <c:pt idx="7431">
                  <c:v>3.4861998999999999</c:v>
                </c:pt>
                <c:pt idx="7432">
                  <c:v>3.4863998999999999</c:v>
                </c:pt>
                <c:pt idx="7433">
                  <c:v>3.4865998999999999</c:v>
                </c:pt>
                <c:pt idx="7434">
                  <c:v>3.4867997000000002</c:v>
                </c:pt>
                <c:pt idx="7435">
                  <c:v>3.4870000000000001</c:v>
                </c:pt>
                <c:pt idx="7436">
                  <c:v>3.4871998</c:v>
                </c:pt>
                <c:pt idx="7437">
                  <c:v>3.4873997999999999</c:v>
                </c:pt>
                <c:pt idx="7438">
                  <c:v>3.4876000999999999</c:v>
                </c:pt>
                <c:pt idx="7439">
                  <c:v>3.4877999000000002</c:v>
                </c:pt>
                <c:pt idx="7440">
                  <c:v>3.4879999000000002</c:v>
                </c:pt>
                <c:pt idx="7441">
                  <c:v>3.4881999000000001</c:v>
                </c:pt>
                <c:pt idx="7442">
                  <c:v>3.4883997</c:v>
                </c:pt>
                <c:pt idx="7443">
                  <c:v>3.4885999999999999</c:v>
                </c:pt>
                <c:pt idx="7444">
                  <c:v>3.4887997999999998</c:v>
                </c:pt>
                <c:pt idx="7445">
                  <c:v>3.4889998000000002</c:v>
                </c:pt>
                <c:pt idx="7446">
                  <c:v>3.4892001000000001</c:v>
                </c:pt>
                <c:pt idx="7447">
                  <c:v>3.4893999</c:v>
                </c:pt>
                <c:pt idx="7448">
                  <c:v>3.4895999</c:v>
                </c:pt>
                <c:pt idx="7449">
                  <c:v>3.4897996999999998</c:v>
                </c:pt>
                <c:pt idx="7450">
                  <c:v>3.4899998000000001</c:v>
                </c:pt>
                <c:pt idx="7451">
                  <c:v>3.4902000000000002</c:v>
                </c:pt>
                <c:pt idx="7452">
                  <c:v>3.4903998000000001</c:v>
                </c:pt>
                <c:pt idx="7453">
                  <c:v>3.4905998999999999</c:v>
                </c:pt>
                <c:pt idx="7454">
                  <c:v>3.4908001</c:v>
                </c:pt>
                <c:pt idx="7455">
                  <c:v>3.4909998999999998</c:v>
                </c:pt>
                <c:pt idx="7456">
                  <c:v>3.4912000000000001</c:v>
                </c:pt>
                <c:pt idx="7457">
                  <c:v>3.4913997999999999</c:v>
                </c:pt>
                <c:pt idx="7458">
                  <c:v>3.4915997999999999</c:v>
                </c:pt>
                <c:pt idx="7459">
                  <c:v>3.4918000999999999</c:v>
                </c:pt>
                <c:pt idx="7460">
                  <c:v>3.4919999000000002</c:v>
                </c:pt>
                <c:pt idx="7461">
                  <c:v>3.4921999000000001</c:v>
                </c:pt>
                <c:pt idx="7462">
                  <c:v>3.4923999000000001</c:v>
                </c:pt>
                <c:pt idx="7463">
                  <c:v>3.4925999999999999</c:v>
                </c:pt>
                <c:pt idx="7464">
                  <c:v>3.4927999999999999</c:v>
                </c:pt>
                <c:pt idx="7465">
                  <c:v>3.4929998000000002</c:v>
                </c:pt>
                <c:pt idx="7466">
                  <c:v>3.4931998000000002</c:v>
                </c:pt>
                <c:pt idx="7467">
                  <c:v>3.4933999</c:v>
                </c:pt>
                <c:pt idx="7468">
                  <c:v>3.4935999</c:v>
                </c:pt>
                <c:pt idx="7469">
                  <c:v>3.4937999</c:v>
                </c:pt>
                <c:pt idx="7470">
                  <c:v>3.4940000000000002</c:v>
                </c:pt>
                <c:pt idx="7471">
                  <c:v>3.4942000000000002</c:v>
                </c:pt>
                <c:pt idx="7472">
                  <c:v>3.4943998000000001</c:v>
                </c:pt>
                <c:pt idx="7473">
                  <c:v>3.4945998</c:v>
                </c:pt>
                <c:pt idx="7474">
                  <c:v>3.4947998999999998</c:v>
                </c:pt>
                <c:pt idx="7475">
                  <c:v>3.4949998999999998</c:v>
                </c:pt>
                <c:pt idx="7476">
                  <c:v>3.4951998999999998</c:v>
                </c:pt>
                <c:pt idx="7477">
                  <c:v>3.4954000000000001</c:v>
                </c:pt>
                <c:pt idx="7478">
                  <c:v>3.4956</c:v>
                </c:pt>
                <c:pt idx="7479">
                  <c:v>3.4958</c:v>
                </c:pt>
                <c:pt idx="7480">
                  <c:v>3.4959997999999999</c:v>
                </c:pt>
                <c:pt idx="7481">
                  <c:v>3.4961997999999999</c:v>
                </c:pt>
                <c:pt idx="7482">
                  <c:v>3.4963999000000001</c:v>
                </c:pt>
                <c:pt idx="7483">
                  <c:v>3.4965999000000001</c:v>
                </c:pt>
                <c:pt idx="7484">
                  <c:v>3.4967999000000001</c:v>
                </c:pt>
                <c:pt idx="7485">
                  <c:v>3.4969996999999999</c:v>
                </c:pt>
                <c:pt idx="7486">
                  <c:v>3.4971999999999999</c:v>
                </c:pt>
                <c:pt idx="7487">
                  <c:v>3.4973999999999998</c:v>
                </c:pt>
                <c:pt idx="7488">
                  <c:v>3.4975998000000001</c:v>
                </c:pt>
                <c:pt idx="7489">
                  <c:v>3.4977999</c:v>
                </c:pt>
                <c:pt idx="7490">
                  <c:v>3.4979996999999998</c:v>
                </c:pt>
                <c:pt idx="7491">
                  <c:v>3.4981998999999999</c:v>
                </c:pt>
                <c:pt idx="7492">
                  <c:v>3.4984000000000002</c:v>
                </c:pt>
                <c:pt idx="7493">
                  <c:v>3.4985998</c:v>
                </c:pt>
                <c:pt idx="7494">
                  <c:v>3.4988000000000001</c:v>
                </c:pt>
                <c:pt idx="7495">
                  <c:v>3.4990000999999999</c:v>
                </c:pt>
                <c:pt idx="7496">
                  <c:v>3.4991998999999998</c:v>
                </c:pt>
                <c:pt idx="7497">
                  <c:v>3.4993998999999998</c:v>
                </c:pt>
                <c:pt idx="7498">
                  <c:v>3.4995997000000001</c:v>
                </c:pt>
                <c:pt idx="7499">
                  <c:v>3.4998</c:v>
                </c:pt>
                <c:pt idx="7500">
                  <c:v>3.5</c:v>
                </c:pt>
                <c:pt idx="7501">
                  <c:v>3.5001997999999999</c:v>
                </c:pt>
                <c:pt idx="7502">
                  <c:v>3.5004000999999998</c:v>
                </c:pt>
                <c:pt idx="7503">
                  <c:v>3.5005999000000001</c:v>
                </c:pt>
                <c:pt idx="7504">
                  <c:v>3.5007999000000001</c:v>
                </c:pt>
                <c:pt idx="7505">
                  <c:v>3.5009999000000001</c:v>
                </c:pt>
                <c:pt idx="7506">
                  <c:v>3.5011996999999999</c:v>
                </c:pt>
                <c:pt idx="7507">
                  <c:v>3.5013999999999998</c:v>
                </c:pt>
                <c:pt idx="7508">
                  <c:v>3.5015998000000002</c:v>
                </c:pt>
                <c:pt idx="7509">
                  <c:v>3.5017998000000001</c:v>
                </c:pt>
                <c:pt idx="7510">
                  <c:v>3.5020001000000001</c:v>
                </c:pt>
                <c:pt idx="7511">
                  <c:v>3.5021998999999999</c:v>
                </c:pt>
                <c:pt idx="7512">
                  <c:v>3.5023998999999999</c:v>
                </c:pt>
                <c:pt idx="7513">
                  <c:v>3.5026000000000002</c:v>
                </c:pt>
                <c:pt idx="7514">
                  <c:v>3.5027997000000002</c:v>
                </c:pt>
                <c:pt idx="7515">
                  <c:v>3.5030000000000001</c:v>
                </c:pt>
                <c:pt idx="7516">
                  <c:v>3.5031998</c:v>
                </c:pt>
                <c:pt idx="7517">
                  <c:v>3.5033998</c:v>
                </c:pt>
                <c:pt idx="7518">
                  <c:v>3.5036000999999999</c:v>
                </c:pt>
                <c:pt idx="7519">
                  <c:v>3.5037999000000002</c:v>
                </c:pt>
                <c:pt idx="7520">
                  <c:v>3.5039999000000002</c:v>
                </c:pt>
                <c:pt idx="7521">
                  <c:v>3.5041997</c:v>
                </c:pt>
                <c:pt idx="7522">
                  <c:v>3.5043997999999998</c:v>
                </c:pt>
                <c:pt idx="7523">
                  <c:v>3.5045999999999999</c:v>
                </c:pt>
                <c:pt idx="7524">
                  <c:v>3.5047997999999998</c:v>
                </c:pt>
                <c:pt idx="7525">
                  <c:v>3.5049999000000001</c:v>
                </c:pt>
                <c:pt idx="7526">
                  <c:v>3.5052001000000002</c:v>
                </c:pt>
                <c:pt idx="7527">
                  <c:v>3.5053999</c:v>
                </c:pt>
                <c:pt idx="7528">
                  <c:v>3.5055999999999998</c:v>
                </c:pt>
                <c:pt idx="7529">
                  <c:v>3.5057998000000001</c:v>
                </c:pt>
                <c:pt idx="7530">
                  <c:v>3.5059998000000001</c:v>
                </c:pt>
                <c:pt idx="7531">
                  <c:v>3.5062001</c:v>
                </c:pt>
                <c:pt idx="7532">
                  <c:v>3.5063998999999999</c:v>
                </c:pt>
                <c:pt idx="7533">
                  <c:v>3.5065998999999999</c:v>
                </c:pt>
                <c:pt idx="7534">
                  <c:v>3.5067998999999999</c:v>
                </c:pt>
                <c:pt idx="7535">
                  <c:v>3.5070000000000001</c:v>
                </c:pt>
                <c:pt idx="7536">
                  <c:v>3.5072000000000001</c:v>
                </c:pt>
                <c:pt idx="7537">
                  <c:v>3.5073998</c:v>
                </c:pt>
                <c:pt idx="7538">
                  <c:v>3.5075997999999999</c:v>
                </c:pt>
                <c:pt idx="7539">
                  <c:v>3.5077999000000002</c:v>
                </c:pt>
                <c:pt idx="7540">
                  <c:v>3.5079999000000002</c:v>
                </c:pt>
                <c:pt idx="7541">
                  <c:v>3.5081999000000001</c:v>
                </c:pt>
                <c:pt idx="7542">
                  <c:v>3.5084</c:v>
                </c:pt>
                <c:pt idx="7543">
                  <c:v>3.5085999999999999</c:v>
                </c:pt>
                <c:pt idx="7544">
                  <c:v>3.5087997999999998</c:v>
                </c:pt>
                <c:pt idx="7545">
                  <c:v>3.5089997999999998</c:v>
                </c:pt>
                <c:pt idx="7546">
                  <c:v>3.5091999</c:v>
                </c:pt>
                <c:pt idx="7547">
                  <c:v>3.5093999</c:v>
                </c:pt>
                <c:pt idx="7548">
                  <c:v>3.5095999</c:v>
                </c:pt>
                <c:pt idx="7549">
                  <c:v>3.5097996999999999</c:v>
                </c:pt>
                <c:pt idx="7550">
                  <c:v>3.51</c:v>
                </c:pt>
                <c:pt idx="7551">
                  <c:v>3.5102000000000002</c:v>
                </c:pt>
                <c:pt idx="7552">
                  <c:v>3.5103998000000001</c:v>
                </c:pt>
                <c:pt idx="7553">
                  <c:v>3.5105998999999999</c:v>
                </c:pt>
                <c:pt idx="7554">
                  <c:v>3.5107998999999999</c:v>
                </c:pt>
                <c:pt idx="7555">
                  <c:v>3.5109998999999998</c:v>
                </c:pt>
                <c:pt idx="7556">
                  <c:v>3.5112000000000001</c:v>
                </c:pt>
                <c:pt idx="7557">
                  <c:v>3.5113997000000001</c:v>
                </c:pt>
                <c:pt idx="7558">
                  <c:v>3.5116000000000001</c:v>
                </c:pt>
                <c:pt idx="7559">
                  <c:v>3.5118000999999999</c:v>
                </c:pt>
                <c:pt idx="7560">
                  <c:v>3.5119997999999999</c:v>
                </c:pt>
                <c:pt idx="7561">
                  <c:v>3.5121999000000002</c:v>
                </c:pt>
                <c:pt idx="7562">
                  <c:v>3.5123997</c:v>
                </c:pt>
                <c:pt idx="7563">
                  <c:v>3.5125999000000001</c:v>
                </c:pt>
                <c:pt idx="7564">
                  <c:v>3.5127999999999999</c:v>
                </c:pt>
                <c:pt idx="7565">
                  <c:v>3.5129997999999998</c:v>
                </c:pt>
                <c:pt idx="7566">
                  <c:v>3.5131999999999999</c:v>
                </c:pt>
                <c:pt idx="7567">
                  <c:v>3.5134001000000001</c:v>
                </c:pt>
                <c:pt idx="7568">
                  <c:v>3.5135999</c:v>
                </c:pt>
                <c:pt idx="7569">
                  <c:v>3.5137999</c:v>
                </c:pt>
                <c:pt idx="7570">
                  <c:v>3.5139996999999998</c:v>
                </c:pt>
                <c:pt idx="7571">
                  <c:v>3.5142000000000002</c:v>
                </c:pt>
                <c:pt idx="7572">
                  <c:v>3.5144000000000002</c:v>
                </c:pt>
                <c:pt idx="7573">
                  <c:v>3.5145998000000001</c:v>
                </c:pt>
                <c:pt idx="7574">
                  <c:v>3.5148001</c:v>
                </c:pt>
                <c:pt idx="7575">
                  <c:v>3.5149998999999998</c:v>
                </c:pt>
                <c:pt idx="7576">
                  <c:v>3.5151998999999998</c:v>
                </c:pt>
                <c:pt idx="7577">
                  <c:v>3.5153998999999998</c:v>
                </c:pt>
                <c:pt idx="7578">
                  <c:v>3.5155997000000001</c:v>
                </c:pt>
                <c:pt idx="7579">
                  <c:v>3.5158</c:v>
                </c:pt>
                <c:pt idx="7580">
                  <c:v>3.5159997999999999</c:v>
                </c:pt>
                <c:pt idx="7581">
                  <c:v>3.5161997999999999</c:v>
                </c:pt>
                <c:pt idx="7582">
                  <c:v>3.5164000999999998</c:v>
                </c:pt>
                <c:pt idx="7583">
                  <c:v>3.5165999000000001</c:v>
                </c:pt>
                <c:pt idx="7584">
                  <c:v>3.5167999000000001</c:v>
                </c:pt>
                <c:pt idx="7585">
                  <c:v>3.5169997</c:v>
                </c:pt>
                <c:pt idx="7586">
                  <c:v>3.5171998000000002</c:v>
                </c:pt>
                <c:pt idx="7587">
                  <c:v>3.5173999999999999</c:v>
                </c:pt>
                <c:pt idx="7588">
                  <c:v>3.5175998000000002</c:v>
                </c:pt>
                <c:pt idx="7589">
                  <c:v>3.5177999</c:v>
                </c:pt>
                <c:pt idx="7590">
                  <c:v>3.5180001000000001</c:v>
                </c:pt>
                <c:pt idx="7591">
                  <c:v>3.5181998999999999</c:v>
                </c:pt>
                <c:pt idx="7592">
                  <c:v>3.5184000000000002</c:v>
                </c:pt>
                <c:pt idx="7593">
                  <c:v>3.5185997000000002</c:v>
                </c:pt>
                <c:pt idx="7594">
                  <c:v>3.5187998</c:v>
                </c:pt>
                <c:pt idx="7595">
                  <c:v>3.5190001</c:v>
                </c:pt>
                <c:pt idx="7596">
                  <c:v>3.5191998</c:v>
                </c:pt>
                <c:pt idx="7597">
                  <c:v>3.5193998999999998</c:v>
                </c:pt>
                <c:pt idx="7598">
                  <c:v>3.5195998999999998</c:v>
                </c:pt>
                <c:pt idx="7599">
                  <c:v>3.5197999000000002</c:v>
                </c:pt>
                <c:pt idx="7600">
                  <c:v>3.52</c:v>
                </c:pt>
                <c:pt idx="7601">
                  <c:v>3.5201997999999999</c:v>
                </c:pt>
                <c:pt idx="7602">
                  <c:v>3.5203997999999999</c:v>
                </c:pt>
                <c:pt idx="7603">
                  <c:v>3.5206000999999998</c:v>
                </c:pt>
                <c:pt idx="7604">
                  <c:v>3.5207999000000001</c:v>
                </c:pt>
                <c:pt idx="7605">
                  <c:v>3.5209999000000001</c:v>
                </c:pt>
                <c:pt idx="7606">
                  <c:v>3.5211999</c:v>
                </c:pt>
                <c:pt idx="7607">
                  <c:v>3.5213999999999999</c:v>
                </c:pt>
                <c:pt idx="7608">
                  <c:v>3.5215999999999998</c:v>
                </c:pt>
                <c:pt idx="7609">
                  <c:v>3.5217998000000001</c:v>
                </c:pt>
                <c:pt idx="7610">
                  <c:v>3.5219998000000001</c:v>
                </c:pt>
                <c:pt idx="7611">
                  <c:v>3.5221998999999999</c:v>
                </c:pt>
                <c:pt idx="7612">
                  <c:v>3.5223998999999999</c:v>
                </c:pt>
                <c:pt idx="7613">
                  <c:v>3.5225998999999999</c:v>
                </c:pt>
                <c:pt idx="7614">
                  <c:v>3.5228000000000002</c:v>
                </c:pt>
                <c:pt idx="7615">
                  <c:v>3.5230000000000001</c:v>
                </c:pt>
                <c:pt idx="7616">
                  <c:v>3.5231998</c:v>
                </c:pt>
                <c:pt idx="7617">
                  <c:v>3.5233998</c:v>
                </c:pt>
                <c:pt idx="7618">
                  <c:v>3.5235998999999998</c:v>
                </c:pt>
                <c:pt idx="7619">
                  <c:v>3.5237999000000002</c:v>
                </c:pt>
                <c:pt idx="7620">
                  <c:v>3.5239999000000002</c:v>
                </c:pt>
                <c:pt idx="7621">
                  <c:v>3.5241997</c:v>
                </c:pt>
                <c:pt idx="7622">
                  <c:v>3.5244</c:v>
                </c:pt>
                <c:pt idx="7623">
                  <c:v>3.5246</c:v>
                </c:pt>
                <c:pt idx="7624">
                  <c:v>3.5247997999999998</c:v>
                </c:pt>
                <c:pt idx="7625">
                  <c:v>3.5249999000000001</c:v>
                </c:pt>
                <c:pt idx="7626">
                  <c:v>3.5251999000000001</c:v>
                </c:pt>
                <c:pt idx="7627">
                  <c:v>3.5253999</c:v>
                </c:pt>
                <c:pt idx="7628">
                  <c:v>3.5255999999999998</c:v>
                </c:pt>
                <c:pt idx="7629">
                  <c:v>3.5257998000000002</c:v>
                </c:pt>
                <c:pt idx="7630">
                  <c:v>3.5259999999999998</c:v>
                </c:pt>
                <c:pt idx="7631">
                  <c:v>3.5262001000000001</c:v>
                </c:pt>
                <c:pt idx="7632">
                  <c:v>3.5263998999999999</c:v>
                </c:pt>
                <c:pt idx="7633">
                  <c:v>3.5265998999999999</c:v>
                </c:pt>
                <c:pt idx="7634">
                  <c:v>3.5267997000000002</c:v>
                </c:pt>
                <c:pt idx="7635">
                  <c:v>3.5270000000000001</c:v>
                </c:pt>
                <c:pt idx="7636">
                  <c:v>3.5272000000000001</c:v>
                </c:pt>
                <c:pt idx="7637">
                  <c:v>3.5273998</c:v>
                </c:pt>
                <c:pt idx="7638">
                  <c:v>3.5276000000000001</c:v>
                </c:pt>
                <c:pt idx="7639">
                  <c:v>3.5278000999999999</c:v>
                </c:pt>
                <c:pt idx="7640">
                  <c:v>3.5279999000000002</c:v>
                </c:pt>
                <c:pt idx="7641">
                  <c:v>3.5281999000000002</c:v>
                </c:pt>
                <c:pt idx="7642">
                  <c:v>3.5283997</c:v>
                </c:pt>
                <c:pt idx="7643">
                  <c:v>3.5286</c:v>
                </c:pt>
                <c:pt idx="7644">
                  <c:v>3.5287999999999999</c:v>
                </c:pt>
                <c:pt idx="7645">
                  <c:v>3.5289997999999998</c:v>
                </c:pt>
                <c:pt idx="7646">
                  <c:v>3.5292001000000002</c:v>
                </c:pt>
                <c:pt idx="7647">
                  <c:v>3.5293999</c:v>
                </c:pt>
                <c:pt idx="7648">
                  <c:v>3.5295999</c:v>
                </c:pt>
                <c:pt idx="7649">
                  <c:v>3.5297999</c:v>
                </c:pt>
                <c:pt idx="7650">
                  <c:v>3.5299996999999999</c:v>
                </c:pt>
                <c:pt idx="7651">
                  <c:v>3.5301999999999998</c:v>
                </c:pt>
                <c:pt idx="7652">
                  <c:v>3.5303998000000001</c:v>
                </c:pt>
                <c:pt idx="7653">
                  <c:v>3.5305998000000001</c:v>
                </c:pt>
                <c:pt idx="7654">
                  <c:v>3.5308001</c:v>
                </c:pt>
                <c:pt idx="7655">
                  <c:v>3.5309998999999999</c:v>
                </c:pt>
                <c:pt idx="7656">
                  <c:v>3.5311998999999998</c:v>
                </c:pt>
                <c:pt idx="7657">
                  <c:v>3.5313997000000001</c:v>
                </c:pt>
                <c:pt idx="7658">
                  <c:v>3.5315998</c:v>
                </c:pt>
                <c:pt idx="7659">
                  <c:v>3.5318000000000001</c:v>
                </c:pt>
                <c:pt idx="7660">
                  <c:v>3.5319997999999999</c:v>
                </c:pt>
                <c:pt idx="7661">
                  <c:v>3.5321999000000002</c:v>
                </c:pt>
                <c:pt idx="7662">
                  <c:v>3.5324000999999998</c:v>
                </c:pt>
                <c:pt idx="7663">
                  <c:v>3.5325999000000001</c:v>
                </c:pt>
                <c:pt idx="7664">
                  <c:v>3.5327999999999999</c:v>
                </c:pt>
                <c:pt idx="7665">
                  <c:v>3.5329997999999998</c:v>
                </c:pt>
                <c:pt idx="7666">
                  <c:v>3.5331997999999998</c:v>
                </c:pt>
                <c:pt idx="7667">
                  <c:v>3.5334001000000002</c:v>
                </c:pt>
                <c:pt idx="7668">
                  <c:v>3.5335999</c:v>
                </c:pt>
                <c:pt idx="7669">
                  <c:v>3.5337999</c:v>
                </c:pt>
                <c:pt idx="7670">
                  <c:v>3.5339999</c:v>
                </c:pt>
                <c:pt idx="7671">
                  <c:v>3.5341999999999998</c:v>
                </c:pt>
                <c:pt idx="7672">
                  <c:v>3.5344000000000002</c:v>
                </c:pt>
                <c:pt idx="7673">
                  <c:v>3.5345998000000001</c:v>
                </c:pt>
                <c:pt idx="7674">
                  <c:v>3.5347998</c:v>
                </c:pt>
                <c:pt idx="7675">
                  <c:v>3.5349998</c:v>
                </c:pt>
                <c:pt idx="7676">
                  <c:v>3.5351998999999998</c:v>
                </c:pt>
                <c:pt idx="7677">
                  <c:v>3.5353998999999998</c:v>
                </c:pt>
                <c:pt idx="7678">
                  <c:v>3.5355998999999998</c:v>
                </c:pt>
                <c:pt idx="7679">
                  <c:v>3.5358000000000001</c:v>
                </c:pt>
                <c:pt idx="7680">
                  <c:v>3.536</c:v>
                </c:pt>
                <c:pt idx="7681">
                  <c:v>3.5361997999999999</c:v>
                </c:pt>
                <c:pt idx="7682">
                  <c:v>3.5363997999999999</c:v>
                </c:pt>
                <c:pt idx="7683">
                  <c:v>3.5365999000000001</c:v>
                </c:pt>
                <c:pt idx="7684">
                  <c:v>3.5367999000000001</c:v>
                </c:pt>
                <c:pt idx="7685">
                  <c:v>3.5369999000000001</c:v>
                </c:pt>
                <c:pt idx="7686">
                  <c:v>3.5371999999999999</c:v>
                </c:pt>
                <c:pt idx="7687">
                  <c:v>3.5373999999999999</c:v>
                </c:pt>
                <c:pt idx="7688">
                  <c:v>3.5375998000000002</c:v>
                </c:pt>
                <c:pt idx="7689">
                  <c:v>3.5377998000000002</c:v>
                </c:pt>
                <c:pt idx="7690">
                  <c:v>3.5379999</c:v>
                </c:pt>
                <c:pt idx="7691">
                  <c:v>3.5381999</c:v>
                </c:pt>
                <c:pt idx="7692">
                  <c:v>3.5383998999999999</c:v>
                </c:pt>
                <c:pt idx="7693">
                  <c:v>3.5385996999999998</c:v>
                </c:pt>
                <c:pt idx="7694">
                  <c:v>3.5388000000000002</c:v>
                </c:pt>
                <c:pt idx="7695">
                  <c:v>3.5390000000000001</c:v>
                </c:pt>
                <c:pt idx="7696">
                  <c:v>3.5391998</c:v>
                </c:pt>
                <c:pt idx="7697">
                  <c:v>3.5393998999999998</c:v>
                </c:pt>
                <c:pt idx="7698">
                  <c:v>3.5395997000000001</c:v>
                </c:pt>
                <c:pt idx="7699">
                  <c:v>3.5397999000000002</c:v>
                </c:pt>
                <c:pt idx="7700">
                  <c:v>3.54</c:v>
                </c:pt>
                <c:pt idx="7701">
                  <c:v>3.5401997999999999</c:v>
                </c:pt>
                <c:pt idx="7702">
                  <c:v>3.5404</c:v>
                </c:pt>
                <c:pt idx="7703">
                  <c:v>3.5406000999999998</c:v>
                </c:pt>
                <c:pt idx="7704">
                  <c:v>3.5407999000000001</c:v>
                </c:pt>
                <c:pt idx="7705">
                  <c:v>3.5409999000000001</c:v>
                </c:pt>
                <c:pt idx="7706">
                  <c:v>3.5411997</c:v>
                </c:pt>
                <c:pt idx="7707">
                  <c:v>3.5413999999999999</c:v>
                </c:pt>
                <c:pt idx="7708">
                  <c:v>3.5415999999999999</c:v>
                </c:pt>
                <c:pt idx="7709">
                  <c:v>3.5417998000000002</c:v>
                </c:pt>
                <c:pt idx="7710">
                  <c:v>3.5420001000000001</c:v>
                </c:pt>
                <c:pt idx="7711">
                  <c:v>3.5421999</c:v>
                </c:pt>
                <c:pt idx="7712">
                  <c:v>3.5423998999999999</c:v>
                </c:pt>
                <c:pt idx="7713">
                  <c:v>3.5425998999999999</c:v>
                </c:pt>
                <c:pt idx="7714">
                  <c:v>3.5427997000000002</c:v>
                </c:pt>
                <c:pt idx="7715">
                  <c:v>3.5430000000000001</c:v>
                </c:pt>
                <c:pt idx="7716">
                  <c:v>3.5432000000000001</c:v>
                </c:pt>
                <c:pt idx="7717">
                  <c:v>3.5433998</c:v>
                </c:pt>
                <c:pt idx="7718">
                  <c:v>3.5436000999999999</c:v>
                </c:pt>
                <c:pt idx="7719">
                  <c:v>3.5437998999999998</c:v>
                </c:pt>
                <c:pt idx="7720">
                  <c:v>3.5439999000000002</c:v>
                </c:pt>
                <c:pt idx="7721">
                  <c:v>3.5441999000000002</c:v>
                </c:pt>
                <c:pt idx="7722">
                  <c:v>3.5443997</c:v>
                </c:pt>
                <c:pt idx="7723">
                  <c:v>3.5446</c:v>
                </c:pt>
                <c:pt idx="7724">
                  <c:v>3.5447997999999998</c:v>
                </c:pt>
                <c:pt idx="7725">
                  <c:v>3.5449997999999998</c:v>
                </c:pt>
                <c:pt idx="7726">
                  <c:v>3.5452001000000002</c:v>
                </c:pt>
                <c:pt idx="7727">
                  <c:v>3.5453999</c:v>
                </c:pt>
                <c:pt idx="7728">
                  <c:v>3.5455999</c:v>
                </c:pt>
                <c:pt idx="7729">
                  <c:v>3.5457996999999999</c:v>
                </c:pt>
                <c:pt idx="7730">
                  <c:v>3.5459998000000001</c:v>
                </c:pt>
                <c:pt idx="7731">
                  <c:v>3.5461999999999998</c:v>
                </c:pt>
                <c:pt idx="7732">
                  <c:v>3.5463998000000001</c:v>
                </c:pt>
                <c:pt idx="7733">
                  <c:v>3.5465998999999999</c:v>
                </c:pt>
                <c:pt idx="7734">
                  <c:v>3.5468001</c:v>
                </c:pt>
                <c:pt idx="7735">
                  <c:v>3.5469998999999999</c:v>
                </c:pt>
                <c:pt idx="7736">
                  <c:v>3.5472000000000001</c:v>
                </c:pt>
                <c:pt idx="7737">
                  <c:v>3.5473998</c:v>
                </c:pt>
                <c:pt idx="7738">
                  <c:v>3.5475998</c:v>
                </c:pt>
                <c:pt idx="7739">
                  <c:v>3.5478000999999999</c:v>
                </c:pt>
                <c:pt idx="7740">
                  <c:v>3.5479999000000002</c:v>
                </c:pt>
                <c:pt idx="7741">
                  <c:v>3.5481999000000002</c:v>
                </c:pt>
                <c:pt idx="7742">
                  <c:v>3.5483999000000002</c:v>
                </c:pt>
                <c:pt idx="7743">
                  <c:v>3.5486</c:v>
                </c:pt>
                <c:pt idx="7744">
                  <c:v>3.5488</c:v>
                </c:pt>
                <c:pt idx="7745">
                  <c:v>3.5489997999999998</c:v>
                </c:pt>
                <c:pt idx="7746">
                  <c:v>3.5491997999999998</c:v>
                </c:pt>
                <c:pt idx="7747">
                  <c:v>3.5493999000000001</c:v>
                </c:pt>
                <c:pt idx="7748">
                  <c:v>3.5495999</c:v>
                </c:pt>
                <c:pt idx="7749">
                  <c:v>3.5497999</c:v>
                </c:pt>
                <c:pt idx="7750">
                  <c:v>3.55</c:v>
                </c:pt>
                <c:pt idx="7751">
                  <c:v>3.5501999999999998</c:v>
                </c:pt>
                <c:pt idx="7752">
                  <c:v>3.5503999999999998</c:v>
                </c:pt>
                <c:pt idx="7753">
                  <c:v>3.5505998000000001</c:v>
                </c:pt>
                <c:pt idx="7754">
                  <c:v>3.5507998000000001</c:v>
                </c:pt>
                <c:pt idx="7755">
                  <c:v>3.5509998999999999</c:v>
                </c:pt>
                <c:pt idx="7756">
                  <c:v>3.5511998999999999</c:v>
                </c:pt>
                <c:pt idx="7757">
                  <c:v>3.5513998999999998</c:v>
                </c:pt>
                <c:pt idx="7758">
                  <c:v>3.5516000000000001</c:v>
                </c:pt>
                <c:pt idx="7759">
                  <c:v>3.5518000000000001</c:v>
                </c:pt>
                <c:pt idx="7760">
                  <c:v>3.5519997999999999</c:v>
                </c:pt>
                <c:pt idx="7761">
                  <c:v>3.5521997999999999</c:v>
                </c:pt>
                <c:pt idx="7762">
                  <c:v>3.5523999000000002</c:v>
                </c:pt>
                <c:pt idx="7763">
                  <c:v>3.5525999000000001</c:v>
                </c:pt>
                <c:pt idx="7764">
                  <c:v>3.5527999000000001</c:v>
                </c:pt>
                <c:pt idx="7765">
                  <c:v>3.5529997</c:v>
                </c:pt>
                <c:pt idx="7766">
                  <c:v>3.5531999999999999</c:v>
                </c:pt>
                <c:pt idx="7767">
                  <c:v>3.5533999999999999</c:v>
                </c:pt>
                <c:pt idx="7768">
                  <c:v>3.5535998000000002</c:v>
                </c:pt>
                <c:pt idx="7769">
                  <c:v>3.5537999</c:v>
                </c:pt>
                <c:pt idx="7770">
                  <c:v>3.5539996999999999</c:v>
                </c:pt>
                <c:pt idx="7771">
                  <c:v>3.5541999</c:v>
                </c:pt>
                <c:pt idx="7772">
                  <c:v>3.5543999999999998</c:v>
                </c:pt>
                <c:pt idx="7773">
                  <c:v>3.5545998000000001</c:v>
                </c:pt>
                <c:pt idx="7774">
                  <c:v>3.5548000000000002</c:v>
                </c:pt>
                <c:pt idx="7775">
                  <c:v>3.5550001</c:v>
                </c:pt>
                <c:pt idx="7776">
                  <c:v>3.5551998999999999</c:v>
                </c:pt>
                <c:pt idx="7777">
                  <c:v>3.5553998999999998</c:v>
                </c:pt>
                <c:pt idx="7778">
                  <c:v>3.5555997000000001</c:v>
                </c:pt>
                <c:pt idx="7779">
                  <c:v>3.5558000000000001</c:v>
                </c:pt>
                <c:pt idx="7780">
                  <c:v>3.556</c:v>
                </c:pt>
                <c:pt idx="7781">
                  <c:v>3.5561997999999999</c:v>
                </c:pt>
                <c:pt idx="7782">
                  <c:v>3.5564000999999998</c:v>
                </c:pt>
                <c:pt idx="7783">
                  <c:v>3.5565999000000001</c:v>
                </c:pt>
                <c:pt idx="7784">
                  <c:v>3.5567999000000001</c:v>
                </c:pt>
                <c:pt idx="7785">
                  <c:v>3.5569999000000001</c:v>
                </c:pt>
                <c:pt idx="7786">
                  <c:v>3.5571997</c:v>
                </c:pt>
                <c:pt idx="7787">
                  <c:v>3.5573999999999999</c:v>
                </c:pt>
                <c:pt idx="7788">
                  <c:v>3.5575998000000002</c:v>
                </c:pt>
                <c:pt idx="7789">
                  <c:v>3.5577998000000002</c:v>
                </c:pt>
                <c:pt idx="7790">
                  <c:v>3.5580001000000001</c:v>
                </c:pt>
                <c:pt idx="7791">
                  <c:v>3.5581999</c:v>
                </c:pt>
                <c:pt idx="7792">
                  <c:v>3.5583998999999999</c:v>
                </c:pt>
                <c:pt idx="7793">
                  <c:v>3.5585998999999999</c:v>
                </c:pt>
                <c:pt idx="7794">
                  <c:v>3.5587996999999998</c:v>
                </c:pt>
                <c:pt idx="7795">
                  <c:v>3.5590000000000002</c:v>
                </c:pt>
                <c:pt idx="7796">
                  <c:v>3.5591998</c:v>
                </c:pt>
                <c:pt idx="7797">
                  <c:v>3.5593998</c:v>
                </c:pt>
                <c:pt idx="7798">
                  <c:v>3.5596000999999999</c:v>
                </c:pt>
                <c:pt idx="7799">
                  <c:v>3.5597998999999998</c:v>
                </c:pt>
                <c:pt idx="7800">
                  <c:v>3.5599999000000002</c:v>
                </c:pt>
                <c:pt idx="7801">
                  <c:v>3.5601997000000001</c:v>
                </c:pt>
                <c:pt idx="7802">
                  <c:v>3.5603997999999999</c:v>
                </c:pt>
                <c:pt idx="7803">
                  <c:v>3.5606</c:v>
                </c:pt>
                <c:pt idx="7804">
                  <c:v>3.5607997999999998</c:v>
                </c:pt>
                <c:pt idx="7805">
                  <c:v>3.5609999000000001</c:v>
                </c:pt>
                <c:pt idx="7806">
                  <c:v>3.5612001000000002</c:v>
                </c:pt>
                <c:pt idx="7807">
                  <c:v>3.5613999000000001</c:v>
                </c:pt>
                <c:pt idx="7808">
                  <c:v>3.5615999999999999</c:v>
                </c:pt>
                <c:pt idx="7809">
                  <c:v>3.5617998000000002</c:v>
                </c:pt>
                <c:pt idx="7810">
                  <c:v>3.5619998000000002</c:v>
                </c:pt>
                <c:pt idx="7811">
                  <c:v>3.5622001000000001</c:v>
                </c:pt>
                <c:pt idx="7812">
                  <c:v>3.5623999</c:v>
                </c:pt>
                <c:pt idx="7813">
                  <c:v>3.5625998999999999</c:v>
                </c:pt>
                <c:pt idx="7814">
                  <c:v>3.5627998999999999</c:v>
                </c:pt>
                <c:pt idx="7815">
                  <c:v>3.5630000000000002</c:v>
                </c:pt>
                <c:pt idx="7816">
                  <c:v>3.5632000000000001</c:v>
                </c:pt>
                <c:pt idx="7817">
                  <c:v>3.5633998</c:v>
                </c:pt>
                <c:pt idx="7818">
                  <c:v>3.5635998</c:v>
                </c:pt>
                <c:pt idx="7819">
                  <c:v>3.5637998999999998</c:v>
                </c:pt>
                <c:pt idx="7820">
                  <c:v>3.5639999000000002</c:v>
                </c:pt>
                <c:pt idx="7821">
                  <c:v>3.5641999000000002</c:v>
                </c:pt>
                <c:pt idx="7822">
                  <c:v>3.5644</c:v>
                </c:pt>
                <c:pt idx="7823">
                  <c:v>3.5646</c:v>
                </c:pt>
                <c:pt idx="7824">
                  <c:v>3.5647997999999999</c:v>
                </c:pt>
                <c:pt idx="7825">
                  <c:v>3.5649997999999998</c:v>
                </c:pt>
                <c:pt idx="7826">
                  <c:v>3.5651999000000001</c:v>
                </c:pt>
                <c:pt idx="7827">
                  <c:v>3.5653999000000001</c:v>
                </c:pt>
                <c:pt idx="7828">
                  <c:v>3.5655999</c:v>
                </c:pt>
                <c:pt idx="7829">
                  <c:v>3.5657999999999999</c:v>
                </c:pt>
                <c:pt idx="7830">
                  <c:v>3.5659999999999998</c:v>
                </c:pt>
                <c:pt idx="7831">
                  <c:v>3.5661999999999998</c:v>
                </c:pt>
                <c:pt idx="7832">
                  <c:v>3.5663998000000001</c:v>
                </c:pt>
                <c:pt idx="7833">
                  <c:v>3.5665998000000001</c:v>
                </c:pt>
                <c:pt idx="7834">
                  <c:v>3.5667998999999999</c:v>
                </c:pt>
                <c:pt idx="7835">
                  <c:v>3.5669998999999999</c:v>
                </c:pt>
                <c:pt idx="7836">
                  <c:v>3.5671998999999999</c:v>
                </c:pt>
                <c:pt idx="7837">
                  <c:v>3.5673997000000002</c:v>
                </c:pt>
                <c:pt idx="7838">
                  <c:v>3.5676000000000001</c:v>
                </c:pt>
                <c:pt idx="7839">
                  <c:v>3.5678000000000001</c:v>
                </c:pt>
                <c:pt idx="7840">
                  <c:v>3.5679997999999999</c:v>
                </c:pt>
                <c:pt idx="7841">
                  <c:v>3.5681999000000002</c:v>
                </c:pt>
                <c:pt idx="7842">
                  <c:v>3.5683997000000001</c:v>
                </c:pt>
                <c:pt idx="7843">
                  <c:v>3.5685999000000002</c:v>
                </c:pt>
                <c:pt idx="7844">
                  <c:v>3.5688</c:v>
                </c:pt>
                <c:pt idx="7845">
                  <c:v>3.5689997999999998</c:v>
                </c:pt>
                <c:pt idx="7846">
                  <c:v>3.5691999999999999</c:v>
                </c:pt>
                <c:pt idx="7847">
                  <c:v>3.5694001000000002</c:v>
                </c:pt>
                <c:pt idx="7848">
                  <c:v>3.5695999</c:v>
                </c:pt>
                <c:pt idx="7849">
                  <c:v>3.5697999</c:v>
                </c:pt>
                <c:pt idx="7850">
                  <c:v>3.5699996999999999</c:v>
                </c:pt>
                <c:pt idx="7851">
                  <c:v>3.5701999999999998</c:v>
                </c:pt>
                <c:pt idx="7852">
                  <c:v>3.5703999999999998</c:v>
                </c:pt>
                <c:pt idx="7853">
                  <c:v>3.5705998000000001</c:v>
                </c:pt>
                <c:pt idx="7854">
                  <c:v>3.5708001</c:v>
                </c:pt>
                <c:pt idx="7855">
                  <c:v>3.5709998999999999</c:v>
                </c:pt>
                <c:pt idx="7856">
                  <c:v>3.5711998999999999</c:v>
                </c:pt>
                <c:pt idx="7857">
                  <c:v>3.5713998999999998</c:v>
                </c:pt>
                <c:pt idx="7858">
                  <c:v>3.5715997000000002</c:v>
                </c:pt>
                <c:pt idx="7859">
                  <c:v>3.5718000000000001</c:v>
                </c:pt>
                <c:pt idx="7860">
                  <c:v>3.5719997999999999</c:v>
                </c:pt>
                <c:pt idx="7861">
                  <c:v>3.5721997999999999</c:v>
                </c:pt>
                <c:pt idx="7862">
                  <c:v>3.5724000999999999</c:v>
                </c:pt>
                <c:pt idx="7863">
                  <c:v>3.5725999000000002</c:v>
                </c:pt>
                <c:pt idx="7864">
                  <c:v>3.5727999000000001</c:v>
                </c:pt>
                <c:pt idx="7865">
                  <c:v>3.5729997</c:v>
                </c:pt>
                <c:pt idx="7866">
                  <c:v>3.5731997</c:v>
                </c:pt>
                <c:pt idx="7867">
                  <c:v>3.5733999999999999</c:v>
                </c:pt>
                <c:pt idx="7868">
                  <c:v>3.5735998000000002</c:v>
                </c:pt>
                <c:pt idx="7869">
                  <c:v>3.5737998000000002</c:v>
                </c:pt>
                <c:pt idx="7870">
                  <c:v>3.5740001000000001</c:v>
                </c:pt>
                <c:pt idx="7871">
                  <c:v>3.5741999</c:v>
                </c:pt>
                <c:pt idx="7872">
                  <c:v>3.5743999</c:v>
                </c:pt>
                <c:pt idx="7873">
                  <c:v>3.5745996999999998</c:v>
                </c:pt>
                <c:pt idx="7874">
                  <c:v>3.5747998000000001</c:v>
                </c:pt>
                <c:pt idx="7875">
                  <c:v>3.5750000000000002</c:v>
                </c:pt>
                <c:pt idx="7876">
                  <c:v>3.5751998</c:v>
                </c:pt>
                <c:pt idx="7877">
                  <c:v>3.5753998999999999</c:v>
                </c:pt>
                <c:pt idx="7878">
                  <c:v>3.5755998999999998</c:v>
                </c:pt>
                <c:pt idx="7879">
                  <c:v>3.5757998999999998</c:v>
                </c:pt>
                <c:pt idx="7880">
                  <c:v>3.5760000000000001</c:v>
                </c:pt>
                <c:pt idx="7881">
                  <c:v>3.5761997999999999</c:v>
                </c:pt>
                <c:pt idx="7882">
                  <c:v>3.5763997999999999</c:v>
                </c:pt>
                <c:pt idx="7883">
                  <c:v>3.5766000999999998</c:v>
                </c:pt>
                <c:pt idx="7884">
                  <c:v>3.5767999000000001</c:v>
                </c:pt>
                <c:pt idx="7885">
                  <c:v>3.5769999000000001</c:v>
                </c:pt>
                <c:pt idx="7886">
                  <c:v>3.5771999000000001</c:v>
                </c:pt>
                <c:pt idx="7887">
                  <c:v>3.5773999999999999</c:v>
                </c:pt>
                <c:pt idx="7888">
                  <c:v>3.5775999999999999</c:v>
                </c:pt>
                <c:pt idx="7889">
                  <c:v>3.5777998000000002</c:v>
                </c:pt>
                <c:pt idx="7890">
                  <c:v>3.5779998000000002</c:v>
                </c:pt>
                <c:pt idx="7891">
                  <c:v>3.5781999</c:v>
                </c:pt>
                <c:pt idx="7892">
                  <c:v>3.5783999</c:v>
                </c:pt>
                <c:pt idx="7893">
                  <c:v>3.5785998999999999</c:v>
                </c:pt>
                <c:pt idx="7894">
                  <c:v>3.5788000000000002</c:v>
                </c:pt>
                <c:pt idx="7895">
                  <c:v>3.5790000000000002</c:v>
                </c:pt>
                <c:pt idx="7896">
                  <c:v>3.5791998</c:v>
                </c:pt>
                <c:pt idx="7897">
                  <c:v>3.5793998</c:v>
                </c:pt>
                <c:pt idx="7898">
                  <c:v>3.5795998999999998</c:v>
                </c:pt>
                <c:pt idx="7899">
                  <c:v>3.5797998999999998</c:v>
                </c:pt>
                <c:pt idx="7900">
                  <c:v>3.5799998999999998</c:v>
                </c:pt>
                <c:pt idx="7901">
                  <c:v>3.5801997000000001</c:v>
                </c:pt>
                <c:pt idx="7902">
                  <c:v>3.5804</c:v>
                </c:pt>
                <c:pt idx="7903">
                  <c:v>3.5806</c:v>
                </c:pt>
                <c:pt idx="7904">
                  <c:v>3.5807997999999999</c:v>
                </c:pt>
                <c:pt idx="7905">
                  <c:v>3.5809999000000001</c:v>
                </c:pt>
                <c:pt idx="7906">
                  <c:v>3.5811999000000001</c:v>
                </c:pt>
                <c:pt idx="7907">
                  <c:v>3.5813999000000001</c:v>
                </c:pt>
                <c:pt idx="7908">
                  <c:v>3.5815999999999999</c:v>
                </c:pt>
                <c:pt idx="7909">
                  <c:v>3.5817996999999999</c:v>
                </c:pt>
                <c:pt idx="7910">
                  <c:v>3.5819999999999999</c:v>
                </c:pt>
                <c:pt idx="7911">
                  <c:v>3.5822001000000001</c:v>
                </c:pt>
                <c:pt idx="7912">
                  <c:v>3.5823998000000001</c:v>
                </c:pt>
                <c:pt idx="7913">
                  <c:v>3.5825998999999999</c:v>
                </c:pt>
                <c:pt idx="7914">
                  <c:v>3.5827996999999998</c:v>
                </c:pt>
                <c:pt idx="7915">
                  <c:v>3.5829998999999999</c:v>
                </c:pt>
                <c:pt idx="7916">
                  <c:v>3.5832000000000002</c:v>
                </c:pt>
                <c:pt idx="7917">
                  <c:v>3.5833998</c:v>
                </c:pt>
                <c:pt idx="7918">
                  <c:v>3.5836000000000001</c:v>
                </c:pt>
                <c:pt idx="7919">
                  <c:v>3.5838000999999999</c:v>
                </c:pt>
                <c:pt idx="7920">
                  <c:v>3.5839998999999998</c:v>
                </c:pt>
                <c:pt idx="7921">
                  <c:v>3.5841999000000002</c:v>
                </c:pt>
                <c:pt idx="7922">
                  <c:v>3.5843997000000001</c:v>
                </c:pt>
                <c:pt idx="7923">
                  <c:v>3.5846</c:v>
                </c:pt>
                <c:pt idx="7924">
                  <c:v>3.5848</c:v>
                </c:pt>
                <c:pt idx="7925">
                  <c:v>3.5849997999999998</c:v>
                </c:pt>
                <c:pt idx="7926">
                  <c:v>3.5852000999999998</c:v>
                </c:pt>
                <c:pt idx="7927">
                  <c:v>3.5853999000000001</c:v>
                </c:pt>
                <c:pt idx="7928">
                  <c:v>3.5855999000000001</c:v>
                </c:pt>
                <c:pt idx="7929">
                  <c:v>3.5857999</c:v>
                </c:pt>
                <c:pt idx="7930">
                  <c:v>3.5859996999999999</c:v>
                </c:pt>
                <c:pt idx="7931">
                  <c:v>3.5861999999999998</c:v>
                </c:pt>
                <c:pt idx="7932">
                  <c:v>3.5863998000000001</c:v>
                </c:pt>
                <c:pt idx="7933">
                  <c:v>3.5865998000000001</c:v>
                </c:pt>
                <c:pt idx="7934">
                  <c:v>3.5868001</c:v>
                </c:pt>
                <c:pt idx="7935">
                  <c:v>3.5869998999999999</c:v>
                </c:pt>
                <c:pt idx="7936">
                  <c:v>3.5871998999999999</c:v>
                </c:pt>
                <c:pt idx="7937">
                  <c:v>3.5873997000000002</c:v>
                </c:pt>
                <c:pt idx="7938">
                  <c:v>3.5875998</c:v>
                </c:pt>
                <c:pt idx="7939">
                  <c:v>3.5878000000000001</c:v>
                </c:pt>
                <c:pt idx="7940">
                  <c:v>3.5879998</c:v>
                </c:pt>
                <c:pt idx="7941">
                  <c:v>3.5881999000000002</c:v>
                </c:pt>
                <c:pt idx="7942">
                  <c:v>3.5884000999999999</c:v>
                </c:pt>
                <c:pt idx="7943">
                  <c:v>3.5885999000000002</c:v>
                </c:pt>
                <c:pt idx="7944">
                  <c:v>3.5888</c:v>
                </c:pt>
                <c:pt idx="7945">
                  <c:v>3.5889997</c:v>
                </c:pt>
                <c:pt idx="7946">
                  <c:v>3.5891997999999998</c:v>
                </c:pt>
                <c:pt idx="7947">
                  <c:v>3.5894001000000002</c:v>
                </c:pt>
                <c:pt idx="7948">
                  <c:v>3.5895997999999998</c:v>
                </c:pt>
                <c:pt idx="7949">
                  <c:v>3.5897999</c:v>
                </c:pt>
                <c:pt idx="7950">
                  <c:v>3.5899999</c:v>
                </c:pt>
                <c:pt idx="7951">
                  <c:v>3.5901999</c:v>
                </c:pt>
                <c:pt idx="7952">
                  <c:v>3.5903999999999998</c:v>
                </c:pt>
                <c:pt idx="7953">
                  <c:v>3.5905998000000001</c:v>
                </c:pt>
                <c:pt idx="7954">
                  <c:v>3.5907998000000001</c:v>
                </c:pt>
                <c:pt idx="7955">
                  <c:v>3.5910001</c:v>
                </c:pt>
                <c:pt idx="7956">
                  <c:v>3.5911998999999999</c:v>
                </c:pt>
                <c:pt idx="7957">
                  <c:v>3.5913998999999999</c:v>
                </c:pt>
                <c:pt idx="7958">
                  <c:v>3.5915998999999998</c:v>
                </c:pt>
                <c:pt idx="7959">
                  <c:v>3.5918000000000001</c:v>
                </c:pt>
                <c:pt idx="7960">
                  <c:v>3.5920000000000001</c:v>
                </c:pt>
                <c:pt idx="7961">
                  <c:v>3.5921997999999999</c:v>
                </c:pt>
                <c:pt idx="7962">
                  <c:v>3.5923997999999999</c:v>
                </c:pt>
                <c:pt idx="7963">
                  <c:v>3.5925999000000002</c:v>
                </c:pt>
                <c:pt idx="7964">
                  <c:v>3.5927999000000002</c:v>
                </c:pt>
                <c:pt idx="7965">
                  <c:v>3.5929999000000001</c:v>
                </c:pt>
                <c:pt idx="7966">
                  <c:v>3.5931999999999999</c:v>
                </c:pt>
                <c:pt idx="7967">
                  <c:v>3.5933999999999999</c:v>
                </c:pt>
                <c:pt idx="7968">
                  <c:v>3.5935997999999998</c:v>
                </c:pt>
                <c:pt idx="7969">
                  <c:v>3.5937998000000002</c:v>
                </c:pt>
                <c:pt idx="7970">
                  <c:v>3.5939999</c:v>
                </c:pt>
                <c:pt idx="7971">
                  <c:v>3.5941999</c:v>
                </c:pt>
                <c:pt idx="7972">
                  <c:v>3.5943999</c:v>
                </c:pt>
                <c:pt idx="7973">
                  <c:v>3.5945996999999998</c:v>
                </c:pt>
                <c:pt idx="7974">
                  <c:v>3.5948000000000002</c:v>
                </c:pt>
                <c:pt idx="7975">
                  <c:v>3.5950000000000002</c:v>
                </c:pt>
                <c:pt idx="7976">
                  <c:v>3.5951998000000001</c:v>
                </c:pt>
                <c:pt idx="7977">
                  <c:v>3.5953998999999999</c:v>
                </c:pt>
                <c:pt idx="7978">
                  <c:v>3.5955997000000002</c:v>
                </c:pt>
                <c:pt idx="7979">
                  <c:v>3.5957998999999998</c:v>
                </c:pt>
                <c:pt idx="7980">
                  <c:v>3.5960000000000001</c:v>
                </c:pt>
                <c:pt idx="7981">
                  <c:v>3.5961997999999999</c:v>
                </c:pt>
                <c:pt idx="7982">
                  <c:v>3.5964</c:v>
                </c:pt>
                <c:pt idx="7983">
                  <c:v>3.5966000999999999</c:v>
                </c:pt>
                <c:pt idx="7984">
                  <c:v>3.5967999000000002</c:v>
                </c:pt>
                <c:pt idx="7985">
                  <c:v>3.5969999000000001</c:v>
                </c:pt>
                <c:pt idx="7986">
                  <c:v>3.5971997</c:v>
                </c:pt>
                <c:pt idx="7987">
                  <c:v>3.5973999999999999</c:v>
                </c:pt>
                <c:pt idx="7988">
                  <c:v>3.5975999999999999</c:v>
                </c:pt>
                <c:pt idx="7989">
                  <c:v>3.5977998000000002</c:v>
                </c:pt>
                <c:pt idx="7990">
                  <c:v>3.5979999999999999</c:v>
                </c:pt>
                <c:pt idx="7991">
                  <c:v>3.5981998000000002</c:v>
                </c:pt>
                <c:pt idx="7992">
                  <c:v>3.5983999</c:v>
                </c:pt>
                <c:pt idx="7993">
                  <c:v>3.5985999</c:v>
                </c:pt>
                <c:pt idx="7994">
                  <c:v>3.5987996999999998</c:v>
                </c:pt>
                <c:pt idx="7995">
                  <c:v>3.5990000000000002</c:v>
                </c:pt>
                <c:pt idx="7996">
                  <c:v>3.5992000000000002</c:v>
                </c:pt>
                <c:pt idx="7997">
                  <c:v>3.5993998</c:v>
                </c:pt>
                <c:pt idx="7998">
                  <c:v>3.5996001</c:v>
                </c:pt>
                <c:pt idx="7999">
                  <c:v>3.5997998999999998</c:v>
                </c:pt>
                <c:pt idx="8000">
                  <c:v>3.5999998999999998</c:v>
                </c:pt>
                <c:pt idx="8001">
                  <c:v>3.6001998999999998</c:v>
                </c:pt>
                <c:pt idx="8002">
                  <c:v>3.6003997000000001</c:v>
                </c:pt>
                <c:pt idx="8003">
                  <c:v>3.6006</c:v>
                </c:pt>
                <c:pt idx="8004">
                  <c:v>3.6007997999999999</c:v>
                </c:pt>
                <c:pt idx="8005">
                  <c:v>3.6009997999999999</c:v>
                </c:pt>
                <c:pt idx="8006">
                  <c:v>3.6012000999999998</c:v>
                </c:pt>
                <c:pt idx="8007">
                  <c:v>3.6013999000000001</c:v>
                </c:pt>
                <c:pt idx="8008">
                  <c:v>3.6015999000000001</c:v>
                </c:pt>
                <c:pt idx="8009">
                  <c:v>3.6017996999999999</c:v>
                </c:pt>
                <c:pt idx="8010">
                  <c:v>3.6019998000000002</c:v>
                </c:pt>
                <c:pt idx="8011">
                  <c:v>3.6021999999999998</c:v>
                </c:pt>
                <c:pt idx="8012">
                  <c:v>3.6023998000000002</c:v>
                </c:pt>
                <c:pt idx="8013">
                  <c:v>3.6025999</c:v>
                </c:pt>
                <c:pt idx="8014">
                  <c:v>3.6028001000000001</c:v>
                </c:pt>
                <c:pt idx="8015">
                  <c:v>3.6029998999999999</c:v>
                </c:pt>
                <c:pt idx="8016">
                  <c:v>3.6032000000000002</c:v>
                </c:pt>
                <c:pt idx="8017">
                  <c:v>3.6033998</c:v>
                </c:pt>
                <c:pt idx="8018">
                  <c:v>3.6035998</c:v>
                </c:pt>
                <c:pt idx="8019">
                  <c:v>3.6038001</c:v>
                </c:pt>
                <c:pt idx="8020">
                  <c:v>3.6039998999999998</c:v>
                </c:pt>
                <c:pt idx="8021">
                  <c:v>3.6041998999999998</c:v>
                </c:pt>
                <c:pt idx="8022">
                  <c:v>3.6043999000000002</c:v>
                </c:pt>
                <c:pt idx="8023">
                  <c:v>3.6046</c:v>
                </c:pt>
                <c:pt idx="8024">
                  <c:v>3.6048</c:v>
                </c:pt>
                <c:pt idx="8025">
                  <c:v>3.6049997999999999</c:v>
                </c:pt>
                <c:pt idx="8026">
                  <c:v>3.6051997999999998</c:v>
                </c:pt>
                <c:pt idx="8027">
                  <c:v>3.6053997999999998</c:v>
                </c:pt>
                <c:pt idx="8028">
                  <c:v>3.6055999000000001</c:v>
                </c:pt>
                <c:pt idx="8029">
                  <c:v>3.6057999000000001</c:v>
                </c:pt>
                <c:pt idx="8030">
                  <c:v>3.6059999</c:v>
                </c:pt>
                <c:pt idx="8031">
                  <c:v>3.6061999999999999</c:v>
                </c:pt>
                <c:pt idx="8032">
                  <c:v>3.6063999999999998</c:v>
                </c:pt>
                <c:pt idx="8033">
                  <c:v>3.6065998000000001</c:v>
                </c:pt>
                <c:pt idx="8034">
                  <c:v>3.6067998000000001</c:v>
                </c:pt>
                <c:pt idx="8035">
                  <c:v>3.6069998999999999</c:v>
                </c:pt>
                <c:pt idx="8036">
                  <c:v>3.6071998999999999</c:v>
                </c:pt>
                <c:pt idx="8037">
                  <c:v>3.6073998999999999</c:v>
                </c:pt>
                <c:pt idx="8038">
                  <c:v>3.6076000000000001</c:v>
                </c:pt>
                <c:pt idx="8039">
                  <c:v>3.6078000000000001</c:v>
                </c:pt>
                <c:pt idx="8040">
                  <c:v>3.6079998</c:v>
                </c:pt>
                <c:pt idx="8041">
                  <c:v>3.6081998</c:v>
                </c:pt>
                <c:pt idx="8042">
                  <c:v>3.6083999000000002</c:v>
                </c:pt>
                <c:pt idx="8043">
                  <c:v>3.6085999000000002</c:v>
                </c:pt>
                <c:pt idx="8044">
                  <c:v>3.6087999000000002</c:v>
                </c:pt>
                <c:pt idx="8045">
                  <c:v>3.6089997</c:v>
                </c:pt>
                <c:pt idx="8046">
                  <c:v>3.6092</c:v>
                </c:pt>
                <c:pt idx="8047">
                  <c:v>3.6093999999999999</c:v>
                </c:pt>
                <c:pt idx="8048">
                  <c:v>3.6095997999999998</c:v>
                </c:pt>
                <c:pt idx="8049">
                  <c:v>3.6097999000000001</c:v>
                </c:pt>
                <c:pt idx="8050">
                  <c:v>3.6099996999999999</c:v>
                </c:pt>
                <c:pt idx="8051">
                  <c:v>3.6101999</c:v>
                </c:pt>
                <c:pt idx="8052">
                  <c:v>3.6103999999999998</c:v>
                </c:pt>
                <c:pt idx="8053">
                  <c:v>3.6105998000000001</c:v>
                </c:pt>
                <c:pt idx="8054">
                  <c:v>3.6107999999999998</c:v>
                </c:pt>
                <c:pt idx="8055">
                  <c:v>3.6110001</c:v>
                </c:pt>
                <c:pt idx="8056">
                  <c:v>3.6111998999999999</c:v>
                </c:pt>
                <c:pt idx="8057">
                  <c:v>3.6113998999999999</c:v>
                </c:pt>
                <c:pt idx="8058">
                  <c:v>3.6115997000000002</c:v>
                </c:pt>
                <c:pt idx="8059">
                  <c:v>3.6118000000000001</c:v>
                </c:pt>
                <c:pt idx="8060">
                  <c:v>3.6120000000000001</c:v>
                </c:pt>
                <c:pt idx="8061">
                  <c:v>3.6121998</c:v>
                </c:pt>
                <c:pt idx="8062">
                  <c:v>3.6124000999999999</c:v>
                </c:pt>
                <c:pt idx="8063">
                  <c:v>3.6125997999999999</c:v>
                </c:pt>
                <c:pt idx="8064">
                  <c:v>3.6127999000000002</c:v>
                </c:pt>
                <c:pt idx="8065">
                  <c:v>3.6129999000000002</c:v>
                </c:pt>
                <c:pt idx="8066">
                  <c:v>3.6131997</c:v>
                </c:pt>
                <c:pt idx="8067">
                  <c:v>3.6133999999999999</c:v>
                </c:pt>
                <c:pt idx="8068">
                  <c:v>3.6135999999999999</c:v>
                </c:pt>
                <c:pt idx="8069">
                  <c:v>3.6137997999999998</c:v>
                </c:pt>
                <c:pt idx="8070">
                  <c:v>3.6140001000000002</c:v>
                </c:pt>
                <c:pt idx="8071">
                  <c:v>3.6141999</c:v>
                </c:pt>
                <c:pt idx="8072">
                  <c:v>3.6143999</c:v>
                </c:pt>
                <c:pt idx="8073">
                  <c:v>3.6145999</c:v>
                </c:pt>
                <c:pt idx="8074">
                  <c:v>3.6147996999999998</c:v>
                </c:pt>
                <c:pt idx="8075">
                  <c:v>3.6150000000000002</c:v>
                </c:pt>
                <c:pt idx="8076">
                  <c:v>3.6151998000000001</c:v>
                </c:pt>
                <c:pt idx="8077">
                  <c:v>3.6153998000000001</c:v>
                </c:pt>
                <c:pt idx="8078">
                  <c:v>3.6156001</c:v>
                </c:pt>
                <c:pt idx="8079">
                  <c:v>3.6157998999999998</c:v>
                </c:pt>
                <c:pt idx="8080">
                  <c:v>3.6159998999999998</c:v>
                </c:pt>
                <c:pt idx="8081">
                  <c:v>3.6161997000000001</c:v>
                </c:pt>
                <c:pt idx="8082">
                  <c:v>3.6163997999999999</c:v>
                </c:pt>
                <c:pt idx="8083">
                  <c:v>3.6166</c:v>
                </c:pt>
                <c:pt idx="8084">
                  <c:v>3.6167997999999999</c:v>
                </c:pt>
                <c:pt idx="8085">
                  <c:v>3.6169999000000002</c:v>
                </c:pt>
                <c:pt idx="8086">
                  <c:v>3.6172000999999998</c:v>
                </c:pt>
                <c:pt idx="8087">
                  <c:v>3.6173999000000001</c:v>
                </c:pt>
                <c:pt idx="8088">
                  <c:v>3.6175999999999999</c:v>
                </c:pt>
                <c:pt idx="8089">
                  <c:v>3.6177997999999998</c:v>
                </c:pt>
                <c:pt idx="8090">
                  <c:v>3.6179998000000002</c:v>
                </c:pt>
                <c:pt idx="8091">
                  <c:v>3.6182001000000001</c:v>
                </c:pt>
                <c:pt idx="8092">
                  <c:v>3.6183999</c:v>
                </c:pt>
                <c:pt idx="8093">
                  <c:v>3.6185999</c:v>
                </c:pt>
                <c:pt idx="8094">
                  <c:v>3.6187999</c:v>
                </c:pt>
                <c:pt idx="8095">
                  <c:v>3.6190000000000002</c:v>
                </c:pt>
                <c:pt idx="8096">
                  <c:v>3.6192000000000002</c:v>
                </c:pt>
                <c:pt idx="8097">
                  <c:v>3.6193998000000001</c:v>
                </c:pt>
                <c:pt idx="8098">
                  <c:v>3.6195998</c:v>
                </c:pt>
                <c:pt idx="8099">
                  <c:v>3.6197998999999998</c:v>
                </c:pt>
                <c:pt idx="8100">
                  <c:v>3.6199998999999998</c:v>
                </c:pt>
                <c:pt idx="8101">
                  <c:v>3.6201998999999998</c:v>
                </c:pt>
                <c:pt idx="8102">
                  <c:v>3.6204000000000001</c:v>
                </c:pt>
                <c:pt idx="8103">
                  <c:v>3.6206</c:v>
                </c:pt>
                <c:pt idx="8104">
                  <c:v>3.6207997999999999</c:v>
                </c:pt>
                <c:pt idx="8105">
                  <c:v>3.6209997999999999</c:v>
                </c:pt>
                <c:pt idx="8106">
                  <c:v>3.6211997999999999</c:v>
                </c:pt>
                <c:pt idx="8107">
                  <c:v>3.6213999000000001</c:v>
                </c:pt>
                <c:pt idx="8108">
                  <c:v>3.6215999000000001</c:v>
                </c:pt>
                <c:pt idx="8109">
                  <c:v>3.6217999000000001</c:v>
                </c:pt>
                <c:pt idx="8110">
                  <c:v>3.6219999999999999</c:v>
                </c:pt>
                <c:pt idx="8111">
                  <c:v>3.6221999999999999</c:v>
                </c:pt>
                <c:pt idx="8112">
                  <c:v>3.6223998000000002</c:v>
                </c:pt>
                <c:pt idx="8113">
                  <c:v>3.6225998000000001</c:v>
                </c:pt>
                <c:pt idx="8114">
                  <c:v>3.6227999</c:v>
                </c:pt>
                <c:pt idx="8115">
                  <c:v>3.6229998999999999</c:v>
                </c:pt>
                <c:pt idx="8116">
                  <c:v>3.6231998999999999</c:v>
                </c:pt>
                <c:pt idx="8117">
                  <c:v>3.6233996999999998</c:v>
                </c:pt>
                <c:pt idx="8118">
                  <c:v>3.6236000000000002</c:v>
                </c:pt>
                <c:pt idx="8119">
                  <c:v>3.6238000000000001</c:v>
                </c:pt>
                <c:pt idx="8120">
                  <c:v>3.6239998</c:v>
                </c:pt>
                <c:pt idx="8121">
                  <c:v>3.6241998999999998</c:v>
                </c:pt>
                <c:pt idx="8122">
                  <c:v>3.6243997000000001</c:v>
                </c:pt>
                <c:pt idx="8123">
                  <c:v>3.6245999000000002</c:v>
                </c:pt>
                <c:pt idx="8124">
                  <c:v>3.6248</c:v>
                </c:pt>
                <c:pt idx="8125">
                  <c:v>3.6249997999999999</c:v>
                </c:pt>
                <c:pt idx="8126">
                  <c:v>3.6252</c:v>
                </c:pt>
                <c:pt idx="8127">
                  <c:v>3.6254000999999998</c:v>
                </c:pt>
                <c:pt idx="8128">
                  <c:v>3.6255999000000001</c:v>
                </c:pt>
                <c:pt idx="8129">
                  <c:v>3.6257999000000001</c:v>
                </c:pt>
                <c:pt idx="8130">
                  <c:v>3.6259996999999999</c:v>
                </c:pt>
                <c:pt idx="8131">
                  <c:v>3.6261999999999999</c:v>
                </c:pt>
                <c:pt idx="8132">
                  <c:v>3.6263999999999998</c:v>
                </c:pt>
                <c:pt idx="8133">
                  <c:v>3.6265998000000002</c:v>
                </c:pt>
                <c:pt idx="8134">
                  <c:v>3.6268001000000001</c:v>
                </c:pt>
                <c:pt idx="8135">
                  <c:v>3.6269998999999999</c:v>
                </c:pt>
                <c:pt idx="8136">
                  <c:v>3.6271998999999999</c:v>
                </c:pt>
                <c:pt idx="8137">
                  <c:v>3.6273998999999999</c:v>
                </c:pt>
                <c:pt idx="8138">
                  <c:v>3.6275997000000002</c:v>
                </c:pt>
                <c:pt idx="8139">
                  <c:v>3.6278000000000001</c:v>
                </c:pt>
                <c:pt idx="8140">
                  <c:v>3.6279998</c:v>
                </c:pt>
                <c:pt idx="8141">
                  <c:v>3.6281998</c:v>
                </c:pt>
                <c:pt idx="8142">
                  <c:v>3.6284000999999999</c:v>
                </c:pt>
                <c:pt idx="8143">
                  <c:v>3.6285999000000002</c:v>
                </c:pt>
                <c:pt idx="8144">
                  <c:v>3.6287999000000002</c:v>
                </c:pt>
                <c:pt idx="8145">
                  <c:v>3.6289999000000002</c:v>
                </c:pt>
                <c:pt idx="8146">
                  <c:v>3.6291997</c:v>
                </c:pt>
                <c:pt idx="8147">
                  <c:v>3.6294</c:v>
                </c:pt>
                <c:pt idx="8148">
                  <c:v>3.6295997999999998</c:v>
                </c:pt>
                <c:pt idx="8149">
                  <c:v>3.6297997999999998</c:v>
                </c:pt>
                <c:pt idx="8150">
                  <c:v>3.6300001000000002</c:v>
                </c:pt>
                <c:pt idx="8151">
                  <c:v>3.6301999</c:v>
                </c:pt>
                <c:pt idx="8152">
                  <c:v>3.6303999</c:v>
                </c:pt>
                <c:pt idx="8153">
                  <c:v>3.6305996999999999</c:v>
                </c:pt>
                <c:pt idx="8154">
                  <c:v>3.6307998000000001</c:v>
                </c:pt>
                <c:pt idx="8155">
                  <c:v>3.6309999999999998</c:v>
                </c:pt>
                <c:pt idx="8156">
                  <c:v>3.6311998000000001</c:v>
                </c:pt>
                <c:pt idx="8157">
                  <c:v>3.6313998999999999</c:v>
                </c:pt>
                <c:pt idx="8158">
                  <c:v>3.6316001</c:v>
                </c:pt>
                <c:pt idx="8159">
                  <c:v>3.6317998999999999</c:v>
                </c:pt>
                <c:pt idx="8160">
                  <c:v>3.6320000000000001</c:v>
                </c:pt>
                <c:pt idx="8161">
                  <c:v>3.6321998</c:v>
                </c:pt>
                <c:pt idx="8162">
                  <c:v>3.6323998</c:v>
                </c:pt>
                <c:pt idx="8163">
                  <c:v>3.6326000999999999</c:v>
                </c:pt>
                <c:pt idx="8164">
                  <c:v>3.6327999000000002</c:v>
                </c:pt>
                <c:pt idx="8165">
                  <c:v>3.6329999000000002</c:v>
                </c:pt>
                <c:pt idx="8166">
                  <c:v>3.6331999000000001</c:v>
                </c:pt>
                <c:pt idx="8167">
                  <c:v>3.6334</c:v>
                </c:pt>
                <c:pt idx="8168">
                  <c:v>3.6335999999999999</c:v>
                </c:pt>
                <c:pt idx="8169">
                  <c:v>3.6337997999999998</c:v>
                </c:pt>
                <c:pt idx="8170">
                  <c:v>3.6339997999999998</c:v>
                </c:pt>
                <c:pt idx="8171">
                  <c:v>3.6341999</c:v>
                </c:pt>
                <c:pt idx="8172">
                  <c:v>3.6343999</c:v>
                </c:pt>
                <c:pt idx="8173">
                  <c:v>3.6345999</c:v>
                </c:pt>
                <c:pt idx="8174">
                  <c:v>3.6347999999999998</c:v>
                </c:pt>
                <c:pt idx="8175">
                  <c:v>3.6349999999999998</c:v>
                </c:pt>
                <c:pt idx="8176">
                  <c:v>3.6351998000000001</c:v>
                </c:pt>
                <c:pt idx="8177">
                  <c:v>3.6353998000000001</c:v>
                </c:pt>
                <c:pt idx="8178">
                  <c:v>3.6355998999999999</c:v>
                </c:pt>
                <c:pt idx="8179">
                  <c:v>3.6357998999999999</c:v>
                </c:pt>
                <c:pt idx="8180">
                  <c:v>3.6359998999999998</c:v>
                </c:pt>
                <c:pt idx="8181">
                  <c:v>3.6362000000000001</c:v>
                </c:pt>
                <c:pt idx="8182">
                  <c:v>3.6364000000000001</c:v>
                </c:pt>
                <c:pt idx="8183">
                  <c:v>3.6366000000000001</c:v>
                </c:pt>
                <c:pt idx="8184">
                  <c:v>3.6367997999999999</c:v>
                </c:pt>
                <c:pt idx="8185">
                  <c:v>3.6369997999999999</c:v>
                </c:pt>
                <c:pt idx="8186">
                  <c:v>3.6371999000000002</c:v>
                </c:pt>
                <c:pt idx="8187">
                  <c:v>3.6373999000000001</c:v>
                </c:pt>
                <c:pt idx="8188">
                  <c:v>3.6375999000000001</c:v>
                </c:pt>
                <c:pt idx="8189">
                  <c:v>3.6377997</c:v>
                </c:pt>
                <c:pt idx="8190">
                  <c:v>3.6379999999999999</c:v>
                </c:pt>
                <c:pt idx="8191">
                  <c:v>3.6381999999999999</c:v>
                </c:pt>
                <c:pt idx="8192">
                  <c:v>3.6383998000000002</c:v>
                </c:pt>
                <c:pt idx="8193">
                  <c:v>3.6385999</c:v>
                </c:pt>
                <c:pt idx="8194">
                  <c:v>3.6387996999999999</c:v>
                </c:pt>
                <c:pt idx="8195">
                  <c:v>3.6389999</c:v>
                </c:pt>
                <c:pt idx="8196">
                  <c:v>3.6392000000000002</c:v>
                </c:pt>
                <c:pt idx="8197">
                  <c:v>3.6393998000000001</c:v>
                </c:pt>
                <c:pt idx="8198">
                  <c:v>3.6396000000000002</c:v>
                </c:pt>
                <c:pt idx="8199">
                  <c:v>3.6398001</c:v>
                </c:pt>
                <c:pt idx="8200">
                  <c:v>3.6399998999999998</c:v>
                </c:pt>
                <c:pt idx="8201">
                  <c:v>3.6401998999999998</c:v>
                </c:pt>
                <c:pt idx="8202">
                  <c:v>3.6403997000000001</c:v>
                </c:pt>
                <c:pt idx="8203">
                  <c:v>3.6406000000000001</c:v>
                </c:pt>
                <c:pt idx="8204">
                  <c:v>3.6408</c:v>
                </c:pt>
                <c:pt idx="8205">
                  <c:v>3.6409997999999999</c:v>
                </c:pt>
                <c:pt idx="8206">
                  <c:v>3.6412000999999998</c:v>
                </c:pt>
                <c:pt idx="8207">
                  <c:v>3.6413999000000001</c:v>
                </c:pt>
                <c:pt idx="8208">
                  <c:v>3.6415999000000001</c:v>
                </c:pt>
                <c:pt idx="8209">
                  <c:v>3.6417999000000001</c:v>
                </c:pt>
                <c:pt idx="8210">
                  <c:v>3.6419997</c:v>
                </c:pt>
                <c:pt idx="8211">
                  <c:v>3.6421999999999999</c:v>
                </c:pt>
                <c:pt idx="8212">
                  <c:v>3.6423998000000002</c:v>
                </c:pt>
                <c:pt idx="8213">
                  <c:v>3.6425998000000002</c:v>
                </c:pt>
                <c:pt idx="8214">
                  <c:v>3.6428001000000001</c:v>
                </c:pt>
                <c:pt idx="8215">
                  <c:v>3.6429999</c:v>
                </c:pt>
                <c:pt idx="8216">
                  <c:v>3.6431998999999999</c:v>
                </c:pt>
                <c:pt idx="8217">
                  <c:v>3.6433996999999998</c:v>
                </c:pt>
                <c:pt idx="8218">
                  <c:v>3.6435997000000002</c:v>
                </c:pt>
                <c:pt idx="8219">
                  <c:v>3.6438000000000001</c:v>
                </c:pt>
                <c:pt idx="8220">
                  <c:v>3.6439998</c:v>
                </c:pt>
                <c:pt idx="8221">
                  <c:v>3.6441998</c:v>
                </c:pt>
                <c:pt idx="8222">
                  <c:v>3.6444000999999999</c:v>
                </c:pt>
                <c:pt idx="8223">
                  <c:v>3.6445998999999998</c:v>
                </c:pt>
                <c:pt idx="8224">
                  <c:v>3.6447999000000002</c:v>
                </c:pt>
                <c:pt idx="8225">
                  <c:v>3.6449997000000001</c:v>
                </c:pt>
                <c:pt idx="8226">
                  <c:v>3.6451997999999999</c:v>
                </c:pt>
                <c:pt idx="8227">
                  <c:v>3.6454</c:v>
                </c:pt>
                <c:pt idx="8228">
                  <c:v>3.6455997999999998</c:v>
                </c:pt>
                <c:pt idx="8229">
                  <c:v>3.6457999000000001</c:v>
                </c:pt>
                <c:pt idx="8230">
                  <c:v>3.6459999000000001</c:v>
                </c:pt>
                <c:pt idx="8231">
                  <c:v>3.6461999</c:v>
                </c:pt>
                <c:pt idx="8232">
                  <c:v>3.6463999999999999</c:v>
                </c:pt>
                <c:pt idx="8233">
                  <c:v>3.6465998000000002</c:v>
                </c:pt>
                <c:pt idx="8234">
                  <c:v>3.6467998000000001</c:v>
                </c:pt>
                <c:pt idx="8235">
                  <c:v>3.6470001000000001</c:v>
                </c:pt>
                <c:pt idx="8236">
                  <c:v>3.6471998999999999</c:v>
                </c:pt>
                <c:pt idx="8237">
                  <c:v>3.6473998999999999</c:v>
                </c:pt>
                <c:pt idx="8238">
                  <c:v>3.6475998999999999</c:v>
                </c:pt>
                <c:pt idx="8239">
                  <c:v>3.6478000000000002</c:v>
                </c:pt>
                <c:pt idx="8240">
                  <c:v>3.6480000000000001</c:v>
                </c:pt>
                <c:pt idx="8241">
                  <c:v>3.6481998</c:v>
                </c:pt>
                <c:pt idx="8242">
                  <c:v>3.6483998</c:v>
                </c:pt>
                <c:pt idx="8243">
                  <c:v>3.6485998999999998</c:v>
                </c:pt>
                <c:pt idx="8244">
                  <c:v>3.6487999000000002</c:v>
                </c:pt>
                <c:pt idx="8245">
                  <c:v>3.6489999000000002</c:v>
                </c:pt>
                <c:pt idx="8246">
                  <c:v>3.6492</c:v>
                </c:pt>
                <c:pt idx="8247">
                  <c:v>3.6494</c:v>
                </c:pt>
                <c:pt idx="8248">
                  <c:v>3.6495997999999998</c:v>
                </c:pt>
                <c:pt idx="8249">
                  <c:v>3.6497997999999998</c:v>
                </c:pt>
                <c:pt idx="8250">
                  <c:v>3.6499999000000001</c:v>
                </c:pt>
                <c:pt idx="8251">
                  <c:v>3.6501999000000001</c:v>
                </c:pt>
                <c:pt idx="8252">
                  <c:v>3.6503999</c:v>
                </c:pt>
                <c:pt idx="8253">
                  <c:v>3.6505996999999999</c:v>
                </c:pt>
                <c:pt idx="8254">
                  <c:v>3.6507999999999998</c:v>
                </c:pt>
                <c:pt idx="8255">
                  <c:v>3.6509999999999998</c:v>
                </c:pt>
                <c:pt idx="8256">
                  <c:v>3.6511998000000001</c:v>
                </c:pt>
                <c:pt idx="8257">
                  <c:v>3.6513998999999999</c:v>
                </c:pt>
                <c:pt idx="8258">
                  <c:v>3.6515998999999999</c:v>
                </c:pt>
                <c:pt idx="8259">
                  <c:v>3.6517998999999999</c:v>
                </c:pt>
                <c:pt idx="8260">
                  <c:v>3.6520000000000001</c:v>
                </c:pt>
                <c:pt idx="8261">
                  <c:v>3.6521997000000002</c:v>
                </c:pt>
                <c:pt idx="8262">
                  <c:v>3.6524000000000001</c:v>
                </c:pt>
                <c:pt idx="8263">
                  <c:v>3.6526000000000001</c:v>
                </c:pt>
                <c:pt idx="8264">
                  <c:v>3.6527997999999999</c:v>
                </c:pt>
                <c:pt idx="8265">
                  <c:v>3.6529999000000002</c:v>
                </c:pt>
                <c:pt idx="8266">
                  <c:v>3.6531997</c:v>
                </c:pt>
                <c:pt idx="8267">
                  <c:v>3.6533999000000001</c:v>
                </c:pt>
                <c:pt idx="8268">
                  <c:v>3.6536</c:v>
                </c:pt>
                <c:pt idx="8269">
                  <c:v>3.6537997999999998</c:v>
                </c:pt>
                <c:pt idx="8270">
                  <c:v>3.6539999999999999</c:v>
                </c:pt>
                <c:pt idx="8271">
                  <c:v>3.6542001000000002</c:v>
                </c:pt>
                <c:pt idx="8272">
                  <c:v>3.6543999</c:v>
                </c:pt>
                <c:pt idx="8273">
                  <c:v>3.6545999</c:v>
                </c:pt>
                <c:pt idx="8274">
                  <c:v>3.6547996999999999</c:v>
                </c:pt>
                <c:pt idx="8275">
                  <c:v>3.6549999999999998</c:v>
                </c:pt>
                <c:pt idx="8276">
                  <c:v>3.6551999999999998</c:v>
                </c:pt>
                <c:pt idx="8277">
                  <c:v>3.6553998000000001</c:v>
                </c:pt>
                <c:pt idx="8278">
                  <c:v>3.6556001</c:v>
                </c:pt>
                <c:pt idx="8279">
                  <c:v>3.6557998999999999</c:v>
                </c:pt>
                <c:pt idx="8280">
                  <c:v>3.6559998999999999</c:v>
                </c:pt>
                <c:pt idx="8281">
                  <c:v>3.6561998999999998</c:v>
                </c:pt>
                <c:pt idx="8282">
                  <c:v>3.6563997000000001</c:v>
                </c:pt>
                <c:pt idx="8283">
                  <c:v>3.6566000000000001</c:v>
                </c:pt>
                <c:pt idx="8284">
                  <c:v>3.6567997999999999</c:v>
                </c:pt>
                <c:pt idx="8285">
                  <c:v>3.6569997999999999</c:v>
                </c:pt>
                <c:pt idx="8286">
                  <c:v>3.6572000999999998</c:v>
                </c:pt>
                <c:pt idx="8287">
                  <c:v>3.6573999000000001</c:v>
                </c:pt>
                <c:pt idx="8288">
                  <c:v>3.6575999000000001</c:v>
                </c:pt>
                <c:pt idx="8289">
                  <c:v>3.6577997</c:v>
                </c:pt>
                <c:pt idx="8290">
                  <c:v>3.6579997999999998</c:v>
                </c:pt>
                <c:pt idx="8291">
                  <c:v>3.6581999999999999</c:v>
                </c:pt>
                <c:pt idx="8292">
                  <c:v>3.6583998000000002</c:v>
                </c:pt>
                <c:pt idx="8293">
                  <c:v>3.6585999</c:v>
                </c:pt>
                <c:pt idx="8294">
                  <c:v>3.6588001000000001</c:v>
                </c:pt>
                <c:pt idx="8295">
                  <c:v>3.6589999</c:v>
                </c:pt>
                <c:pt idx="8296">
                  <c:v>3.6591999999999998</c:v>
                </c:pt>
                <c:pt idx="8297">
                  <c:v>3.6593996999999998</c:v>
                </c:pt>
                <c:pt idx="8298">
                  <c:v>3.6595998000000001</c:v>
                </c:pt>
                <c:pt idx="8299">
                  <c:v>3.6598001</c:v>
                </c:pt>
                <c:pt idx="8300">
                  <c:v>3.6599998</c:v>
                </c:pt>
                <c:pt idx="8301">
                  <c:v>3.6601998999999998</c:v>
                </c:pt>
                <c:pt idx="8302">
                  <c:v>3.6603998999999998</c:v>
                </c:pt>
                <c:pt idx="8303">
                  <c:v>3.6605998999999998</c:v>
                </c:pt>
                <c:pt idx="8304">
                  <c:v>3.6608000000000001</c:v>
                </c:pt>
                <c:pt idx="8305">
                  <c:v>3.6609997999999999</c:v>
                </c:pt>
                <c:pt idx="8306">
                  <c:v>3.6611997999999999</c:v>
                </c:pt>
                <c:pt idx="8307">
                  <c:v>3.6613997999999999</c:v>
                </c:pt>
                <c:pt idx="8308">
                  <c:v>3.6615999000000001</c:v>
                </c:pt>
                <c:pt idx="8309">
                  <c:v>3.6617999000000001</c:v>
                </c:pt>
                <c:pt idx="8310">
                  <c:v>3.6619999000000001</c:v>
                </c:pt>
                <c:pt idx="8311">
                  <c:v>3.6621999999999999</c:v>
                </c:pt>
                <c:pt idx="8312">
                  <c:v>3.6623999999999999</c:v>
                </c:pt>
                <c:pt idx="8313">
                  <c:v>3.6625998000000002</c:v>
                </c:pt>
                <c:pt idx="8314">
                  <c:v>3.6627998000000002</c:v>
                </c:pt>
                <c:pt idx="8315">
                  <c:v>3.6629999</c:v>
                </c:pt>
                <c:pt idx="8316">
                  <c:v>3.6631999</c:v>
                </c:pt>
                <c:pt idx="8317">
                  <c:v>3.6633998999999999</c:v>
                </c:pt>
                <c:pt idx="8318">
                  <c:v>3.6636000000000002</c:v>
                </c:pt>
                <c:pt idx="8319">
                  <c:v>3.6638000000000002</c:v>
                </c:pt>
                <c:pt idx="8320">
                  <c:v>3.6639998</c:v>
                </c:pt>
                <c:pt idx="8321">
                  <c:v>3.6641998</c:v>
                </c:pt>
                <c:pt idx="8322">
                  <c:v>3.6643998999999998</c:v>
                </c:pt>
                <c:pt idx="8323">
                  <c:v>3.6645998999999998</c:v>
                </c:pt>
                <c:pt idx="8324">
                  <c:v>3.6647999000000002</c:v>
                </c:pt>
                <c:pt idx="8325">
                  <c:v>3.6649997000000001</c:v>
                </c:pt>
                <c:pt idx="8326">
                  <c:v>3.6652</c:v>
                </c:pt>
                <c:pt idx="8327">
                  <c:v>3.6654</c:v>
                </c:pt>
                <c:pt idx="8328">
                  <c:v>3.6655997999999999</c:v>
                </c:pt>
                <c:pt idx="8329">
                  <c:v>3.6657999000000001</c:v>
                </c:pt>
                <c:pt idx="8330">
                  <c:v>3.6659997</c:v>
                </c:pt>
                <c:pt idx="8331">
                  <c:v>3.6661999000000001</c:v>
                </c:pt>
                <c:pt idx="8332">
                  <c:v>3.6663999999999999</c:v>
                </c:pt>
                <c:pt idx="8333">
                  <c:v>3.6665998000000002</c:v>
                </c:pt>
                <c:pt idx="8334">
                  <c:v>3.6667999999999998</c:v>
                </c:pt>
                <c:pt idx="8335">
                  <c:v>3.6670001000000001</c:v>
                </c:pt>
                <c:pt idx="8336">
                  <c:v>3.6671999</c:v>
                </c:pt>
                <c:pt idx="8337">
                  <c:v>3.6673998999999999</c:v>
                </c:pt>
                <c:pt idx="8338">
                  <c:v>3.6675996999999998</c:v>
                </c:pt>
                <c:pt idx="8339">
                  <c:v>3.6677998999999999</c:v>
                </c:pt>
                <c:pt idx="8340">
                  <c:v>3.6680000000000001</c:v>
                </c:pt>
                <c:pt idx="8341">
                  <c:v>3.6681998</c:v>
                </c:pt>
                <c:pt idx="8342">
                  <c:v>3.6684000000000001</c:v>
                </c:pt>
                <c:pt idx="8343">
                  <c:v>3.6685998</c:v>
                </c:pt>
                <c:pt idx="8344">
                  <c:v>3.6687998999999998</c:v>
                </c:pt>
                <c:pt idx="8345">
                  <c:v>3.6689999000000002</c:v>
                </c:pt>
                <c:pt idx="8346">
                  <c:v>3.6691997000000001</c:v>
                </c:pt>
                <c:pt idx="8347">
                  <c:v>3.6694</c:v>
                </c:pt>
                <c:pt idx="8348">
                  <c:v>3.6696</c:v>
                </c:pt>
                <c:pt idx="8349">
                  <c:v>3.6697997999999998</c:v>
                </c:pt>
                <c:pt idx="8350">
                  <c:v>3.6700001000000002</c:v>
                </c:pt>
                <c:pt idx="8351">
                  <c:v>3.6701999000000001</c:v>
                </c:pt>
                <c:pt idx="8352">
                  <c:v>3.6703999</c:v>
                </c:pt>
                <c:pt idx="8353">
                  <c:v>3.6705999</c:v>
                </c:pt>
                <c:pt idx="8354">
                  <c:v>3.6707996999999999</c:v>
                </c:pt>
                <c:pt idx="8355">
                  <c:v>3.6709999999999998</c:v>
                </c:pt>
                <c:pt idx="8356">
                  <c:v>3.6711998000000001</c:v>
                </c:pt>
                <c:pt idx="8357">
                  <c:v>3.6713998000000001</c:v>
                </c:pt>
                <c:pt idx="8358">
                  <c:v>3.6716001</c:v>
                </c:pt>
                <c:pt idx="8359">
                  <c:v>3.6717998999999999</c:v>
                </c:pt>
                <c:pt idx="8360">
                  <c:v>3.6719998999999999</c:v>
                </c:pt>
                <c:pt idx="8361">
                  <c:v>3.6721997000000002</c:v>
                </c:pt>
                <c:pt idx="8362">
                  <c:v>3.6723998</c:v>
                </c:pt>
                <c:pt idx="8363">
                  <c:v>3.6726000000000001</c:v>
                </c:pt>
                <c:pt idx="8364">
                  <c:v>3.6727997999999999</c:v>
                </c:pt>
                <c:pt idx="8365">
                  <c:v>3.6729999000000002</c:v>
                </c:pt>
                <c:pt idx="8366">
                  <c:v>3.6732000999999999</c:v>
                </c:pt>
                <c:pt idx="8367">
                  <c:v>3.6733999000000002</c:v>
                </c:pt>
                <c:pt idx="8368">
                  <c:v>3.6736</c:v>
                </c:pt>
                <c:pt idx="8369">
                  <c:v>3.6737997999999998</c:v>
                </c:pt>
                <c:pt idx="8370">
                  <c:v>3.6739997999999998</c:v>
                </c:pt>
                <c:pt idx="8371">
                  <c:v>3.6742001000000002</c:v>
                </c:pt>
                <c:pt idx="8372">
                  <c:v>3.6743999000000001</c:v>
                </c:pt>
                <c:pt idx="8373">
                  <c:v>3.6745999</c:v>
                </c:pt>
                <c:pt idx="8374">
                  <c:v>3.6747999</c:v>
                </c:pt>
                <c:pt idx="8375">
                  <c:v>3.6749999999999998</c:v>
                </c:pt>
                <c:pt idx="8376">
                  <c:v>3.6751999999999998</c:v>
                </c:pt>
                <c:pt idx="8377">
                  <c:v>3.6753998000000001</c:v>
                </c:pt>
                <c:pt idx="8378">
                  <c:v>3.6755998000000001</c:v>
                </c:pt>
                <c:pt idx="8379">
                  <c:v>3.6757998000000001</c:v>
                </c:pt>
                <c:pt idx="8380">
                  <c:v>3.6759998999999999</c:v>
                </c:pt>
                <c:pt idx="8381">
                  <c:v>3.6761998999999999</c:v>
                </c:pt>
                <c:pt idx="8382">
                  <c:v>3.6763998999999998</c:v>
                </c:pt>
                <c:pt idx="8383">
                  <c:v>3.6766000000000001</c:v>
                </c:pt>
                <c:pt idx="8384">
                  <c:v>3.6768000000000001</c:v>
                </c:pt>
                <c:pt idx="8385">
                  <c:v>3.6769997999999999</c:v>
                </c:pt>
                <c:pt idx="8386">
                  <c:v>3.6771997999999999</c:v>
                </c:pt>
                <c:pt idx="8387">
                  <c:v>3.6773999000000002</c:v>
                </c:pt>
                <c:pt idx="8388">
                  <c:v>3.6775999000000001</c:v>
                </c:pt>
                <c:pt idx="8389">
                  <c:v>3.6777999000000001</c:v>
                </c:pt>
                <c:pt idx="8390">
                  <c:v>3.6779999999999999</c:v>
                </c:pt>
                <c:pt idx="8391">
                  <c:v>3.6781999999999999</c:v>
                </c:pt>
                <c:pt idx="8392">
                  <c:v>3.6783998000000002</c:v>
                </c:pt>
                <c:pt idx="8393">
                  <c:v>3.6785998000000002</c:v>
                </c:pt>
                <c:pt idx="8394">
                  <c:v>3.6787999</c:v>
                </c:pt>
                <c:pt idx="8395">
                  <c:v>3.6789999</c:v>
                </c:pt>
                <c:pt idx="8396">
                  <c:v>3.6791999</c:v>
                </c:pt>
                <c:pt idx="8397">
                  <c:v>3.6793996999999998</c:v>
                </c:pt>
                <c:pt idx="8398">
                  <c:v>3.6796000000000002</c:v>
                </c:pt>
                <c:pt idx="8399">
                  <c:v>3.6798000000000002</c:v>
                </c:pt>
                <c:pt idx="8400">
                  <c:v>3.6799998</c:v>
                </c:pt>
                <c:pt idx="8401">
                  <c:v>3.6801998999999999</c:v>
                </c:pt>
                <c:pt idx="8402">
                  <c:v>3.6803997000000002</c:v>
                </c:pt>
                <c:pt idx="8403">
                  <c:v>3.6805998999999998</c:v>
                </c:pt>
                <c:pt idx="8404">
                  <c:v>3.6808000000000001</c:v>
                </c:pt>
                <c:pt idx="8405">
                  <c:v>3.6809997999999999</c:v>
                </c:pt>
                <c:pt idx="8406">
                  <c:v>3.6812</c:v>
                </c:pt>
                <c:pt idx="8407">
                  <c:v>3.6814000999999998</c:v>
                </c:pt>
                <c:pt idx="8408">
                  <c:v>3.6815999000000001</c:v>
                </c:pt>
                <c:pt idx="8409">
                  <c:v>3.6817999000000001</c:v>
                </c:pt>
                <c:pt idx="8410">
                  <c:v>3.6819997</c:v>
                </c:pt>
                <c:pt idx="8411">
                  <c:v>3.6821999999999999</c:v>
                </c:pt>
                <c:pt idx="8412">
                  <c:v>3.6823999999999999</c:v>
                </c:pt>
                <c:pt idx="8413">
                  <c:v>3.6825998000000002</c:v>
                </c:pt>
                <c:pt idx="8414">
                  <c:v>3.6828001000000001</c:v>
                </c:pt>
                <c:pt idx="8415">
                  <c:v>3.6829998000000002</c:v>
                </c:pt>
                <c:pt idx="8416">
                  <c:v>3.6831999</c:v>
                </c:pt>
                <c:pt idx="8417">
                  <c:v>3.6833998999999999</c:v>
                </c:pt>
                <c:pt idx="8418">
                  <c:v>3.6835996999999998</c:v>
                </c:pt>
                <c:pt idx="8419">
                  <c:v>3.6838000000000002</c:v>
                </c:pt>
                <c:pt idx="8420">
                  <c:v>3.6839998</c:v>
                </c:pt>
                <c:pt idx="8421">
                  <c:v>3.6841998</c:v>
                </c:pt>
                <c:pt idx="8422">
                  <c:v>3.6844001</c:v>
                </c:pt>
                <c:pt idx="8423">
                  <c:v>3.6845998999999998</c:v>
                </c:pt>
                <c:pt idx="8424">
                  <c:v>3.6847998999999998</c:v>
                </c:pt>
                <c:pt idx="8425">
                  <c:v>3.6849999000000002</c:v>
                </c:pt>
                <c:pt idx="8426">
                  <c:v>3.6851997000000001</c:v>
                </c:pt>
                <c:pt idx="8427">
                  <c:v>3.6854</c:v>
                </c:pt>
                <c:pt idx="8428">
                  <c:v>3.6855997999999999</c:v>
                </c:pt>
                <c:pt idx="8429">
                  <c:v>3.6857997999999998</c:v>
                </c:pt>
                <c:pt idx="8430">
                  <c:v>3.6860000999999998</c:v>
                </c:pt>
                <c:pt idx="8431">
                  <c:v>3.6861999000000001</c:v>
                </c:pt>
                <c:pt idx="8432">
                  <c:v>3.6863999000000001</c:v>
                </c:pt>
                <c:pt idx="8433">
                  <c:v>3.6865996999999999</c:v>
                </c:pt>
                <c:pt idx="8434">
                  <c:v>3.6867998000000002</c:v>
                </c:pt>
                <c:pt idx="8435">
                  <c:v>3.6869999999999998</c:v>
                </c:pt>
                <c:pt idx="8436">
                  <c:v>3.6871998000000001</c:v>
                </c:pt>
                <c:pt idx="8437">
                  <c:v>3.6873999</c:v>
                </c:pt>
                <c:pt idx="8438">
                  <c:v>3.6876001</c:v>
                </c:pt>
                <c:pt idx="8439">
                  <c:v>3.6877998999999999</c:v>
                </c:pt>
                <c:pt idx="8440">
                  <c:v>3.6880000000000002</c:v>
                </c:pt>
                <c:pt idx="8441">
                  <c:v>3.6881998</c:v>
                </c:pt>
                <c:pt idx="8442">
                  <c:v>3.6883998</c:v>
                </c:pt>
                <c:pt idx="8443">
                  <c:v>3.6886000999999999</c:v>
                </c:pt>
                <c:pt idx="8444">
                  <c:v>3.6887998999999998</c:v>
                </c:pt>
                <c:pt idx="8445">
                  <c:v>3.6889999000000002</c:v>
                </c:pt>
                <c:pt idx="8446">
                  <c:v>3.6891999000000002</c:v>
                </c:pt>
                <c:pt idx="8447">
                  <c:v>3.6894</c:v>
                </c:pt>
                <c:pt idx="8448">
                  <c:v>3.6896</c:v>
                </c:pt>
                <c:pt idx="8449">
                  <c:v>3.6897997999999999</c:v>
                </c:pt>
                <c:pt idx="8450">
                  <c:v>3.6899997999999998</c:v>
                </c:pt>
                <c:pt idx="8451">
                  <c:v>3.6901999000000001</c:v>
                </c:pt>
                <c:pt idx="8452">
                  <c:v>3.6903999000000001</c:v>
                </c:pt>
                <c:pt idx="8453">
                  <c:v>3.6905999</c:v>
                </c:pt>
                <c:pt idx="8454">
                  <c:v>3.6907999999999999</c:v>
                </c:pt>
                <c:pt idx="8455">
                  <c:v>3.6909999999999998</c:v>
                </c:pt>
                <c:pt idx="8456">
                  <c:v>3.6911998000000001</c:v>
                </c:pt>
                <c:pt idx="8457">
                  <c:v>3.6913998000000001</c:v>
                </c:pt>
                <c:pt idx="8458">
                  <c:v>3.6915998000000001</c:v>
                </c:pt>
                <c:pt idx="8459">
                  <c:v>3.6917998999999999</c:v>
                </c:pt>
                <c:pt idx="8460">
                  <c:v>3.6919998999999999</c:v>
                </c:pt>
                <c:pt idx="8461">
                  <c:v>3.6921998999999999</c:v>
                </c:pt>
                <c:pt idx="8462">
                  <c:v>3.6924000000000001</c:v>
                </c:pt>
                <c:pt idx="8463">
                  <c:v>3.6926000000000001</c:v>
                </c:pt>
                <c:pt idx="8464">
                  <c:v>3.6927998</c:v>
                </c:pt>
                <c:pt idx="8465">
                  <c:v>3.6929997999999999</c:v>
                </c:pt>
                <c:pt idx="8466">
                  <c:v>3.6931999000000002</c:v>
                </c:pt>
                <c:pt idx="8467">
                  <c:v>3.6933999000000002</c:v>
                </c:pt>
                <c:pt idx="8468">
                  <c:v>3.6935999000000002</c:v>
                </c:pt>
                <c:pt idx="8469">
                  <c:v>3.6937997</c:v>
                </c:pt>
                <c:pt idx="8470">
                  <c:v>3.694</c:v>
                </c:pt>
                <c:pt idx="8471">
                  <c:v>3.6941999999999999</c:v>
                </c:pt>
                <c:pt idx="8472">
                  <c:v>3.6943997999999998</c:v>
                </c:pt>
                <c:pt idx="8473">
                  <c:v>3.6945999</c:v>
                </c:pt>
                <c:pt idx="8474">
                  <c:v>3.6947996999999999</c:v>
                </c:pt>
                <c:pt idx="8475">
                  <c:v>3.6949999</c:v>
                </c:pt>
                <c:pt idx="8476">
                  <c:v>3.6951999999999998</c:v>
                </c:pt>
                <c:pt idx="8477">
                  <c:v>3.6953998000000001</c:v>
                </c:pt>
                <c:pt idx="8478">
                  <c:v>3.6956000000000002</c:v>
                </c:pt>
                <c:pt idx="8479">
                  <c:v>3.6958001</c:v>
                </c:pt>
                <c:pt idx="8480">
                  <c:v>3.6959998999999999</c:v>
                </c:pt>
                <c:pt idx="8481">
                  <c:v>3.6961998999999999</c:v>
                </c:pt>
                <c:pt idx="8482">
                  <c:v>3.6963997000000002</c:v>
                </c:pt>
                <c:pt idx="8483">
                  <c:v>3.6966000000000001</c:v>
                </c:pt>
                <c:pt idx="8484">
                  <c:v>3.6968000000000001</c:v>
                </c:pt>
                <c:pt idx="8485">
                  <c:v>3.6969997999999999</c:v>
                </c:pt>
                <c:pt idx="8486">
                  <c:v>3.6972000999999999</c:v>
                </c:pt>
                <c:pt idx="8487">
                  <c:v>3.6973999000000002</c:v>
                </c:pt>
                <c:pt idx="8488">
                  <c:v>3.6975999000000002</c:v>
                </c:pt>
                <c:pt idx="8489">
                  <c:v>3.6977999000000001</c:v>
                </c:pt>
                <c:pt idx="8490">
                  <c:v>3.6979997</c:v>
                </c:pt>
                <c:pt idx="8491">
                  <c:v>3.6981999999999999</c:v>
                </c:pt>
                <c:pt idx="8492">
                  <c:v>3.6983997999999998</c:v>
                </c:pt>
                <c:pt idx="8493">
                  <c:v>3.6985998000000002</c:v>
                </c:pt>
                <c:pt idx="8494">
                  <c:v>3.6988001000000001</c:v>
                </c:pt>
                <c:pt idx="8495">
                  <c:v>3.6989999</c:v>
                </c:pt>
                <c:pt idx="8496">
                  <c:v>3.6991999</c:v>
                </c:pt>
                <c:pt idx="8497">
                  <c:v>3.6993999</c:v>
                </c:pt>
                <c:pt idx="8498">
                  <c:v>3.6995996999999998</c:v>
                </c:pt>
                <c:pt idx="8499">
                  <c:v>3.6998000000000002</c:v>
                </c:pt>
                <c:pt idx="8500">
                  <c:v>3.6999998000000001</c:v>
                </c:pt>
                <c:pt idx="8501">
                  <c:v>3.7001998</c:v>
                </c:pt>
                <c:pt idx="8502">
                  <c:v>3.7004001</c:v>
                </c:pt>
                <c:pt idx="8503">
                  <c:v>3.7005998999999998</c:v>
                </c:pt>
                <c:pt idx="8504">
                  <c:v>3.7007998999999998</c:v>
                </c:pt>
                <c:pt idx="8505">
                  <c:v>3.7009997000000001</c:v>
                </c:pt>
                <c:pt idx="8506">
                  <c:v>3.7011997999999999</c:v>
                </c:pt>
                <c:pt idx="8507">
                  <c:v>3.7014</c:v>
                </c:pt>
                <c:pt idx="8508">
                  <c:v>3.7015997999999999</c:v>
                </c:pt>
                <c:pt idx="8509">
                  <c:v>3.7017999000000001</c:v>
                </c:pt>
                <c:pt idx="8510">
                  <c:v>3.7020000999999998</c:v>
                </c:pt>
                <c:pt idx="8511">
                  <c:v>3.7021999000000001</c:v>
                </c:pt>
                <c:pt idx="8512">
                  <c:v>3.7023999999999999</c:v>
                </c:pt>
                <c:pt idx="8513">
                  <c:v>3.7025998000000002</c:v>
                </c:pt>
                <c:pt idx="8514">
                  <c:v>3.7027998000000002</c:v>
                </c:pt>
                <c:pt idx="8515">
                  <c:v>3.7030001000000001</c:v>
                </c:pt>
                <c:pt idx="8516">
                  <c:v>3.7031999</c:v>
                </c:pt>
                <c:pt idx="8517">
                  <c:v>3.7033999</c:v>
                </c:pt>
                <c:pt idx="8518">
                  <c:v>3.7035998999999999</c:v>
                </c:pt>
                <c:pt idx="8519">
                  <c:v>3.7038000000000002</c:v>
                </c:pt>
                <c:pt idx="8520">
                  <c:v>3.7040000000000002</c:v>
                </c:pt>
                <c:pt idx="8521">
                  <c:v>3.7041998</c:v>
                </c:pt>
                <c:pt idx="8522">
                  <c:v>3.7043998</c:v>
                </c:pt>
                <c:pt idx="8523">
                  <c:v>3.7045998999999998</c:v>
                </c:pt>
                <c:pt idx="8524">
                  <c:v>3.7047998999999998</c:v>
                </c:pt>
                <c:pt idx="8525">
                  <c:v>3.7049998999999998</c:v>
                </c:pt>
                <c:pt idx="8526">
                  <c:v>3.7052</c:v>
                </c:pt>
                <c:pt idx="8527">
                  <c:v>3.7054</c:v>
                </c:pt>
                <c:pt idx="8528">
                  <c:v>3.7055997999999999</c:v>
                </c:pt>
                <c:pt idx="8529">
                  <c:v>3.7057997999999999</c:v>
                </c:pt>
                <c:pt idx="8530">
                  <c:v>3.7059999000000001</c:v>
                </c:pt>
                <c:pt idx="8531">
                  <c:v>3.7061999000000001</c:v>
                </c:pt>
                <c:pt idx="8532">
                  <c:v>3.7063999000000001</c:v>
                </c:pt>
                <c:pt idx="8533">
                  <c:v>3.7065996999999999</c:v>
                </c:pt>
                <c:pt idx="8534">
                  <c:v>3.7067999999999999</c:v>
                </c:pt>
                <c:pt idx="8535">
                  <c:v>3.7069999999999999</c:v>
                </c:pt>
                <c:pt idx="8536">
                  <c:v>3.7071998000000002</c:v>
                </c:pt>
                <c:pt idx="8537">
                  <c:v>3.7073998000000001</c:v>
                </c:pt>
                <c:pt idx="8538">
                  <c:v>3.7075998999999999</c:v>
                </c:pt>
                <c:pt idx="8539">
                  <c:v>3.7077998999999999</c:v>
                </c:pt>
                <c:pt idx="8540">
                  <c:v>3.7079998999999999</c:v>
                </c:pt>
                <c:pt idx="8541">
                  <c:v>3.7081997000000002</c:v>
                </c:pt>
                <c:pt idx="8542">
                  <c:v>3.7084000000000001</c:v>
                </c:pt>
                <c:pt idx="8543">
                  <c:v>3.7086000000000001</c:v>
                </c:pt>
                <c:pt idx="8544">
                  <c:v>3.7087998</c:v>
                </c:pt>
                <c:pt idx="8545">
                  <c:v>3.7089998999999998</c:v>
                </c:pt>
                <c:pt idx="8546">
                  <c:v>3.7091997000000001</c:v>
                </c:pt>
                <c:pt idx="8547">
                  <c:v>3.7093999000000002</c:v>
                </c:pt>
                <c:pt idx="8548">
                  <c:v>3.7096</c:v>
                </c:pt>
                <c:pt idx="8549">
                  <c:v>3.7097997999999999</c:v>
                </c:pt>
                <c:pt idx="8550">
                  <c:v>3.71</c:v>
                </c:pt>
                <c:pt idx="8551">
                  <c:v>3.7102000999999998</c:v>
                </c:pt>
                <c:pt idx="8552">
                  <c:v>3.7103999000000001</c:v>
                </c:pt>
                <c:pt idx="8553">
                  <c:v>3.7105999000000001</c:v>
                </c:pt>
                <c:pt idx="8554">
                  <c:v>3.7107996999999999</c:v>
                </c:pt>
                <c:pt idx="8555">
                  <c:v>3.7109999999999999</c:v>
                </c:pt>
                <c:pt idx="8556">
                  <c:v>3.7111999999999998</c:v>
                </c:pt>
                <c:pt idx="8557">
                  <c:v>3.7113998000000001</c:v>
                </c:pt>
                <c:pt idx="8558">
                  <c:v>3.7116001000000001</c:v>
                </c:pt>
                <c:pt idx="8559">
                  <c:v>3.7117998999999999</c:v>
                </c:pt>
                <c:pt idx="8560">
                  <c:v>3.7119998999999999</c:v>
                </c:pt>
                <c:pt idx="8561">
                  <c:v>3.7121998999999999</c:v>
                </c:pt>
                <c:pt idx="8562">
                  <c:v>3.7123997000000002</c:v>
                </c:pt>
                <c:pt idx="8563">
                  <c:v>3.7126000000000001</c:v>
                </c:pt>
                <c:pt idx="8564">
                  <c:v>3.7127998</c:v>
                </c:pt>
                <c:pt idx="8565">
                  <c:v>3.7129998</c:v>
                </c:pt>
                <c:pt idx="8566">
                  <c:v>3.7132000999999999</c:v>
                </c:pt>
                <c:pt idx="8567">
                  <c:v>3.7133999000000002</c:v>
                </c:pt>
                <c:pt idx="8568">
                  <c:v>3.7135999000000002</c:v>
                </c:pt>
                <c:pt idx="8569">
                  <c:v>3.7137997</c:v>
                </c:pt>
                <c:pt idx="8570">
                  <c:v>3.7139997</c:v>
                </c:pt>
                <c:pt idx="8571">
                  <c:v>3.7141999999999999</c:v>
                </c:pt>
                <c:pt idx="8572">
                  <c:v>3.7143997999999998</c:v>
                </c:pt>
                <c:pt idx="8573">
                  <c:v>3.7145997999999998</c:v>
                </c:pt>
                <c:pt idx="8574">
                  <c:v>3.7148001000000002</c:v>
                </c:pt>
                <c:pt idx="8575">
                  <c:v>3.7149999</c:v>
                </c:pt>
                <c:pt idx="8576">
                  <c:v>3.7151999</c:v>
                </c:pt>
                <c:pt idx="8577">
                  <c:v>3.7153996999999999</c:v>
                </c:pt>
                <c:pt idx="8578">
                  <c:v>3.7155998000000001</c:v>
                </c:pt>
                <c:pt idx="8579">
                  <c:v>3.7158000000000002</c:v>
                </c:pt>
                <c:pt idx="8580">
                  <c:v>3.7159998000000001</c:v>
                </c:pt>
                <c:pt idx="8581">
                  <c:v>3.7161998999999999</c:v>
                </c:pt>
                <c:pt idx="8582">
                  <c:v>3.7163998999999999</c:v>
                </c:pt>
                <c:pt idx="8583">
                  <c:v>3.7165998999999998</c:v>
                </c:pt>
                <c:pt idx="8584">
                  <c:v>3.7168000000000001</c:v>
                </c:pt>
                <c:pt idx="8585">
                  <c:v>3.7169998</c:v>
                </c:pt>
                <c:pt idx="8586">
                  <c:v>3.7171997999999999</c:v>
                </c:pt>
                <c:pt idx="8587">
                  <c:v>3.7174000999999999</c:v>
                </c:pt>
                <c:pt idx="8588">
                  <c:v>3.7175999000000002</c:v>
                </c:pt>
                <c:pt idx="8589">
                  <c:v>3.7177999000000002</c:v>
                </c:pt>
                <c:pt idx="8590">
                  <c:v>3.7179999000000001</c:v>
                </c:pt>
                <c:pt idx="8591">
                  <c:v>3.7181999999999999</c:v>
                </c:pt>
                <c:pt idx="8592">
                  <c:v>3.7183999999999999</c:v>
                </c:pt>
                <c:pt idx="8593">
                  <c:v>3.7185997999999998</c:v>
                </c:pt>
                <c:pt idx="8594">
                  <c:v>3.7187998000000002</c:v>
                </c:pt>
                <c:pt idx="8595">
                  <c:v>3.7189999</c:v>
                </c:pt>
                <c:pt idx="8596">
                  <c:v>3.7191999</c:v>
                </c:pt>
                <c:pt idx="8597">
                  <c:v>3.7193999</c:v>
                </c:pt>
                <c:pt idx="8598">
                  <c:v>3.7195999999999998</c:v>
                </c:pt>
                <c:pt idx="8599">
                  <c:v>3.7198000000000002</c:v>
                </c:pt>
                <c:pt idx="8600">
                  <c:v>3.7199998000000001</c:v>
                </c:pt>
                <c:pt idx="8601">
                  <c:v>3.7201998000000001</c:v>
                </c:pt>
                <c:pt idx="8602">
                  <c:v>3.7203998999999999</c:v>
                </c:pt>
                <c:pt idx="8603">
                  <c:v>3.7205998999999998</c:v>
                </c:pt>
                <c:pt idx="8604">
                  <c:v>3.7207998999999998</c:v>
                </c:pt>
                <c:pt idx="8605">
                  <c:v>3.7209997000000001</c:v>
                </c:pt>
                <c:pt idx="8606">
                  <c:v>3.7212000000000001</c:v>
                </c:pt>
                <c:pt idx="8607">
                  <c:v>3.7214</c:v>
                </c:pt>
                <c:pt idx="8608">
                  <c:v>3.7215997999999999</c:v>
                </c:pt>
                <c:pt idx="8609">
                  <c:v>3.7217999000000002</c:v>
                </c:pt>
                <c:pt idx="8610">
                  <c:v>3.7219999000000001</c:v>
                </c:pt>
                <c:pt idx="8611">
                  <c:v>3.7221999000000001</c:v>
                </c:pt>
                <c:pt idx="8612">
                  <c:v>3.7223999999999999</c:v>
                </c:pt>
                <c:pt idx="8613">
                  <c:v>3.7225997</c:v>
                </c:pt>
                <c:pt idx="8614">
                  <c:v>3.7227999999999999</c:v>
                </c:pt>
                <c:pt idx="8615">
                  <c:v>3.7229999999999999</c:v>
                </c:pt>
                <c:pt idx="8616">
                  <c:v>3.7231998000000002</c:v>
                </c:pt>
                <c:pt idx="8617">
                  <c:v>3.7233999</c:v>
                </c:pt>
                <c:pt idx="8618">
                  <c:v>3.7235996999999998</c:v>
                </c:pt>
                <c:pt idx="8619">
                  <c:v>3.7237998999999999</c:v>
                </c:pt>
                <c:pt idx="8620">
                  <c:v>3.7240000000000002</c:v>
                </c:pt>
                <c:pt idx="8621">
                  <c:v>3.7241998000000001</c:v>
                </c:pt>
                <c:pt idx="8622">
                  <c:v>3.7244000000000002</c:v>
                </c:pt>
                <c:pt idx="8623">
                  <c:v>3.7246001</c:v>
                </c:pt>
                <c:pt idx="8624">
                  <c:v>3.7247998999999998</c:v>
                </c:pt>
                <c:pt idx="8625">
                  <c:v>3.7249998999999998</c:v>
                </c:pt>
                <c:pt idx="8626">
                  <c:v>3.7251997000000001</c:v>
                </c:pt>
                <c:pt idx="8627">
                  <c:v>3.7254</c:v>
                </c:pt>
                <c:pt idx="8628">
                  <c:v>3.7256</c:v>
                </c:pt>
                <c:pt idx="8629">
                  <c:v>3.7257997999999999</c:v>
                </c:pt>
                <c:pt idx="8630">
                  <c:v>3.7260000999999998</c:v>
                </c:pt>
                <c:pt idx="8631">
                  <c:v>3.7261999000000001</c:v>
                </c:pt>
                <c:pt idx="8632">
                  <c:v>3.7263999000000001</c:v>
                </c:pt>
                <c:pt idx="8633">
                  <c:v>3.7265999000000001</c:v>
                </c:pt>
                <c:pt idx="8634">
                  <c:v>3.7267996999999999</c:v>
                </c:pt>
                <c:pt idx="8635">
                  <c:v>3.7269999999999999</c:v>
                </c:pt>
                <c:pt idx="8636">
                  <c:v>3.7271998000000002</c:v>
                </c:pt>
                <c:pt idx="8637">
                  <c:v>3.7273998000000002</c:v>
                </c:pt>
                <c:pt idx="8638">
                  <c:v>3.7276001000000001</c:v>
                </c:pt>
                <c:pt idx="8639">
                  <c:v>3.7277998999999999</c:v>
                </c:pt>
                <c:pt idx="8640">
                  <c:v>3.7279998999999999</c:v>
                </c:pt>
                <c:pt idx="8641">
                  <c:v>3.7281996999999998</c:v>
                </c:pt>
                <c:pt idx="8642">
                  <c:v>3.7283998</c:v>
                </c:pt>
                <c:pt idx="8643">
                  <c:v>3.7286000000000001</c:v>
                </c:pt>
                <c:pt idx="8644">
                  <c:v>3.7287998</c:v>
                </c:pt>
                <c:pt idx="8645">
                  <c:v>3.7289998999999998</c:v>
                </c:pt>
                <c:pt idx="8646">
                  <c:v>3.7292000999999999</c:v>
                </c:pt>
                <c:pt idx="8647">
                  <c:v>3.7293999000000002</c:v>
                </c:pt>
                <c:pt idx="8648">
                  <c:v>3.7296</c:v>
                </c:pt>
                <c:pt idx="8649">
                  <c:v>3.7297997000000001</c:v>
                </c:pt>
                <c:pt idx="8650">
                  <c:v>3.7299997999999999</c:v>
                </c:pt>
                <c:pt idx="8651">
                  <c:v>3.7302000999999998</c:v>
                </c:pt>
                <c:pt idx="8652">
                  <c:v>3.7303997999999998</c:v>
                </c:pt>
                <c:pt idx="8653">
                  <c:v>3.7305999000000001</c:v>
                </c:pt>
                <c:pt idx="8654">
                  <c:v>3.7307999000000001</c:v>
                </c:pt>
                <c:pt idx="8655">
                  <c:v>3.7309999</c:v>
                </c:pt>
                <c:pt idx="8656">
                  <c:v>3.7311999999999999</c:v>
                </c:pt>
                <c:pt idx="8657">
                  <c:v>3.7313998000000002</c:v>
                </c:pt>
                <c:pt idx="8658">
                  <c:v>3.7315998000000001</c:v>
                </c:pt>
                <c:pt idx="8659">
                  <c:v>3.7317998000000001</c:v>
                </c:pt>
                <c:pt idx="8660">
                  <c:v>3.7319998999999999</c:v>
                </c:pt>
                <c:pt idx="8661">
                  <c:v>3.7321998999999999</c:v>
                </c:pt>
                <c:pt idx="8662">
                  <c:v>3.7323998999999999</c:v>
                </c:pt>
                <c:pt idx="8663">
                  <c:v>3.7326000000000001</c:v>
                </c:pt>
                <c:pt idx="8664">
                  <c:v>3.7328000000000001</c:v>
                </c:pt>
                <c:pt idx="8665">
                  <c:v>3.7329998</c:v>
                </c:pt>
                <c:pt idx="8666">
                  <c:v>3.7331998</c:v>
                </c:pt>
                <c:pt idx="8667">
                  <c:v>3.7333999000000002</c:v>
                </c:pt>
                <c:pt idx="8668">
                  <c:v>3.7335999000000002</c:v>
                </c:pt>
                <c:pt idx="8669">
                  <c:v>3.7337999000000002</c:v>
                </c:pt>
                <c:pt idx="8670">
                  <c:v>3.734</c:v>
                </c:pt>
                <c:pt idx="8671">
                  <c:v>3.7342</c:v>
                </c:pt>
                <c:pt idx="8672">
                  <c:v>3.7343997999999998</c:v>
                </c:pt>
                <c:pt idx="8673">
                  <c:v>3.7345997999999998</c:v>
                </c:pt>
                <c:pt idx="8674">
                  <c:v>3.7347999000000001</c:v>
                </c:pt>
                <c:pt idx="8675">
                  <c:v>3.7349999</c:v>
                </c:pt>
                <c:pt idx="8676">
                  <c:v>3.7351999</c:v>
                </c:pt>
                <c:pt idx="8677">
                  <c:v>3.7353996999999999</c:v>
                </c:pt>
                <c:pt idx="8678">
                  <c:v>3.7355999999999998</c:v>
                </c:pt>
                <c:pt idx="8679">
                  <c:v>3.7357999999999998</c:v>
                </c:pt>
                <c:pt idx="8680">
                  <c:v>3.7359998000000001</c:v>
                </c:pt>
                <c:pt idx="8681">
                  <c:v>3.7361998999999999</c:v>
                </c:pt>
                <c:pt idx="8682">
                  <c:v>3.7363997000000002</c:v>
                </c:pt>
                <c:pt idx="8683">
                  <c:v>3.7365998999999999</c:v>
                </c:pt>
                <c:pt idx="8684">
                  <c:v>3.7368000000000001</c:v>
                </c:pt>
                <c:pt idx="8685">
                  <c:v>3.7369998</c:v>
                </c:pt>
                <c:pt idx="8686">
                  <c:v>3.7372000000000001</c:v>
                </c:pt>
                <c:pt idx="8687">
                  <c:v>3.7374000999999999</c:v>
                </c:pt>
                <c:pt idx="8688">
                  <c:v>3.7375997999999999</c:v>
                </c:pt>
                <c:pt idx="8689">
                  <c:v>3.7377999000000002</c:v>
                </c:pt>
                <c:pt idx="8690">
                  <c:v>3.7379997</c:v>
                </c:pt>
                <c:pt idx="8691">
                  <c:v>3.7381999000000001</c:v>
                </c:pt>
                <c:pt idx="8692">
                  <c:v>3.7383999999999999</c:v>
                </c:pt>
                <c:pt idx="8693">
                  <c:v>3.7385997999999998</c:v>
                </c:pt>
                <c:pt idx="8694">
                  <c:v>3.7387999999999999</c:v>
                </c:pt>
                <c:pt idx="8695">
                  <c:v>3.7389998000000002</c:v>
                </c:pt>
                <c:pt idx="8696">
                  <c:v>3.7391999</c:v>
                </c:pt>
                <c:pt idx="8697">
                  <c:v>3.7393999</c:v>
                </c:pt>
                <c:pt idx="8698">
                  <c:v>3.7395996999999999</c:v>
                </c:pt>
                <c:pt idx="8699">
                  <c:v>3.7397999999999998</c:v>
                </c:pt>
                <c:pt idx="8700">
                  <c:v>3.74</c:v>
                </c:pt>
                <c:pt idx="8701">
                  <c:v>3.7401998000000001</c:v>
                </c:pt>
                <c:pt idx="8702">
                  <c:v>3.7404001</c:v>
                </c:pt>
                <c:pt idx="8703">
                  <c:v>3.7405998999999999</c:v>
                </c:pt>
                <c:pt idx="8704">
                  <c:v>3.7407998999999998</c:v>
                </c:pt>
                <c:pt idx="8705">
                  <c:v>3.7409998999999998</c:v>
                </c:pt>
                <c:pt idx="8706">
                  <c:v>3.7411997000000001</c:v>
                </c:pt>
                <c:pt idx="8707">
                  <c:v>3.7414000000000001</c:v>
                </c:pt>
                <c:pt idx="8708">
                  <c:v>3.7415997999999999</c:v>
                </c:pt>
                <c:pt idx="8709">
                  <c:v>3.7417997999999999</c:v>
                </c:pt>
                <c:pt idx="8710">
                  <c:v>3.7420000999999998</c:v>
                </c:pt>
                <c:pt idx="8711">
                  <c:v>3.7421999000000001</c:v>
                </c:pt>
                <c:pt idx="8712">
                  <c:v>3.7423999000000001</c:v>
                </c:pt>
                <c:pt idx="8713">
                  <c:v>3.7425997</c:v>
                </c:pt>
                <c:pt idx="8714">
                  <c:v>3.7427997999999998</c:v>
                </c:pt>
                <c:pt idx="8715">
                  <c:v>3.7429999999999999</c:v>
                </c:pt>
                <c:pt idx="8716">
                  <c:v>3.7431998000000002</c:v>
                </c:pt>
                <c:pt idx="8717">
                  <c:v>3.7433999</c:v>
                </c:pt>
                <c:pt idx="8718">
                  <c:v>3.7436001000000001</c:v>
                </c:pt>
                <c:pt idx="8719">
                  <c:v>3.7437999</c:v>
                </c:pt>
                <c:pt idx="8720">
                  <c:v>3.7440000000000002</c:v>
                </c:pt>
                <c:pt idx="8721">
                  <c:v>3.7441998000000001</c:v>
                </c:pt>
                <c:pt idx="8722">
                  <c:v>3.7443998000000001</c:v>
                </c:pt>
                <c:pt idx="8723">
                  <c:v>3.7446001</c:v>
                </c:pt>
                <c:pt idx="8724">
                  <c:v>3.7447998999999998</c:v>
                </c:pt>
                <c:pt idx="8725">
                  <c:v>3.7449998999999998</c:v>
                </c:pt>
                <c:pt idx="8726">
                  <c:v>3.7451998999999998</c:v>
                </c:pt>
                <c:pt idx="8727">
                  <c:v>3.7454000000000001</c:v>
                </c:pt>
                <c:pt idx="8728">
                  <c:v>3.7456</c:v>
                </c:pt>
                <c:pt idx="8729">
                  <c:v>3.7457997999999999</c:v>
                </c:pt>
                <c:pt idx="8730">
                  <c:v>3.7459997999999999</c:v>
                </c:pt>
                <c:pt idx="8731">
                  <c:v>3.7461997999999999</c:v>
                </c:pt>
                <c:pt idx="8732">
                  <c:v>3.7463999000000001</c:v>
                </c:pt>
                <c:pt idx="8733">
                  <c:v>3.7465999000000001</c:v>
                </c:pt>
                <c:pt idx="8734">
                  <c:v>3.7467999000000001</c:v>
                </c:pt>
                <c:pt idx="8735">
                  <c:v>3.7469999999999999</c:v>
                </c:pt>
                <c:pt idx="8736">
                  <c:v>3.7471999999999999</c:v>
                </c:pt>
                <c:pt idx="8737">
                  <c:v>3.7473998000000002</c:v>
                </c:pt>
                <c:pt idx="8738">
                  <c:v>3.7475998000000001</c:v>
                </c:pt>
                <c:pt idx="8739">
                  <c:v>3.7477999</c:v>
                </c:pt>
                <c:pt idx="8740">
                  <c:v>3.7479998999999999</c:v>
                </c:pt>
                <c:pt idx="8741">
                  <c:v>3.7481998999999999</c:v>
                </c:pt>
                <c:pt idx="8742">
                  <c:v>3.7484000000000002</c:v>
                </c:pt>
                <c:pt idx="8743">
                  <c:v>3.7486000000000002</c:v>
                </c:pt>
                <c:pt idx="8744">
                  <c:v>3.7487998</c:v>
                </c:pt>
                <c:pt idx="8745">
                  <c:v>3.7489998</c:v>
                </c:pt>
                <c:pt idx="8746">
                  <c:v>3.7491998999999998</c:v>
                </c:pt>
                <c:pt idx="8747">
                  <c:v>3.7493998999999998</c:v>
                </c:pt>
                <c:pt idx="8748">
                  <c:v>3.7495999000000002</c:v>
                </c:pt>
                <c:pt idx="8749">
                  <c:v>3.7497997000000001</c:v>
                </c:pt>
                <c:pt idx="8750">
                  <c:v>3.75</c:v>
                </c:pt>
                <c:pt idx="8751">
                  <c:v>3.7502</c:v>
                </c:pt>
                <c:pt idx="8752">
                  <c:v>3.7503997999999998</c:v>
                </c:pt>
                <c:pt idx="8753">
                  <c:v>3.7505999000000001</c:v>
                </c:pt>
                <c:pt idx="8754">
                  <c:v>3.7507997</c:v>
                </c:pt>
                <c:pt idx="8755">
                  <c:v>3.7509999000000001</c:v>
                </c:pt>
                <c:pt idx="8756">
                  <c:v>3.7511999999999999</c:v>
                </c:pt>
                <c:pt idx="8757">
                  <c:v>3.7513998000000002</c:v>
                </c:pt>
                <c:pt idx="8758">
                  <c:v>3.7515999999999998</c:v>
                </c:pt>
                <c:pt idx="8759">
                  <c:v>3.7518001000000001</c:v>
                </c:pt>
                <c:pt idx="8760">
                  <c:v>3.7519998999999999</c:v>
                </c:pt>
                <c:pt idx="8761">
                  <c:v>3.7521998999999999</c:v>
                </c:pt>
                <c:pt idx="8762">
                  <c:v>3.7523996999999998</c:v>
                </c:pt>
                <c:pt idx="8763">
                  <c:v>3.7526000000000002</c:v>
                </c:pt>
                <c:pt idx="8764">
                  <c:v>3.7528000000000001</c:v>
                </c:pt>
                <c:pt idx="8765">
                  <c:v>3.7529998</c:v>
                </c:pt>
                <c:pt idx="8766">
                  <c:v>3.7532000999999999</c:v>
                </c:pt>
                <c:pt idx="8767">
                  <c:v>3.7533998</c:v>
                </c:pt>
                <c:pt idx="8768">
                  <c:v>3.7535999000000002</c:v>
                </c:pt>
                <c:pt idx="8769">
                  <c:v>3.7537999000000002</c:v>
                </c:pt>
                <c:pt idx="8770">
                  <c:v>3.7539997000000001</c:v>
                </c:pt>
                <c:pt idx="8771">
                  <c:v>3.7542</c:v>
                </c:pt>
                <c:pt idx="8772">
                  <c:v>3.7543997999999998</c:v>
                </c:pt>
                <c:pt idx="8773">
                  <c:v>3.7545997999999998</c:v>
                </c:pt>
                <c:pt idx="8774">
                  <c:v>3.7548001000000002</c:v>
                </c:pt>
                <c:pt idx="8775">
                  <c:v>3.7549999000000001</c:v>
                </c:pt>
                <c:pt idx="8776">
                  <c:v>3.7551999</c:v>
                </c:pt>
                <c:pt idx="8777">
                  <c:v>3.7553999</c:v>
                </c:pt>
                <c:pt idx="8778">
                  <c:v>3.7555996999999999</c:v>
                </c:pt>
                <c:pt idx="8779">
                  <c:v>3.7557999999999998</c:v>
                </c:pt>
                <c:pt idx="8780">
                  <c:v>3.7559998000000001</c:v>
                </c:pt>
                <c:pt idx="8781">
                  <c:v>3.7561998000000001</c:v>
                </c:pt>
                <c:pt idx="8782">
                  <c:v>3.7564001</c:v>
                </c:pt>
                <c:pt idx="8783">
                  <c:v>3.7565998999999999</c:v>
                </c:pt>
                <c:pt idx="8784">
                  <c:v>3.7567998999999999</c:v>
                </c:pt>
                <c:pt idx="8785">
                  <c:v>3.7569997000000002</c:v>
                </c:pt>
                <c:pt idx="8786">
                  <c:v>3.7571998</c:v>
                </c:pt>
                <c:pt idx="8787">
                  <c:v>3.7574000000000001</c:v>
                </c:pt>
                <c:pt idx="8788">
                  <c:v>3.7575997999999999</c:v>
                </c:pt>
                <c:pt idx="8789">
                  <c:v>3.7577999000000002</c:v>
                </c:pt>
                <c:pt idx="8790">
                  <c:v>3.7580000999999998</c:v>
                </c:pt>
                <c:pt idx="8791">
                  <c:v>3.7581999000000001</c:v>
                </c:pt>
                <c:pt idx="8792">
                  <c:v>3.7584</c:v>
                </c:pt>
                <c:pt idx="8793">
                  <c:v>3.7585997999999998</c:v>
                </c:pt>
                <c:pt idx="8794">
                  <c:v>3.7587997999999998</c:v>
                </c:pt>
                <c:pt idx="8795">
                  <c:v>3.7590001000000002</c:v>
                </c:pt>
                <c:pt idx="8796">
                  <c:v>3.7591999</c:v>
                </c:pt>
                <c:pt idx="8797">
                  <c:v>3.7593999</c:v>
                </c:pt>
                <c:pt idx="8798">
                  <c:v>3.7595999</c:v>
                </c:pt>
                <c:pt idx="8799">
                  <c:v>3.7597999999999998</c:v>
                </c:pt>
                <c:pt idx="8800">
                  <c:v>3.76</c:v>
                </c:pt>
                <c:pt idx="8801">
                  <c:v>3.7601998000000001</c:v>
                </c:pt>
                <c:pt idx="8802">
                  <c:v>3.7603998000000001</c:v>
                </c:pt>
                <c:pt idx="8803">
                  <c:v>3.7605998999999999</c:v>
                </c:pt>
                <c:pt idx="8804">
                  <c:v>3.7607998999999999</c:v>
                </c:pt>
                <c:pt idx="8805">
                  <c:v>3.7609998999999998</c:v>
                </c:pt>
                <c:pt idx="8806">
                  <c:v>3.7612000000000001</c:v>
                </c:pt>
                <c:pt idx="8807">
                  <c:v>3.7614000000000001</c:v>
                </c:pt>
                <c:pt idx="8808">
                  <c:v>3.7615997999999999</c:v>
                </c:pt>
                <c:pt idx="8809">
                  <c:v>3.7617997999999999</c:v>
                </c:pt>
                <c:pt idx="8810">
                  <c:v>3.7619997999999999</c:v>
                </c:pt>
                <c:pt idx="8811">
                  <c:v>3.7621999000000002</c:v>
                </c:pt>
                <c:pt idx="8812">
                  <c:v>3.7623999000000001</c:v>
                </c:pt>
                <c:pt idx="8813">
                  <c:v>3.7625999000000001</c:v>
                </c:pt>
                <c:pt idx="8814">
                  <c:v>3.7627999999999999</c:v>
                </c:pt>
                <c:pt idx="8815">
                  <c:v>3.7629999999999999</c:v>
                </c:pt>
                <c:pt idx="8816">
                  <c:v>3.7631998000000002</c:v>
                </c:pt>
                <c:pt idx="8817">
                  <c:v>3.7633998000000002</c:v>
                </c:pt>
                <c:pt idx="8818">
                  <c:v>3.7635999</c:v>
                </c:pt>
                <c:pt idx="8819">
                  <c:v>3.7637999</c:v>
                </c:pt>
                <c:pt idx="8820">
                  <c:v>3.7639999</c:v>
                </c:pt>
                <c:pt idx="8821">
                  <c:v>3.7641996999999998</c:v>
                </c:pt>
                <c:pt idx="8822">
                  <c:v>3.7644000000000002</c:v>
                </c:pt>
                <c:pt idx="8823">
                  <c:v>3.7646000000000002</c:v>
                </c:pt>
                <c:pt idx="8824">
                  <c:v>3.7647998</c:v>
                </c:pt>
                <c:pt idx="8825">
                  <c:v>3.7649998999999998</c:v>
                </c:pt>
                <c:pt idx="8826">
                  <c:v>3.7651997000000001</c:v>
                </c:pt>
                <c:pt idx="8827">
                  <c:v>3.7653998999999998</c:v>
                </c:pt>
                <c:pt idx="8828">
                  <c:v>3.7656000000000001</c:v>
                </c:pt>
                <c:pt idx="8829">
                  <c:v>3.7657997999999999</c:v>
                </c:pt>
                <c:pt idx="8830">
                  <c:v>3.766</c:v>
                </c:pt>
                <c:pt idx="8831">
                  <c:v>3.7662000999999998</c:v>
                </c:pt>
                <c:pt idx="8832">
                  <c:v>3.7663999000000001</c:v>
                </c:pt>
                <c:pt idx="8833">
                  <c:v>3.7665999000000001</c:v>
                </c:pt>
                <c:pt idx="8834">
                  <c:v>3.7667997</c:v>
                </c:pt>
                <c:pt idx="8835">
                  <c:v>3.7669999999999999</c:v>
                </c:pt>
                <c:pt idx="8836">
                  <c:v>3.7671999999999999</c:v>
                </c:pt>
                <c:pt idx="8837">
                  <c:v>3.7673998000000002</c:v>
                </c:pt>
                <c:pt idx="8838">
                  <c:v>3.7676001000000001</c:v>
                </c:pt>
                <c:pt idx="8839">
                  <c:v>3.7677999</c:v>
                </c:pt>
                <c:pt idx="8840">
                  <c:v>3.7679999</c:v>
                </c:pt>
                <c:pt idx="8841">
                  <c:v>3.7681998999999999</c:v>
                </c:pt>
                <c:pt idx="8842">
                  <c:v>3.7683996999999998</c:v>
                </c:pt>
                <c:pt idx="8843">
                  <c:v>3.7686000000000002</c:v>
                </c:pt>
                <c:pt idx="8844">
                  <c:v>3.7687998</c:v>
                </c:pt>
                <c:pt idx="8845">
                  <c:v>3.7689998</c:v>
                </c:pt>
                <c:pt idx="8846">
                  <c:v>3.7692000999999999</c:v>
                </c:pt>
                <c:pt idx="8847">
                  <c:v>3.7693998999999998</c:v>
                </c:pt>
                <c:pt idx="8848">
                  <c:v>3.7695998999999998</c:v>
                </c:pt>
                <c:pt idx="8849">
                  <c:v>3.7697999000000002</c:v>
                </c:pt>
                <c:pt idx="8850">
                  <c:v>3.7699997000000001</c:v>
                </c:pt>
                <c:pt idx="8851">
                  <c:v>3.7702</c:v>
                </c:pt>
                <c:pt idx="8852">
                  <c:v>3.7703997999999999</c:v>
                </c:pt>
                <c:pt idx="8853">
                  <c:v>3.7705997999999998</c:v>
                </c:pt>
                <c:pt idx="8854">
                  <c:v>3.7708001000000002</c:v>
                </c:pt>
                <c:pt idx="8855">
                  <c:v>3.7709999000000001</c:v>
                </c:pt>
                <c:pt idx="8856">
                  <c:v>3.7711999</c:v>
                </c:pt>
                <c:pt idx="8857">
                  <c:v>3.7713996999999999</c:v>
                </c:pt>
                <c:pt idx="8858">
                  <c:v>3.7715998000000002</c:v>
                </c:pt>
                <c:pt idx="8859">
                  <c:v>3.7717999999999998</c:v>
                </c:pt>
                <c:pt idx="8860">
                  <c:v>3.7719998000000001</c:v>
                </c:pt>
                <c:pt idx="8861">
                  <c:v>3.7721998999999999</c:v>
                </c:pt>
                <c:pt idx="8862">
                  <c:v>3.7723998999999999</c:v>
                </c:pt>
                <c:pt idx="8863">
                  <c:v>3.7725998999999999</c:v>
                </c:pt>
                <c:pt idx="8864">
                  <c:v>3.7728000000000002</c:v>
                </c:pt>
                <c:pt idx="8865">
                  <c:v>3.7729998</c:v>
                </c:pt>
                <c:pt idx="8866">
                  <c:v>3.7731998</c:v>
                </c:pt>
                <c:pt idx="8867">
                  <c:v>3.7734000999999999</c:v>
                </c:pt>
                <c:pt idx="8868">
                  <c:v>3.7735998999999998</c:v>
                </c:pt>
                <c:pt idx="8869">
                  <c:v>3.7737999000000002</c:v>
                </c:pt>
                <c:pt idx="8870">
                  <c:v>3.7739999000000002</c:v>
                </c:pt>
                <c:pt idx="8871">
                  <c:v>3.7742</c:v>
                </c:pt>
                <c:pt idx="8872">
                  <c:v>3.7744</c:v>
                </c:pt>
                <c:pt idx="8873">
                  <c:v>3.7745997999999998</c:v>
                </c:pt>
                <c:pt idx="8874">
                  <c:v>3.7747997999999998</c:v>
                </c:pt>
                <c:pt idx="8875">
                  <c:v>3.7749999000000001</c:v>
                </c:pt>
                <c:pt idx="8876">
                  <c:v>3.7751999000000001</c:v>
                </c:pt>
                <c:pt idx="8877">
                  <c:v>3.7753999</c:v>
                </c:pt>
                <c:pt idx="8878">
                  <c:v>3.7755999999999998</c:v>
                </c:pt>
                <c:pt idx="8879">
                  <c:v>3.7757999999999998</c:v>
                </c:pt>
                <c:pt idx="8880">
                  <c:v>3.7759998000000001</c:v>
                </c:pt>
                <c:pt idx="8881">
                  <c:v>3.7761998000000001</c:v>
                </c:pt>
                <c:pt idx="8882">
                  <c:v>3.7763998999999999</c:v>
                </c:pt>
                <c:pt idx="8883">
                  <c:v>3.7765998999999999</c:v>
                </c:pt>
                <c:pt idx="8884">
                  <c:v>3.7767998999999999</c:v>
                </c:pt>
                <c:pt idx="8885">
                  <c:v>3.7769997000000002</c:v>
                </c:pt>
                <c:pt idx="8886">
                  <c:v>3.7772000000000001</c:v>
                </c:pt>
                <c:pt idx="8887">
                  <c:v>3.7774000000000001</c:v>
                </c:pt>
                <c:pt idx="8888">
                  <c:v>3.7775998</c:v>
                </c:pt>
                <c:pt idx="8889">
                  <c:v>3.7777997999999999</c:v>
                </c:pt>
                <c:pt idx="8890">
                  <c:v>3.7779999000000002</c:v>
                </c:pt>
                <c:pt idx="8891">
                  <c:v>3.7781999000000002</c:v>
                </c:pt>
                <c:pt idx="8892">
                  <c:v>3.7783999000000001</c:v>
                </c:pt>
                <c:pt idx="8893">
                  <c:v>3.7785997</c:v>
                </c:pt>
                <c:pt idx="8894">
                  <c:v>3.7787999999999999</c:v>
                </c:pt>
                <c:pt idx="8895">
                  <c:v>3.7789999999999999</c:v>
                </c:pt>
                <c:pt idx="8896">
                  <c:v>3.7791998000000002</c:v>
                </c:pt>
                <c:pt idx="8897">
                  <c:v>3.7793999</c:v>
                </c:pt>
                <c:pt idx="8898">
                  <c:v>3.7795996999999999</c:v>
                </c:pt>
                <c:pt idx="8899">
                  <c:v>3.7797999</c:v>
                </c:pt>
                <c:pt idx="8900">
                  <c:v>3.78</c:v>
                </c:pt>
                <c:pt idx="8901">
                  <c:v>3.7801998000000001</c:v>
                </c:pt>
                <c:pt idx="8902">
                  <c:v>3.7804000000000002</c:v>
                </c:pt>
                <c:pt idx="8903">
                  <c:v>3.7806001</c:v>
                </c:pt>
                <c:pt idx="8904">
                  <c:v>3.7807998999999999</c:v>
                </c:pt>
                <c:pt idx="8905">
                  <c:v>3.7809998999999999</c:v>
                </c:pt>
                <c:pt idx="8906">
                  <c:v>3.7811997000000002</c:v>
                </c:pt>
                <c:pt idx="8907">
                  <c:v>3.7814000000000001</c:v>
                </c:pt>
                <c:pt idx="8908">
                  <c:v>3.7816000000000001</c:v>
                </c:pt>
                <c:pt idx="8909">
                  <c:v>3.7817997999999999</c:v>
                </c:pt>
                <c:pt idx="8910">
                  <c:v>3.7820000999999999</c:v>
                </c:pt>
                <c:pt idx="8911">
                  <c:v>3.7821999000000002</c:v>
                </c:pt>
                <c:pt idx="8912">
                  <c:v>3.7823999000000001</c:v>
                </c:pt>
                <c:pt idx="8913">
                  <c:v>3.7825999000000001</c:v>
                </c:pt>
                <c:pt idx="8914">
                  <c:v>3.7827997</c:v>
                </c:pt>
                <c:pt idx="8915">
                  <c:v>3.7829999999999999</c:v>
                </c:pt>
                <c:pt idx="8916">
                  <c:v>3.7831997999999998</c:v>
                </c:pt>
                <c:pt idx="8917">
                  <c:v>3.7833998000000002</c:v>
                </c:pt>
                <c:pt idx="8918">
                  <c:v>3.7836001000000001</c:v>
                </c:pt>
                <c:pt idx="8919">
                  <c:v>3.7837999</c:v>
                </c:pt>
                <c:pt idx="8920">
                  <c:v>3.7839999</c:v>
                </c:pt>
                <c:pt idx="8921">
                  <c:v>3.7841996999999998</c:v>
                </c:pt>
                <c:pt idx="8922">
                  <c:v>3.7843996999999998</c:v>
                </c:pt>
                <c:pt idx="8923">
                  <c:v>3.7846000000000002</c:v>
                </c:pt>
                <c:pt idx="8924">
                  <c:v>3.7847998</c:v>
                </c:pt>
                <c:pt idx="8925">
                  <c:v>3.7849998</c:v>
                </c:pt>
                <c:pt idx="8926">
                  <c:v>3.7852001</c:v>
                </c:pt>
                <c:pt idx="8927">
                  <c:v>3.7853998999999998</c:v>
                </c:pt>
                <c:pt idx="8928">
                  <c:v>3.7855998999999998</c:v>
                </c:pt>
                <c:pt idx="8929">
                  <c:v>3.7857997000000001</c:v>
                </c:pt>
                <c:pt idx="8930">
                  <c:v>3.7859997999999999</c:v>
                </c:pt>
                <c:pt idx="8931">
                  <c:v>3.7862</c:v>
                </c:pt>
                <c:pt idx="8932">
                  <c:v>3.7863997999999999</c:v>
                </c:pt>
                <c:pt idx="8933">
                  <c:v>3.7865999000000001</c:v>
                </c:pt>
                <c:pt idx="8934">
                  <c:v>3.7867999000000001</c:v>
                </c:pt>
                <c:pt idx="8935">
                  <c:v>3.7869999000000001</c:v>
                </c:pt>
                <c:pt idx="8936">
                  <c:v>3.7871999999999999</c:v>
                </c:pt>
                <c:pt idx="8937">
                  <c:v>3.7873998000000002</c:v>
                </c:pt>
                <c:pt idx="8938">
                  <c:v>3.7875998000000002</c:v>
                </c:pt>
                <c:pt idx="8939">
                  <c:v>3.7878001000000001</c:v>
                </c:pt>
                <c:pt idx="8940">
                  <c:v>3.7879999</c:v>
                </c:pt>
                <c:pt idx="8941">
                  <c:v>3.7881999</c:v>
                </c:pt>
                <c:pt idx="8942">
                  <c:v>3.7883998999999999</c:v>
                </c:pt>
                <c:pt idx="8943">
                  <c:v>3.7886000000000002</c:v>
                </c:pt>
                <c:pt idx="8944">
                  <c:v>3.7888000000000002</c:v>
                </c:pt>
                <c:pt idx="8945">
                  <c:v>3.7889998</c:v>
                </c:pt>
                <c:pt idx="8946">
                  <c:v>3.7891998</c:v>
                </c:pt>
                <c:pt idx="8947">
                  <c:v>3.7893998999999998</c:v>
                </c:pt>
                <c:pt idx="8948">
                  <c:v>3.7895998999999998</c:v>
                </c:pt>
                <c:pt idx="8949">
                  <c:v>3.7897999000000002</c:v>
                </c:pt>
                <c:pt idx="8950">
                  <c:v>3.79</c:v>
                </c:pt>
                <c:pt idx="8951">
                  <c:v>3.7902</c:v>
                </c:pt>
                <c:pt idx="8952">
                  <c:v>3.7903997999999999</c:v>
                </c:pt>
                <c:pt idx="8953">
                  <c:v>3.7905997999999999</c:v>
                </c:pt>
                <c:pt idx="8954">
                  <c:v>3.7907999000000001</c:v>
                </c:pt>
                <c:pt idx="8955">
                  <c:v>3.7909999000000001</c:v>
                </c:pt>
                <c:pt idx="8956">
                  <c:v>3.7911999000000001</c:v>
                </c:pt>
                <c:pt idx="8957">
                  <c:v>3.7913996999999999</c:v>
                </c:pt>
                <c:pt idx="8958">
                  <c:v>3.7915999999999999</c:v>
                </c:pt>
                <c:pt idx="8959">
                  <c:v>3.7917999999999998</c:v>
                </c:pt>
                <c:pt idx="8960">
                  <c:v>3.7919998000000001</c:v>
                </c:pt>
                <c:pt idx="8961">
                  <c:v>3.7921999</c:v>
                </c:pt>
                <c:pt idx="8962">
                  <c:v>3.7923998999999999</c:v>
                </c:pt>
                <c:pt idx="8963">
                  <c:v>3.7925998999999999</c:v>
                </c:pt>
                <c:pt idx="8964">
                  <c:v>3.7927998999999999</c:v>
                </c:pt>
                <c:pt idx="8965">
                  <c:v>3.7929997000000002</c:v>
                </c:pt>
                <c:pt idx="8966">
                  <c:v>3.7932000000000001</c:v>
                </c:pt>
                <c:pt idx="8967">
                  <c:v>3.7934000000000001</c:v>
                </c:pt>
                <c:pt idx="8968">
                  <c:v>3.7935998</c:v>
                </c:pt>
                <c:pt idx="8969">
                  <c:v>3.7937998999999998</c:v>
                </c:pt>
                <c:pt idx="8970">
                  <c:v>3.7939997000000001</c:v>
                </c:pt>
                <c:pt idx="8971">
                  <c:v>3.7941999000000002</c:v>
                </c:pt>
                <c:pt idx="8972">
                  <c:v>3.7944</c:v>
                </c:pt>
                <c:pt idx="8973">
                  <c:v>3.7945997999999999</c:v>
                </c:pt>
                <c:pt idx="8974">
                  <c:v>3.7948</c:v>
                </c:pt>
                <c:pt idx="8975">
                  <c:v>3.7949997999999998</c:v>
                </c:pt>
                <c:pt idx="8976">
                  <c:v>3.7951999000000001</c:v>
                </c:pt>
                <c:pt idx="8977">
                  <c:v>3.7953999</c:v>
                </c:pt>
                <c:pt idx="8978">
                  <c:v>3.7955996999999999</c:v>
                </c:pt>
                <c:pt idx="8979">
                  <c:v>3.7957999999999998</c:v>
                </c:pt>
                <c:pt idx="8980">
                  <c:v>3.7959999999999998</c:v>
                </c:pt>
                <c:pt idx="8981">
                  <c:v>3.7961998000000001</c:v>
                </c:pt>
                <c:pt idx="8982">
                  <c:v>3.7964001000000001</c:v>
                </c:pt>
                <c:pt idx="8983">
                  <c:v>3.7965998999999999</c:v>
                </c:pt>
                <c:pt idx="8984">
                  <c:v>3.7967998999999999</c:v>
                </c:pt>
                <c:pt idx="8985">
                  <c:v>3.7969998999999999</c:v>
                </c:pt>
                <c:pt idx="8986">
                  <c:v>3.7971997000000002</c:v>
                </c:pt>
                <c:pt idx="8987">
                  <c:v>3.7974000000000001</c:v>
                </c:pt>
                <c:pt idx="8988">
                  <c:v>3.7975998</c:v>
                </c:pt>
                <c:pt idx="8989">
                  <c:v>3.7977997999999999</c:v>
                </c:pt>
                <c:pt idx="8990">
                  <c:v>3.7980000999999999</c:v>
                </c:pt>
                <c:pt idx="8991">
                  <c:v>3.7981999000000002</c:v>
                </c:pt>
                <c:pt idx="8992">
                  <c:v>3.7983999000000002</c:v>
                </c:pt>
                <c:pt idx="8993">
                  <c:v>3.7985997</c:v>
                </c:pt>
                <c:pt idx="8994">
                  <c:v>3.7987997999999998</c:v>
                </c:pt>
                <c:pt idx="8995">
                  <c:v>3.7989999999999999</c:v>
                </c:pt>
                <c:pt idx="8996">
                  <c:v>3.7991997999999998</c:v>
                </c:pt>
                <c:pt idx="8997">
                  <c:v>3.7993999000000001</c:v>
                </c:pt>
                <c:pt idx="8998">
                  <c:v>3.7996001000000001</c:v>
                </c:pt>
                <c:pt idx="8999">
                  <c:v>3.7997999</c:v>
                </c:pt>
                <c:pt idx="9000">
                  <c:v>3.8</c:v>
                </c:pt>
                <c:pt idx="9001">
                  <c:v>3.8001996999999998</c:v>
                </c:pt>
                <c:pt idx="9002">
                  <c:v>3.8003998000000001</c:v>
                </c:pt>
                <c:pt idx="9003">
                  <c:v>3.8006001</c:v>
                </c:pt>
                <c:pt idx="9004">
                  <c:v>3.8007998000000001</c:v>
                </c:pt>
                <c:pt idx="9005">
                  <c:v>3.8009998999999999</c:v>
                </c:pt>
                <c:pt idx="9006">
                  <c:v>3.8011998999999999</c:v>
                </c:pt>
                <c:pt idx="9007">
                  <c:v>3.8013998999999998</c:v>
                </c:pt>
                <c:pt idx="9008">
                  <c:v>3.8016000000000001</c:v>
                </c:pt>
                <c:pt idx="9009">
                  <c:v>3.8017998</c:v>
                </c:pt>
                <c:pt idx="9010">
                  <c:v>3.8019997999999999</c:v>
                </c:pt>
                <c:pt idx="9011">
                  <c:v>3.8021997999999999</c:v>
                </c:pt>
                <c:pt idx="9012">
                  <c:v>3.8023999000000002</c:v>
                </c:pt>
                <c:pt idx="9013">
                  <c:v>3.8025999000000001</c:v>
                </c:pt>
                <c:pt idx="9014">
                  <c:v>3.8027999000000001</c:v>
                </c:pt>
                <c:pt idx="9015">
                  <c:v>3.8029999999999999</c:v>
                </c:pt>
                <c:pt idx="9016">
                  <c:v>3.8031999999999999</c:v>
                </c:pt>
                <c:pt idx="9017">
                  <c:v>3.8033998000000002</c:v>
                </c:pt>
                <c:pt idx="9018">
                  <c:v>3.8035998000000002</c:v>
                </c:pt>
                <c:pt idx="9019">
                  <c:v>3.8037999</c:v>
                </c:pt>
                <c:pt idx="9020">
                  <c:v>3.8039999</c:v>
                </c:pt>
                <c:pt idx="9021">
                  <c:v>3.8041999</c:v>
                </c:pt>
                <c:pt idx="9022">
                  <c:v>3.8043999999999998</c:v>
                </c:pt>
                <c:pt idx="9023">
                  <c:v>3.8046000000000002</c:v>
                </c:pt>
                <c:pt idx="9024">
                  <c:v>3.8047998000000001</c:v>
                </c:pt>
                <c:pt idx="9025">
                  <c:v>3.8049998</c:v>
                </c:pt>
                <c:pt idx="9026">
                  <c:v>3.8051998999999999</c:v>
                </c:pt>
                <c:pt idx="9027">
                  <c:v>3.8053998999999998</c:v>
                </c:pt>
                <c:pt idx="9028">
                  <c:v>3.8055998999999998</c:v>
                </c:pt>
                <c:pt idx="9029">
                  <c:v>3.8057997000000001</c:v>
                </c:pt>
                <c:pt idx="9030">
                  <c:v>3.806</c:v>
                </c:pt>
                <c:pt idx="9031">
                  <c:v>3.8062</c:v>
                </c:pt>
                <c:pt idx="9032">
                  <c:v>3.8063997999999999</c:v>
                </c:pt>
                <c:pt idx="9033">
                  <c:v>3.8065999000000001</c:v>
                </c:pt>
                <c:pt idx="9034">
                  <c:v>3.8067997</c:v>
                </c:pt>
                <c:pt idx="9035">
                  <c:v>3.8069999000000001</c:v>
                </c:pt>
                <c:pt idx="9036">
                  <c:v>3.8071999999999999</c:v>
                </c:pt>
                <c:pt idx="9037">
                  <c:v>3.8073996999999999</c:v>
                </c:pt>
                <c:pt idx="9038">
                  <c:v>3.8075999999999999</c:v>
                </c:pt>
                <c:pt idx="9039">
                  <c:v>3.8078001000000001</c:v>
                </c:pt>
                <c:pt idx="9040">
                  <c:v>3.8079998000000002</c:v>
                </c:pt>
                <c:pt idx="9041">
                  <c:v>3.8081999</c:v>
                </c:pt>
                <c:pt idx="9042">
                  <c:v>3.8083996999999998</c:v>
                </c:pt>
                <c:pt idx="9043">
                  <c:v>3.8085998999999999</c:v>
                </c:pt>
                <c:pt idx="9044">
                  <c:v>3.8088000000000002</c:v>
                </c:pt>
                <c:pt idx="9045">
                  <c:v>3.8089998</c:v>
                </c:pt>
                <c:pt idx="9046">
                  <c:v>3.8092000000000001</c:v>
                </c:pt>
                <c:pt idx="9047">
                  <c:v>3.8093998</c:v>
                </c:pt>
                <c:pt idx="9048">
                  <c:v>3.8095998999999998</c:v>
                </c:pt>
                <c:pt idx="9049">
                  <c:v>3.8097998999999998</c:v>
                </c:pt>
                <c:pt idx="9050">
                  <c:v>3.8099997000000001</c:v>
                </c:pt>
                <c:pt idx="9051">
                  <c:v>3.8102</c:v>
                </c:pt>
                <c:pt idx="9052">
                  <c:v>3.8104</c:v>
                </c:pt>
                <c:pt idx="9053">
                  <c:v>3.8105997999999999</c:v>
                </c:pt>
                <c:pt idx="9054">
                  <c:v>3.8108000999999998</c:v>
                </c:pt>
                <c:pt idx="9055">
                  <c:v>3.8109999000000001</c:v>
                </c:pt>
                <c:pt idx="9056">
                  <c:v>3.8111999000000001</c:v>
                </c:pt>
                <c:pt idx="9057">
                  <c:v>3.8113999000000001</c:v>
                </c:pt>
                <c:pt idx="9058">
                  <c:v>3.8115996999999999</c:v>
                </c:pt>
                <c:pt idx="9059">
                  <c:v>3.8117999999999999</c:v>
                </c:pt>
                <c:pt idx="9060">
                  <c:v>3.8119998000000002</c:v>
                </c:pt>
                <c:pt idx="9061">
                  <c:v>3.8121998000000001</c:v>
                </c:pt>
                <c:pt idx="9062">
                  <c:v>3.8124001000000001</c:v>
                </c:pt>
                <c:pt idx="9063">
                  <c:v>3.8125998999999999</c:v>
                </c:pt>
                <c:pt idx="9064">
                  <c:v>3.8127998999999999</c:v>
                </c:pt>
                <c:pt idx="9065">
                  <c:v>3.8129997000000002</c:v>
                </c:pt>
                <c:pt idx="9066">
                  <c:v>3.8131998</c:v>
                </c:pt>
                <c:pt idx="9067">
                  <c:v>3.8134000000000001</c:v>
                </c:pt>
                <c:pt idx="9068">
                  <c:v>3.8135998</c:v>
                </c:pt>
                <c:pt idx="9069">
                  <c:v>3.8137998999999998</c:v>
                </c:pt>
                <c:pt idx="9070">
                  <c:v>3.8140000999999999</c:v>
                </c:pt>
                <c:pt idx="9071">
                  <c:v>3.8141999000000002</c:v>
                </c:pt>
                <c:pt idx="9072">
                  <c:v>3.8144</c:v>
                </c:pt>
                <c:pt idx="9073">
                  <c:v>3.8145997999999999</c:v>
                </c:pt>
                <c:pt idx="9074">
                  <c:v>3.8147997999999999</c:v>
                </c:pt>
                <c:pt idx="9075">
                  <c:v>3.8150000999999998</c:v>
                </c:pt>
                <c:pt idx="9076">
                  <c:v>3.8151999000000001</c:v>
                </c:pt>
                <c:pt idx="9077">
                  <c:v>3.8153999000000001</c:v>
                </c:pt>
                <c:pt idx="9078">
                  <c:v>3.8155999</c:v>
                </c:pt>
                <c:pt idx="9079">
                  <c:v>3.8157999999999999</c:v>
                </c:pt>
                <c:pt idx="9080">
                  <c:v>3.8159999999999998</c:v>
                </c:pt>
                <c:pt idx="9081">
                  <c:v>3.8161998000000001</c:v>
                </c:pt>
                <c:pt idx="9082">
                  <c:v>3.8163998000000001</c:v>
                </c:pt>
                <c:pt idx="9083">
                  <c:v>3.8165998000000001</c:v>
                </c:pt>
                <c:pt idx="9084">
                  <c:v>3.8167998999999999</c:v>
                </c:pt>
                <c:pt idx="9085">
                  <c:v>3.8169998999999999</c:v>
                </c:pt>
                <c:pt idx="9086">
                  <c:v>3.8171998999999999</c:v>
                </c:pt>
                <c:pt idx="9087">
                  <c:v>3.8174000000000001</c:v>
                </c:pt>
                <c:pt idx="9088">
                  <c:v>3.8175998</c:v>
                </c:pt>
                <c:pt idx="9089">
                  <c:v>3.8177998</c:v>
                </c:pt>
                <c:pt idx="9090">
                  <c:v>3.8179997999999999</c:v>
                </c:pt>
                <c:pt idx="9091">
                  <c:v>3.8181999000000002</c:v>
                </c:pt>
                <c:pt idx="9092">
                  <c:v>3.8183999000000002</c:v>
                </c:pt>
                <c:pt idx="9093">
                  <c:v>3.8185999000000002</c:v>
                </c:pt>
                <c:pt idx="9094">
                  <c:v>3.8188</c:v>
                </c:pt>
                <c:pt idx="9095">
                  <c:v>3.819</c:v>
                </c:pt>
                <c:pt idx="9096">
                  <c:v>3.8191997999999998</c:v>
                </c:pt>
                <c:pt idx="9097">
                  <c:v>3.8193997999999998</c:v>
                </c:pt>
                <c:pt idx="9098">
                  <c:v>3.8195999</c:v>
                </c:pt>
                <c:pt idx="9099">
                  <c:v>3.8197999</c:v>
                </c:pt>
                <c:pt idx="9100">
                  <c:v>3.8199999</c:v>
                </c:pt>
                <c:pt idx="9101">
                  <c:v>3.8201996999999999</c:v>
                </c:pt>
                <c:pt idx="9102">
                  <c:v>3.8203999999999998</c:v>
                </c:pt>
                <c:pt idx="9103">
                  <c:v>3.8206000000000002</c:v>
                </c:pt>
                <c:pt idx="9104">
                  <c:v>3.8207998000000001</c:v>
                </c:pt>
                <c:pt idx="9105">
                  <c:v>3.8209998999999999</c:v>
                </c:pt>
                <c:pt idx="9106">
                  <c:v>3.8211997000000002</c:v>
                </c:pt>
                <c:pt idx="9107">
                  <c:v>3.8213998999999998</c:v>
                </c:pt>
                <c:pt idx="9108">
                  <c:v>3.8216000000000001</c:v>
                </c:pt>
                <c:pt idx="9109">
                  <c:v>3.8217998</c:v>
                </c:pt>
                <c:pt idx="9110">
                  <c:v>3.8220000000000001</c:v>
                </c:pt>
                <c:pt idx="9111">
                  <c:v>3.8222000999999999</c:v>
                </c:pt>
                <c:pt idx="9112">
                  <c:v>3.8223999000000002</c:v>
                </c:pt>
                <c:pt idx="9113">
                  <c:v>3.8225999000000002</c:v>
                </c:pt>
                <c:pt idx="9114">
                  <c:v>3.8227997</c:v>
                </c:pt>
                <c:pt idx="9115">
                  <c:v>3.823</c:v>
                </c:pt>
                <c:pt idx="9116">
                  <c:v>3.8231999999999999</c:v>
                </c:pt>
                <c:pt idx="9117">
                  <c:v>3.8233997999999998</c:v>
                </c:pt>
                <c:pt idx="9118">
                  <c:v>3.8236001000000002</c:v>
                </c:pt>
                <c:pt idx="9119">
                  <c:v>3.8237998000000002</c:v>
                </c:pt>
                <c:pt idx="9120">
                  <c:v>3.8239999</c:v>
                </c:pt>
                <c:pt idx="9121">
                  <c:v>3.8241999</c:v>
                </c:pt>
                <c:pt idx="9122">
                  <c:v>3.8243996999999998</c:v>
                </c:pt>
                <c:pt idx="9123">
                  <c:v>3.8246000000000002</c:v>
                </c:pt>
                <c:pt idx="9124">
                  <c:v>3.8247998000000001</c:v>
                </c:pt>
                <c:pt idx="9125">
                  <c:v>3.8249998000000001</c:v>
                </c:pt>
                <c:pt idx="9126">
                  <c:v>3.8252001</c:v>
                </c:pt>
                <c:pt idx="9127">
                  <c:v>3.8253998999999999</c:v>
                </c:pt>
                <c:pt idx="9128">
                  <c:v>3.8255998999999998</c:v>
                </c:pt>
                <c:pt idx="9129">
                  <c:v>3.8257998999999998</c:v>
                </c:pt>
                <c:pt idx="9130">
                  <c:v>3.8259997000000001</c:v>
                </c:pt>
                <c:pt idx="9131">
                  <c:v>3.8262</c:v>
                </c:pt>
                <c:pt idx="9132">
                  <c:v>3.8263997999999999</c:v>
                </c:pt>
                <c:pt idx="9133">
                  <c:v>3.8265997999999999</c:v>
                </c:pt>
                <c:pt idx="9134">
                  <c:v>3.8268000999999998</c:v>
                </c:pt>
                <c:pt idx="9135">
                  <c:v>3.8269999000000001</c:v>
                </c:pt>
                <c:pt idx="9136">
                  <c:v>3.8271999000000001</c:v>
                </c:pt>
                <c:pt idx="9137">
                  <c:v>3.8273997</c:v>
                </c:pt>
                <c:pt idx="9138">
                  <c:v>3.8275998000000002</c:v>
                </c:pt>
                <c:pt idx="9139">
                  <c:v>3.8277999999999999</c:v>
                </c:pt>
                <c:pt idx="9140">
                  <c:v>3.8279998000000002</c:v>
                </c:pt>
                <c:pt idx="9141">
                  <c:v>3.8281999</c:v>
                </c:pt>
                <c:pt idx="9142">
                  <c:v>3.8284001000000001</c:v>
                </c:pt>
                <c:pt idx="9143">
                  <c:v>3.8285998999999999</c:v>
                </c:pt>
                <c:pt idx="9144">
                  <c:v>3.8288000000000002</c:v>
                </c:pt>
                <c:pt idx="9145">
                  <c:v>3.8289998000000001</c:v>
                </c:pt>
                <c:pt idx="9146">
                  <c:v>3.8291998</c:v>
                </c:pt>
                <c:pt idx="9147">
                  <c:v>3.8294001</c:v>
                </c:pt>
                <c:pt idx="9148">
                  <c:v>3.8295998999999998</c:v>
                </c:pt>
                <c:pt idx="9149">
                  <c:v>3.8297998999999998</c:v>
                </c:pt>
                <c:pt idx="9150">
                  <c:v>3.8299998999999998</c:v>
                </c:pt>
                <c:pt idx="9151">
                  <c:v>3.8302</c:v>
                </c:pt>
                <c:pt idx="9152">
                  <c:v>3.8304</c:v>
                </c:pt>
                <c:pt idx="9153">
                  <c:v>3.8305997999999999</c:v>
                </c:pt>
                <c:pt idx="9154">
                  <c:v>3.8307997999999999</c:v>
                </c:pt>
                <c:pt idx="9155">
                  <c:v>3.8309999000000001</c:v>
                </c:pt>
                <c:pt idx="9156">
                  <c:v>3.8311999000000001</c:v>
                </c:pt>
                <c:pt idx="9157">
                  <c:v>3.8313999000000001</c:v>
                </c:pt>
                <c:pt idx="9158">
                  <c:v>3.8315999999999999</c:v>
                </c:pt>
                <c:pt idx="9159">
                  <c:v>3.8317999999999999</c:v>
                </c:pt>
                <c:pt idx="9160">
                  <c:v>3.8319998000000002</c:v>
                </c:pt>
                <c:pt idx="9161">
                  <c:v>3.8321998000000002</c:v>
                </c:pt>
                <c:pt idx="9162">
                  <c:v>3.8323998000000001</c:v>
                </c:pt>
                <c:pt idx="9163">
                  <c:v>3.8325998999999999</c:v>
                </c:pt>
                <c:pt idx="9164">
                  <c:v>3.8327998999999999</c:v>
                </c:pt>
                <c:pt idx="9165">
                  <c:v>3.8329998999999999</c:v>
                </c:pt>
                <c:pt idx="9166">
                  <c:v>3.8332000000000002</c:v>
                </c:pt>
                <c:pt idx="9167">
                  <c:v>3.8334000000000001</c:v>
                </c:pt>
                <c:pt idx="9168">
                  <c:v>3.8335998</c:v>
                </c:pt>
                <c:pt idx="9169">
                  <c:v>3.8337998</c:v>
                </c:pt>
                <c:pt idx="9170">
                  <c:v>3.8339998999999998</c:v>
                </c:pt>
                <c:pt idx="9171">
                  <c:v>3.8341999000000002</c:v>
                </c:pt>
                <c:pt idx="9172">
                  <c:v>3.8343999000000002</c:v>
                </c:pt>
                <c:pt idx="9173">
                  <c:v>3.8345997000000001</c:v>
                </c:pt>
                <c:pt idx="9174">
                  <c:v>3.8348</c:v>
                </c:pt>
                <c:pt idx="9175">
                  <c:v>3.835</c:v>
                </c:pt>
                <c:pt idx="9176">
                  <c:v>3.8351997999999998</c:v>
                </c:pt>
                <c:pt idx="9177">
                  <c:v>3.8353999000000001</c:v>
                </c:pt>
                <c:pt idx="9178">
                  <c:v>3.8355996999999999</c:v>
                </c:pt>
                <c:pt idx="9179">
                  <c:v>3.8357999</c:v>
                </c:pt>
                <c:pt idx="9180">
                  <c:v>3.8359999999999999</c:v>
                </c:pt>
                <c:pt idx="9181">
                  <c:v>3.8361998000000002</c:v>
                </c:pt>
                <c:pt idx="9182">
                  <c:v>3.8363999999999998</c:v>
                </c:pt>
                <c:pt idx="9183">
                  <c:v>3.8366001000000001</c:v>
                </c:pt>
                <c:pt idx="9184">
                  <c:v>3.8367998999999999</c:v>
                </c:pt>
                <c:pt idx="9185">
                  <c:v>3.8369998999999999</c:v>
                </c:pt>
                <c:pt idx="9186">
                  <c:v>3.8371997000000002</c:v>
                </c:pt>
                <c:pt idx="9187">
                  <c:v>3.8374000000000001</c:v>
                </c:pt>
                <c:pt idx="9188">
                  <c:v>3.8376000000000001</c:v>
                </c:pt>
                <c:pt idx="9189">
                  <c:v>3.8377998</c:v>
                </c:pt>
                <c:pt idx="9190">
                  <c:v>3.8380000999999999</c:v>
                </c:pt>
                <c:pt idx="9191">
                  <c:v>3.8381999000000002</c:v>
                </c:pt>
                <c:pt idx="9192">
                  <c:v>3.8383999000000002</c:v>
                </c:pt>
                <c:pt idx="9193">
                  <c:v>3.8385999000000002</c:v>
                </c:pt>
                <c:pt idx="9194">
                  <c:v>3.8387997</c:v>
                </c:pt>
                <c:pt idx="9195">
                  <c:v>3.839</c:v>
                </c:pt>
                <c:pt idx="9196">
                  <c:v>3.8391997999999998</c:v>
                </c:pt>
                <c:pt idx="9197">
                  <c:v>3.8393997999999998</c:v>
                </c:pt>
                <c:pt idx="9198">
                  <c:v>3.8396001000000002</c:v>
                </c:pt>
                <c:pt idx="9199">
                  <c:v>3.8397999</c:v>
                </c:pt>
                <c:pt idx="9200">
                  <c:v>3.8399999</c:v>
                </c:pt>
                <c:pt idx="9201">
                  <c:v>3.8401996999999999</c:v>
                </c:pt>
                <c:pt idx="9202">
                  <c:v>3.8403996999999999</c:v>
                </c:pt>
                <c:pt idx="9203">
                  <c:v>3.8405999999999998</c:v>
                </c:pt>
                <c:pt idx="9204">
                  <c:v>3.8407998000000001</c:v>
                </c:pt>
                <c:pt idx="9205">
                  <c:v>3.8409998000000001</c:v>
                </c:pt>
                <c:pt idx="9206">
                  <c:v>3.8412001</c:v>
                </c:pt>
                <c:pt idx="9207">
                  <c:v>3.8413998999999999</c:v>
                </c:pt>
                <c:pt idx="9208">
                  <c:v>3.8415998999999998</c:v>
                </c:pt>
                <c:pt idx="9209">
                  <c:v>3.8417997000000002</c:v>
                </c:pt>
                <c:pt idx="9210">
                  <c:v>3.8419998</c:v>
                </c:pt>
                <c:pt idx="9211">
                  <c:v>3.8422000000000001</c:v>
                </c:pt>
                <c:pt idx="9212">
                  <c:v>3.8423997999999999</c:v>
                </c:pt>
                <c:pt idx="9213">
                  <c:v>3.8425999000000002</c:v>
                </c:pt>
                <c:pt idx="9214">
                  <c:v>3.8427999000000002</c:v>
                </c:pt>
                <c:pt idx="9215">
                  <c:v>3.8429999000000001</c:v>
                </c:pt>
                <c:pt idx="9216">
                  <c:v>3.8431999999999999</c:v>
                </c:pt>
                <c:pt idx="9217">
                  <c:v>3.8433997999999998</c:v>
                </c:pt>
                <c:pt idx="9218">
                  <c:v>3.8435997999999998</c:v>
                </c:pt>
                <c:pt idx="9219">
                  <c:v>3.8438001000000002</c:v>
                </c:pt>
                <c:pt idx="9220">
                  <c:v>3.8439999</c:v>
                </c:pt>
                <c:pt idx="9221">
                  <c:v>3.8441999</c:v>
                </c:pt>
                <c:pt idx="9222">
                  <c:v>3.8443999</c:v>
                </c:pt>
                <c:pt idx="9223">
                  <c:v>3.8445999999999998</c:v>
                </c:pt>
                <c:pt idx="9224">
                  <c:v>3.8448000000000002</c:v>
                </c:pt>
                <c:pt idx="9225">
                  <c:v>3.8449998000000001</c:v>
                </c:pt>
                <c:pt idx="9226">
                  <c:v>3.8451998000000001</c:v>
                </c:pt>
                <c:pt idx="9227">
                  <c:v>3.8453998999999999</c:v>
                </c:pt>
                <c:pt idx="9228">
                  <c:v>3.8455998999999998</c:v>
                </c:pt>
                <c:pt idx="9229">
                  <c:v>3.8457998999999998</c:v>
                </c:pt>
                <c:pt idx="9230">
                  <c:v>3.8460000000000001</c:v>
                </c:pt>
                <c:pt idx="9231">
                  <c:v>3.8462000000000001</c:v>
                </c:pt>
                <c:pt idx="9232">
                  <c:v>3.8463997999999999</c:v>
                </c:pt>
                <c:pt idx="9233">
                  <c:v>3.8465997999999999</c:v>
                </c:pt>
                <c:pt idx="9234">
                  <c:v>3.8467999000000002</c:v>
                </c:pt>
                <c:pt idx="9235">
                  <c:v>3.8469999000000001</c:v>
                </c:pt>
                <c:pt idx="9236">
                  <c:v>3.8471999000000001</c:v>
                </c:pt>
                <c:pt idx="9237">
                  <c:v>3.8473997</c:v>
                </c:pt>
                <c:pt idx="9238">
                  <c:v>3.8475999999999999</c:v>
                </c:pt>
                <c:pt idx="9239">
                  <c:v>3.8477999999999999</c:v>
                </c:pt>
                <c:pt idx="9240">
                  <c:v>3.8479998000000002</c:v>
                </c:pt>
                <c:pt idx="9241">
                  <c:v>3.8481998000000002</c:v>
                </c:pt>
                <c:pt idx="9242">
                  <c:v>3.8483999</c:v>
                </c:pt>
                <c:pt idx="9243">
                  <c:v>3.8485999</c:v>
                </c:pt>
                <c:pt idx="9244">
                  <c:v>3.8487998999999999</c:v>
                </c:pt>
                <c:pt idx="9245">
                  <c:v>3.8489996999999998</c:v>
                </c:pt>
                <c:pt idx="9246">
                  <c:v>3.8492000000000002</c:v>
                </c:pt>
                <c:pt idx="9247">
                  <c:v>3.8494000000000002</c:v>
                </c:pt>
                <c:pt idx="9248">
                  <c:v>3.8495998</c:v>
                </c:pt>
                <c:pt idx="9249">
                  <c:v>3.8497998999999998</c:v>
                </c:pt>
                <c:pt idx="9250">
                  <c:v>3.8499997000000001</c:v>
                </c:pt>
                <c:pt idx="9251">
                  <c:v>3.8501998999999998</c:v>
                </c:pt>
                <c:pt idx="9252">
                  <c:v>3.8504</c:v>
                </c:pt>
                <c:pt idx="9253">
                  <c:v>3.8505997999999999</c:v>
                </c:pt>
                <c:pt idx="9254">
                  <c:v>3.8508</c:v>
                </c:pt>
                <c:pt idx="9255">
                  <c:v>3.8510000999999998</c:v>
                </c:pt>
                <c:pt idx="9256">
                  <c:v>3.8511999000000001</c:v>
                </c:pt>
                <c:pt idx="9257">
                  <c:v>3.8513999000000001</c:v>
                </c:pt>
                <c:pt idx="9258">
                  <c:v>3.8515997</c:v>
                </c:pt>
                <c:pt idx="9259">
                  <c:v>3.8517999999999999</c:v>
                </c:pt>
                <c:pt idx="9260">
                  <c:v>3.8519999999999999</c:v>
                </c:pt>
                <c:pt idx="9261">
                  <c:v>3.8521998000000002</c:v>
                </c:pt>
                <c:pt idx="9262">
                  <c:v>3.8524001000000001</c:v>
                </c:pt>
                <c:pt idx="9263">
                  <c:v>3.8525999</c:v>
                </c:pt>
                <c:pt idx="9264">
                  <c:v>3.8527998999999999</c:v>
                </c:pt>
                <c:pt idx="9265">
                  <c:v>3.8529998999999999</c:v>
                </c:pt>
                <c:pt idx="9266">
                  <c:v>3.8531996999999998</c:v>
                </c:pt>
                <c:pt idx="9267">
                  <c:v>3.8534000000000002</c:v>
                </c:pt>
                <c:pt idx="9268">
                  <c:v>3.8535998</c:v>
                </c:pt>
                <c:pt idx="9269">
                  <c:v>3.8537998</c:v>
                </c:pt>
                <c:pt idx="9270">
                  <c:v>3.8540000999999999</c:v>
                </c:pt>
                <c:pt idx="9271">
                  <c:v>3.8541998999999998</c:v>
                </c:pt>
                <c:pt idx="9272">
                  <c:v>3.8543999000000002</c:v>
                </c:pt>
                <c:pt idx="9273">
                  <c:v>3.8545997000000001</c:v>
                </c:pt>
                <c:pt idx="9274">
                  <c:v>3.8547997000000001</c:v>
                </c:pt>
                <c:pt idx="9275">
                  <c:v>3.855</c:v>
                </c:pt>
                <c:pt idx="9276">
                  <c:v>3.8551997999999998</c:v>
                </c:pt>
                <c:pt idx="9277">
                  <c:v>3.8553997999999998</c:v>
                </c:pt>
                <c:pt idx="9278">
                  <c:v>3.8556001000000002</c:v>
                </c:pt>
                <c:pt idx="9279">
                  <c:v>3.8557999000000001</c:v>
                </c:pt>
                <c:pt idx="9280">
                  <c:v>3.8559999</c:v>
                </c:pt>
                <c:pt idx="9281">
                  <c:v>3.8561996999999999</c:v>
                </c:pt>
                <c:pt idx="9282">
                  <c:v>3.8563998000000002</c:v>
                </c:pt>
                <c:pt idx="9283">
                  <c:v>3.8565999999999998</c:v>
                </c:pt>
                <c:pt idx="9284">
                  <c:v>3.8567998000000001</c:v>
                </c:pt>
                <c:pt idx="9285">
                  <c:v>3.8569998999999999</c:v>
                </c:pt>
                <c:pt idx="9286">
                  <c:v>3.8571998999999999</c:v>
                </c:pt>
                <c:pt idx="9287">
                  <c:v>3.8573998999999999</c:v>
                </c:pt>
                <c:pt idx="9288">
                  <c:v>3.8576000000000001</c:v>
                </c:pt>
                <c:pt idx="9289">
                  <c:v>3.8577998</c:v>
                </c:pt>
                <c:pt idx="9290">
                  <c:v>3.8579998</c:v>
                </c:pt>
                <c:pt idx="9291">
                  <c:v>3.8582000999999999</c:v>
                </c:pt>
                <c:pt idx="9292">
                  <c:v>3.8583999000000002</c:v>
                </c:pt>
                <c:pt idx="9293">
                  <c:v>3.8585999000000002</c:v>
                </c:pt>
                <c:pt idx="9294">
                  <c:v>3.8587999000000002</c:v>
                </c:pt>
                <c:pt idx="9295">
                  <c:v>3.859</c:v>
                </c:pt>
                <c:pt idx="9296">
                  <c:v>3.8592</c:v>
                </c:pt>
                <c:pt idx="9297">
                  <c:v>3.8593997999999998</c:v>
                </c:pt>
                <c:pt idx="9298">
                  <c:v>3.8595997999999998</c:v>
                </c:pt>
                <c:pt idx="9299">
                  <c:v>3.8597999000000001</c:v>
                </c:pt>
                <c:pt idx="9300">
                  <c:v>3.8599999</c:v>
                </c:pt>
                <c:pt idx="9301">
                  <c:v>3.8601999</c:v>
                </c:pt>
                <c:pt idx="9302">
                  <c:v>3.8603999999999998</c:v>
                </c:pt>
                <c:pt idx="9303">
                  <c:v>3.8605999999999998</c:v>
                </c:pt>
                <c:pt idx="9304">
                  <c:v>3.8607998000000001</c:v>
                </c:pt>
                <c:pt idx="9305">
                  <c:v>3.8609998000000001</c:v>
                </c:pt>
                <c:pt idx="9306">
                  <c:v>3.8611998999999999</c:v>
                </c:pt>
                <c:pt idx="9307">
                  <c:v>3.8613998999999999</c:v>
                </c:pt>
                <c:pt idx="9308">
                  <c:v>3.8615998999999999</c:v>
                </c:pt>
                <c:pt idx="9309">
                  <c:v>3.8617997000000002</c:v>
                </c:pt>
                <c:pt idx="9310">
                  <c:v>3.8620000000000001</c:v>
                </c:pt>
                <c:pt idx="9311">
                  <c:v>3.8622000000000001</c:v>
                </c:pt>
                <c:pt idx="9312">
                  <c:v>3.8623997999999999</c:v>
                </c:pt>
                <c:pt idx="9313">
                  <c:v>3.8625997999999999</c:v>
                </c:pt>
                <c:pt idx="9314">
                  <c:v>3.8627995999999998</c:v>
                </c:pt>
                <c:pt idx="9315">
                  <c:v>3.8629999000000002</c:v>
                </c:pt>
                <c:pt idx="9316">
                  <c:v>3.8631999000000001</c:v>
                </c:pt>
                <c:pt idx="9317">
                  <c:v>3.8633997</c:v>
                </c:pt>
                <c:pt idx="9318">
                  <c:v>3.8635999999999999</c:v>
                </c:pt>
                <c:pt idx="9319">
                  <c:v>3.8637999999999999</c:v>
                </c:pt>
                <c:pt idx="9320">
                  <c:v>3.8639998000000002</c:v>
                </c:pt>
                <c:pt idx="9321">
                  <c:v>3.8641999</c:v>
                </c:pt>
                <c:pt idx="9322">
                  <c:v>3.8643996999999999</c:v>
                </c:pt>
                <c:pt idx="9323">
                  <c:v>3.8645999</c:v>
                </c:pt>
                <c:pt idx="9324">
                  <c:v>3.8647999999999998</c:v>
                </c:pt>
                <c:pt idx="9325">
                  <c:v>3.8649998000000001</c:v>
                </c:pt>
                <c:pt idx="9326">
                  <c:v>3.8652000000000002</c:v>
                </c:pt>
                <c:pt idx="9327">
                  <c:v>3.8653998000000001</c:v>
                </c:pt>
                <c:pt idx="9328">
                  <c:v>3.8655998999999999</c:v>
                </c:pt>
                <c:pt idx="9329">
                  <c:v>3.8657998999999998</c:v>
                </c:pt>
                <c:pt idx="9330">
                  <c:v>3.8659997000000001</c:v>
                </c:pt>
                <c:pt idx="9331">
                  <c:v>3.8662000000000001</c:v>
                </c:pt>
                <c:pt idx="9332">
                  <c:v>3.8664000000000001</c:v>
                </c:pt>
                <c:pt idx="9333">
                  <c:v>3.8665997999999999</c:v>
                </c:pt>
                <c:pt idx="9334">
                  <c:v>3.8668000999999999</c:v>
                </c:pt>
                <c:pt idx="9335">
                  <c:v>3.8669999000000002</c:v>
                </c:pt>
                <c:pt idx="9336">
                  <c:v>3.8671999000000001</c:v>
                </c:pt>
                <c:pt idx="9337">
                  <c:v>3.8673999000000001</c:v>
                </c:pt>
                <c:pt idx="9338">
                  <c:v>3.8675997</c:v>
                </c:pt>
                <c:pt idx="9339">
                  <c:v>3.8677999999999999</c:v>
                </c:pt>
                <c:pt idx="9340">
                  <c:v>3.8679998000000002</c:v>
                </c:pt>
                <c:pt idx="9341">
                  <c:v>3.8681998000000002</c:v>
                </c:pt>
                <c:pt idx="9342">
                  <c:v>3.8684001000000001</c:v>
                </c:pt>
                <c:pt idx="9343">
                  <c:v>3.8685999</c:v>
                </c:pt>
                <c:pt idx="9344">
                  <c:v>3.8687999</c:v>
                </c:pt>
                <c:pt idx="9345">
                  <c:v>3.8689996999999998</c:v>
                </c:pt>
                <c:pt idx="9346">
                  <c:v>3.8691998000000001</c:v>
                </c:pt>
                <c:pt idx="9347">
                  <c:v>3.8694000000000002</c:v>
                </c:pt>
                <c:pt idx="9348">
                  <c:v>3.8695998</c:v>
                </c:pt>
                <c:pt idx="9349">
                  <c:v>3.8697998999999998</c:v>
                </c:pt>
                <c:pt idx="9350">
                  <c:v>3.8700000999999999</c:v>
                </c:pt>
                <c:pt idx="9351">
                  <c:v>3.8701998999999998</c:v>
                </c:pt>
                <c:pt idx="9352">
                  <c:v>3.8704000000000001</c:v>
                </c:pt>
                <c:pt idx="9353">
                  <c:v>3.8705997000000001</c:v>
                </c:pt>
                <c:pt idx="9354">
                  <c:v>3.8707997999999999</c:v>
                </c:pt>
                <c:pt idx="9355">
                  <c:v>3.8710000999999998</c:v>
                </c:pt>
                <c:pt idx="9356">
                  <c:v>3.8711997999999999</c:v>
                </c:pt>
                <c:pt idx="9357">
                  <c:v>3.8713999000000001</c:v>
                </c:pt>
                <c:pt idx="9358">
                  <c:v>3.8715999000000001</c:v>
                </c:pt>
                <c:pt idx="9359">
                  <c:v>3.8717999000000001</c:v>
                </c:pt>
                <c:pt idx="9360">
                  <c:v>3.8719999999999999</c:v>
                </c:pt>
                <c:pt idx="9361">
                  <c:v>3.8721998000000002</c:v>
                </c:pt>
                <c:pt idx="9362">
                  <c:v>3.8723998000000002</c:v>
                </c:pt>
                <c:pt idx="9363">
                  <c:v>3.8725998000000001</c:v>
                </c:pt>
                <c:pt idx="9364">
                  <c:v>3.8727999</c:v>
                </c:pt>
                <c:pt idx="9365">
                  <c:v>3.8729998999999999</c:v>
                </c:pt>
                <c:pt idx="9366">
                  <c:v>3.8731998999999999</c:v>
                </c:pt>
                <c:pt idx="9367">
                  <c:v>3.8734000000000002</c:v>
                </c:pt>
                <c:pt idx="9368">
                  <c:v>3.8736000000000002</c:v>
                </c:pt>
                <c:pt idx="9369">
                  <c:v>3.8737998</c:v>
                </c:pt>
                <c:pt idx="9370">
                  <c:v>3.8739998</c:v>
                </c:pt>
                <c:pt idx="9371">
                  <c:v>3.8741998999999998</c:v>
                </c:pt>
                <c:pt idx="9372">
                  <c:v>3.8743998999999998</c:v>
                </c:pt>
                <c:pt idx="9373">
                  <c:v>3.8745999000000002</c:v>
                </c:pt>
                <c:pt idx="9374">
                  <c:v>3.8748</c:v>
                </c:pt>
                <c:pt idx="9375">
                  <c:v>3.875</c:v>
                </c:pt>
                <c:pt idx="9376">
                  <c:v>3.8751997999999999</c:v>
                </c:pt>
                <c:pt idx="9377">
                  <c:v>3.8753997999999998</c:v>
                </c:pt>
                <c:pt idx="9378">
                  <c:v>3.8755999000000001</c:v>
                </c:pt>
                <c:pt idx="9379">
                  <c:v>3.8757999000000001</c:v>
                </c:pt>
                <c:pt idx="9380">
                  <c:v>3.8759999000000001</c:v>
                </c:pt>
                <c:pt idx="9381">
                  <c:v>3.8761996999999999</c:v>
                </c:pt>
                <c:pt idx="9382">
                  <c:v>3.8763999999999998</c:v>
                </c:pt>
                <c:pt idx="9383">
                  <c:v>3.8765999999999998</c:v>
                </c:pt>
                <c:pt idx="9384">
                  <c:v>3.8767998000000001</c:v>
                </c:pt>
                <c:pt idx="9385">
                  <c:v>3.8769998999999999</c:v>
                </c:pt>
                <c:pt idx="9386">
                  <c:v>3.8771996</c:v>
                </c:pt>
                <c:pt idx="9387">
                  <c:v>3.8773998999999999</c:v>
                </c:pt>
                <c:pt idx="9388">
                  <c:v>3.8776000000000002</c:v>
                </c:pt>
                <c:pt idx="9389">
                  <c:v>3.8777997000000002</c:v>
                </c:pt>
                <c:pt idx="9390">
                  <c:v>3.8780000000000001</c:v>
                </c:pt>
                <c:pt idx="9391">
                  <c:v>3.8782000999999999</c:v>
                </c:pt>
                <c:pt idx="9392">
                  <c:v>3.8783998</c:v>
                </c:pt>
                <c:pt idx="9393">
                  <c:v>3.8785999000000002</c:v>
                </c:pt>
                <c:pt idx="9394">
                  <c:v>3.8787997000000001</c:v>
                </c:pt>
                <c:pt idx="9395">
                  <c:v>3.8789999000000002</c:v>
                </c:pt>
                <c:pt idx="9396">
                  <c:v>3.8792</c:v>
                </c:pt>
                <c:pt idx="9397">
                  <c:v>3.8793997999999998</c:v>
                </c:pt>
                <c:pt idx="9398">
                  <c:v>3.8795999999999999</c:v>
                </c:pt>
                <c:pt idx="9399">
                  <c:v>3.8797997999999998</c:v>
                </c:pt>
                <c:pt idx="9400">
                  <c:v>3.8799999000000001</c:v>
                </c:pt>
                <c:pt idx="9401">
                  <c:v>3.8801999</c:v>
                </c:pt>
                <c:pt idx="9402">
                  <c:v>3.8803996999999999</c:v>
                </c:pt>
                <c:pt idx="9403">
                  <c:v>3.8805999999999998</c:v>
                </c:pt>
                <c:pt idx="9404">
                  <c:v>3.8807999999999998</c:v>
                </c:pt>
                <c:pt idx="9405">
                  <c:v>3.8809998000000001</c:v>
                </c:pt>
                <c:pt idx="9406">
                  <c:v>3.8812001</c:v>
                </c:pt>
                <c:pt idx="9407">
                  <c:v>3.8813998999999999</c:v>
                </c:pt>
                <c:pt idx="9408">
                  <c:v>3.8815998999999999</c:v>
                </c:pt>
                <c:pt idx="9409">
                  <c:v>3.8817998999999999</c:v>
                </c:pt>
                <c:pt idx="9410">
                  <c:v>3.8819997000000002</c:v>
                </c:pt>
                <c:pt idx="9411">
                  <c:v>3.8822000000000001</c:v>
                </c:pt>
                <c:pt idx="9412">
                  <c:v>3.8823998</c:v>
                </c:pt>
                <c:pt idx="9413">
                  <c:v>3.8825997999999999</c:v>
                </c:pt>
                <c:pt idx="9414">
                  <c:v>3.8828000999999999</c:v>
                </c:pt>
                <c:pt idx="9415">
                  <c:v>3.8829999000000002</c:v>
                </c:pt>
                <c:pt idx="9416">
                  <c:v>3.8831999000000001</c:v>
                </c:pt>
                <c:pt idx="9417">
                  <c:v>3.8833997</c:v>
                </c:pt>
                <c:pt idx="9418">
                  <c:v>3.8835997999999998</c:v>
                </c:pt>
                <c:pt idx="9419">
                  <c:v>3.8837999999999999</c:v>
                </c:pt>
                <c:pt idx="9420">
                  <c:v>3.8839997999999998</c:v>
                </c:pt>
                <c:pt idx="9421">
                  <c:v>3.8841999</c:v>
                </c:pt>
                <c:pt idx="9422">
                  <c:v>3.8844001000000001</c:v>
                </c:pt>
                <c:pt idx="9423">
                  <c:v>3.8845999</c:v>
                </c:pt>
                <c:pt idx="9424">
                  <c:v>3.8847999999999998</c:v>
                </c:pt>
                <c:pt idx="9425">
                  <c:v>3.8849998000000001</c:v>
                </c:pt>
                <c:pt idx="9426">
                  <c:v>3.8851998000000001</c:v>
                </c:pt>
                <c:pt idx="9427">
                  <c:v>3.8854001</c:v>
                </c:pt>
                <c:pt idx="9428">
                  <c:v>3.8855998999999999</c:v>
                </c:pt>
                <c:pt idx="9429">
                  <c:v>3.8857998999999999</c:v>
                </c:pt>
                <c:pt idx="9430">
                  <c:v>3.8859998999999998</c:v>
                </c:pt>
                <c:pt idx="9431">
                  <c:v>3.8862000000000001</c:v>
                </c:pt>
                <c:pt idx="9432">
                  <c:v>3.8864000000000001</c:v>
                </c:pt>
                <c:pt idx="9433">
                  <c:v>3.8865997999999999</c:v>
                </c:pt>
                <c:pt idx="9434">
                  <c:v>3.8867997999999999</c:v>
                </c:pt>
                <c:pt idx="9435">
                  <c:v>3.8869997999999999</c:v>
                </c:pt>
                <c:pt idx="9436">
                  <c:v>3.8871999000000002</c:v>
                </c:pt>
                <c:pt idx="9437">
                  <c:v>3.8873999000000001</c:v>
                </c:pt>
                <c:pt idx="9438">
                  <c:v>3.8875999000000001</c:v>
                </c:pt>
                <c:pt idx="9439">
                  <c:v>3.8877999999999999</c:v>
                </c:pt>
                <c:pt idx="9440">
                  <c:v>3.8879997999999998</c:v>
                </c:pt>
                <c:pt idx="9441">
                  <c:v>3.8881998000000002</c:v>
                </c:pt>
                <c:pt idx="9442">
                  <c:v>3.8883998000000002</c:v>
                </c:pt>
                <c:pt idx="9443">
                  <c:v>3.8885999</c:v>
                </c:pt>
                <c:pt idx="9444">
                  <c:v>3.8887999</c:v>
                </c:pt>
                <c:pt idx="9445">
                  <c:v>3.8889999</c:v>
                </c:pt>
                <c:pt idx="9446">
                  <c:v>3.8892000000000002</c:v>
                </c:pt>
                <c:pt idx="9447">
                  <c:v>3.8894000000000002</c:v>
                </c:pt>
                <c:pt idx="9448">
                  <c:v>3.8895998000000001</c:v>
                </c:pt>
                <c:pt idx="9449">
                  <c:v>3.8897998</c:v>
                </c:pt>
                <c:pt idx="9450">
                  <c:v>3.8899998999999998</c:v>
                </c:pt>
                <c:pt idx="9451">
                  <c:v>3.8901998999999998</c:v>
                </c:pt>
                <c:pt idx="9452">
                  <c:v>3.8903998999999998</c:v>
                </c:pt>
                <c:pt idx="9453">
                  <c:v>3.8905997000000001</c:v>
                </c:pt>
                <c:pt idx="9454">
                  <c:v>3.8908</c:v>
                </c:pt>
                <c:pt idx="9455">
                  <c:v>3.891</c:v>
                </c:pt>
                <c:pt idx="9456">
                  <c:v>3.8911997999999999</c:v>
                </c:pt>
                <c:pt idx="9457">
                  <c:v>3.8913999000000001</c:v>
                </c:pt>
                <c:pt idx="9458">
                  <c:v>3.8915997</c:v>
                </c:pt>
                <c:pt idx="9459">
                  <c:v>3.8917999000000001</c:v>
                </c:pt>
                <c:pt idx="9460">
                  <c:v>3.8919999999999999</c:v>
                </c:pt>
                <c:pt idx="9461">
                  <c:v>3.8921998000000002</c:v>
                </c:pt>
                <c:pt idx="9462">
                  <c:v>3.8923999999999999</c:v>
                </c:pt>
                <c:pt idx="9463">
                  <c:v>3.8926001000000001</c:v>
                </c:pt>
                <c:pt idx="9464">
                  <c:v>3.8927999</c:v>
                </c:pt>
                <c:pt idx="9465">
                  <c:v>3.8929999</c:v>
                </c:pt>
                <c:pt idx="9466">
                  <c:v>3.8931996999999998</c:v>
                </c:pt>
                <c:pt idx="9467">
                  <c:v>3.8934000000000002</c:v>
                </c:pt>
                <c:pt idx="9468">
                  <c:v>3.8936000000000002</c:v>
                </c:pt>
                <c:pt idx="9469">
                  <c:v>3.8937998</c:v>
                </c:pt>
                <c:pt idx="9470">
                  <c:v>3.8940001</c:v>
                </c:pt>
                <c:pt idx="9471">
                  <c:v>3.8941998</c:v>
                </c:pt>
                <c:pt idx="9472">
                  <c:v>3.8943998999999998</c:v>
                </c:pt>
                <c:pt idx="9473">
                  <c:v>3.8945998999999998</c:v>
                </c:pt>
                <c:pt idx="9474">
                  <c:v>3.8947997000000001</c:v>
                </c:pt>
                <c:pt idx="9475">
                  <c:v>3.895</c:v>
                </c:pt>
                <c:pt idx="9476">
                  <c:v>3.8951997999999999</c:v>
                </c:pt>
                <c:pt idx="9477">
                  <c:v>3.8953997999999999</c:v>
                </c:pt>
                <c:pt idx="9478">
                  <c:v>3.8956000999999998</c:v>
                </c:pt>
                <c:pt idx="9479">
                  <c:v>3.8957999000000001</c:v>
                </c:pt>
                <c:pt idx="9480">
                  <c:v>3.8959999000000001</c:v>
                </c:pt>
                <c:pt idx="9481">
                  <c:v>3.8961999</c:v>
                </c:pt>
                <c:pt idx="9482">
                  <c:v>3.8963996999999999</c:v>
                </c:pt>
                <c:pt idx="9483">
                  <c:v>3.8965999999999998</c:v>
                </c:pt>
                <c:pt idx="9484">
                  <c:v>3.8967998000000001</c:v>
                </c:pt>
                <c:pt idx="9485">
                  <c:v>3.8969998000000001</c:v>
                </c:pt>
                <c:pt idx="9486">
                  <c:v>3.8972001000000001</c:v>
                </c:pt>
                <c:pt idx="9487">
                  <c:v>3.8973998999999999</c:v>
                </c:pt>
                <c:pt idx="9488">
                  <c:v>3.8975998999999999</c:v>
                </c:pt>
                <c:pt idx="9489">
                  <c:v>3.8977997000000002</c:v>
                </c:pt>
                <c:pt idx="9490">
                  <c:v>3.8979998</c:v>
                </c:pt>
                <c:pt idx="9491">
                  <c:v>3.8982000000000001</c:v>
                </c:pt>
                <c:pt idx="9492">
                  <c:v>3.8983998</c:v>
                </c:pt>
                <c:pt idx="9493">
                  <c:v>3.8985998999999998</c:v>
                </c:pt>
                <c:pt idx="9494">
                  <c:v>3.8988000999999999</c:v>
                </c:pt>
                <c:pt idx="9495">
                  <c:v>3.8989999000000002</c:v>
                </c:pt>
                <c:pt idx="9496">
                  <c:v>3.8992</c:v>
                </c:pt>
                <c:pt idx="9497">
                  <c:v>3.8993997999999999</c:v>
                </c:pt>
                <c:pt idx="9498">
                  <c:v>3.8995997999999998</c:v>
                </c:pt>
                <c:pt idx="9499">
                  <c:v>3.8998001000000002</c:v>
                </c:pt>
                <c:pt idx="9500">
                  <c:v>3.8999999000000001</c:v>
                </c:pt>
                <c:pt idx="9501">
                  <c:v>3.9001999000000001</c:v>
                </c:pt>
                <c:pt idx="9502">
                  <c:v>3.9003999</c:v>
                </c:pt>
                <c:pt idx="9503">
                  <c:v>3.9005999999999998</c:v>
                </c:pt>
                <c:pt idx="9504">
                  <c:v>3.9007999999999998</c:v>
                </c:pt>
                <c:pt idx="9505">
                  <c:v>3.9009998000000001</c:v>
                </c:pt>
                <c:pt idx="9506">
                  <c:v>3.9011998000000001</c:v>
                </c:pt>
                <c:pt idx="9507">
                  <c:v>3.9013998999999999</c:v>
                </c:pt>
                <c:pt idx="9508">
                  <c:v>3.9015998999999999</c:v>
                </c:pt>
                <c:pt idx="9509">
                  <c:v>3.9017998999999999</c:v>
                </c:pt>
                <c:pt idx="9510">
                  <c:v>3.9020000000000001</c:v>
                </c:pt>
                <c:pt idx="9511">
                  <c:v>3.9022000000000001</c:v>
                </c:pt>
                <c:pt idx="9512">
                  <c:v>3.9023998</c:v>
                </c:pt>
                <c:pt idx="9513">
                  <c:v>3.9025998</c:v>
                </c:pt>
                <c:pt idx="9514">
                  <c:v>3.9027997999999999</c:v>
                </c:pt>
                <c:pt idx="9515">
                  <c:v>3.9029999000000002</c:v>
                </c:pt>
                <c:pt idx="9516">
                  <c:v>3.9031999000000002</c:v>
                </c:pt>
                <c:pt idx="9517">
                  <c:v>3.9033999000000001</c:v>
                </c:pt>
                <c:pt idx="9518">
                  <c:v>3.9036</c:v>
                </c:pt>
                <c:pt idx="9519">
                  <c:v>3.9037999999999999</c:v>
                </c:pt>
                <c:pt idx="9520">
                  <c:v>3.9039997999999998</c:v>
                </c:pt>
                <c:pt idx="9521">
                  <c:v>3.9041998000000002</c:v>
                </c:pt>
                <c:pt idx="9522">
                  <c:v>3.9043999</c:v>
                </c:pt>
                <c:pt idx="9523">
                  <c:v>3.9045999</c:v>
                </c:pt>
                <c:pt idx="9524">
                  <c:v>3.9047999</c:v>
                </c:pt>
                <c:pt idx="9525">
                  <c:v>3.9049996999999999</c:v>
                </c:pt>
                <c:pt idx="9526">
                  <c:v>3.9051999999999998</c:v>
                </c:pt>
                <c:pt idx="9527">
                  <c:v>3.9054000000000002</c:v>
                </c:pt>
                <c:pt idx="9528">
                  <c:v>3.9055998000000001</c:v>
                </c:pt>
                <c:pt idx="9529">
                  <c:v>3.9057998999999999</c:v>
                </c:pt>
                <c:pt idx="9530">
                  <c:v>3.9059997000000002</c:v>
                </c:pt>
                <c:pt idx="9531">
                  <c:v>3.9061998999999998</c:v>
                </c:pt>
                <c:pt idx="9532">
                  <c:v>3.9064000000000001</c:v>
                </c:pt>
                <c:pt idx="9533">
                  <c:v>3.9065998</c:v>
                </c:pt>
                <c:pt idx="9534">
                  <c:v>3.9068000000000001</c:v>
                </c:pt>
                <c:pt idx="9535">
                  <c:v>3.9070000999999999</c:v>
                </c:pt>
                <c:pt idx="9536">
                  <c:v>3.9071999000000002</c:v>
                </c:pt>
                <c:pt idx="9537">
                  <c:v>3.9073999000000001</c:v>
                </c:pt>
                <c:pt idx="9538">
                  <c:v>3.9075997</c:v>
                </c:pt>
                <c:pt idx="9539">
                  <c:v>3.9077999999999999</c:v>
                </c:pt>
                <c:pt idx="9540">
                  <c:v>3.9079999999999999</c:v>
                </c:pt>
                <c:pt idx="9541">
                  <c:v>3.9081997999999998</c:v>
                </c:pt>
                <c:pt idx="9542">
                  <c:v>3.9084001000000002</c:v>
                </c:pt>
                <c:pt idx="9543">
                  <c:v>3.9085999</c:v>
                </c:pt>
                <c:pt idx="9544">
                  <c:v>3.9087999</c:v>
                </c:pt>
                <c:pt idx="9545">
                  <c:v>3.9089999</c:v>
                </c:pt>
                <c:pt idx="9546">
                  <c:v>3.9091996999999998</c:v>
                </c:pt>
                <c:pt idx="9547">
                  <c:v>3.9094000000000002</c:v>
                </c:pt>
                <c:pt idx="9548">
                  <c:v>3.9095998000000001</c:v>
                </c:pt>
                <c:pt idx="9549">
                  <c:v>3.9097998</c:v>
                </c:pt>
                <c:pt idx="9550">
                  <c:v>3.9100001</c:v>
                </c:pt>
                <c:pt idx="9551">
                  <c:v>3.9101998999999998</c:v>
                </c:pt>
                <c:pt idx="9552">
                  <c:v>3.9103998999999998</c:v>
                </c:pt>
                <c:pt idx="9553">
                  <c:v>3.9105997000000001</c:v>
                </c:pt>
                <c:pt idx="9554">
                  <c:v>3.9107997000000001</c:v>
                </c:pt>
                <c:pt idx="9555">
                  <c:v>3.911</c:v>
                </c:pt>
                <c:pt idx="9556">
                  <c:v>3.9111997999999999</c:v>
                </c:pt>
                <c:pt idx="9557">
                  <c:v>3.9113997999999999</c:v>
                </c:pt>
                <c:pt idx="9558">
                  <c:v>3.9116000999999998</c:v>
                </c:pt>
                <c:pt idx="9559">
                  <c:v>3.9117999000000001</c:v>
                </c:pt>
                <c:pt idx="9560">
                  <c:v>3.9119999000000001</c:v>
                </c:pt>
                <c:pt idx="9561">
                  <c:v>3.9121996999999999</c:v>
                </c:pt>
                <c:pt idx="9562">
                  <c:v>3.9123998000000002</c:v>
                </c:pt>
                <c:pt idx="9563">
                  <c:v>3.9125999999999999</c:v>
                </c:pt>
                <c:pt idx="9564">
                  <c:v>3.9127998000000002</c:v>
                </c:pt>
                <c:pt idx="9565">
                  <c:v>3.9129999</c:v>
                </c:pt>
                <c:pt idx="9566">
                  <c:v>3.9131999</c:v>
                </c:pt>
                <c:pt idx="9567">
                  <c:v>3.9133998999999999</c:v>
                </c:pt>
                <c:pt idx="9568">
                  <c:v>3.9136000000000002</c:v>
                </c:pt>
                <c:pt idx="9569">
                  <c:v>3.9137998000000001</c:v>
                </c:pt>
                <c:pt idx="9570">
                  <c:v>3.9139998</c:v>
                </c:pt>
                <c:pt idx="9571">
                  <c:v>3.9142001</c:v>
                </c:pt>
                <c:pt idx="9572">
                  <c:v>3.9143998999999998</c:v>
                </c:pt>
                <c:pt idx="9573">
                  <c:v>3.9145998999999998</c:v>
                </c:pt>
                <c:pt idx="9574">
                  <c:v>3.9147999000000002</c:v>
                </c:pt>
                <c:pt idx="9575">
                  <c:v>3.915</c:v>
                </c:pt>
                <c:pt idx="9576">
                  <c:v>3.9152</c:v>
                </c:pt>
                <c:pt idx="9577">
                  <c:v>3.9153997999999999</c:v>
                </c:pt>
                <c:pt idx="9578">
                  <c:v>3.9155997999999999</c:v>
                </c:pt>
                <c:pt idx="9579">
                  <c:v>3.9157999000000001</c:v>
                </c:pt>
                <c:pt idx="9580">
                  <c:v>3.9159999000000001</c:v>
                </c:pt>
                <c:pt idx="9581">
                  <c:v>3.9161999000000001</c:v>
                </c:pt>
                <c:pt idx="9582">
                  <c:v>3.9163999999999999</c:v>
                </c:pt>
                <c:pt idx="9583">
                  <c:v>3.9165999999999999</c:v>
                </c:pt>
                <c:pt idx="9584">
                  <c:v>3.9167998000000002</c:v>
                </c:pt>
                <c:pt idx="9585">
                  <c:v>3.9169998000000001</c:v>
                </c:pt>
                <c:pt idx="9586">
                  <c:v>3.9171999</c:v>
                </c:pt>
                <c:pt idx="9587">
                  <c:v>3.9173998999999999</c:v>
                </c:pt>
                <c:pt idx="9588">
                  <c:v>3.9175998999999999</c:v>
                </c:pt>
                <c:pt idx="9589">
                  <c:v>3.9177997000000002</c:v>
                </c:pt>
                <c:pt idx="9590">
                  <c:v>3.9180000000000001</c:v>
                </c:pt>
                <c:pt idx="9591">
                  <c:v>3.9182000000000001</c:v>
                </c:pt>
                <c:pt idx="9592">
                  <c:v>3.9183998</c:v>
                </c:pt>
                <c:pt idx="9593">
                  <c:v>3.9185998</c:v>
                </c:pt>
                <c:pt idx="9594">
                  <c:v>3.9187998999999998</c:v>
                </c:pt>
                <c:pt idx="9595">
                  <c:v>3.9189999000000002</c:v>
                </c:pt>
                <c:pt idx="9596">
                  <c:v>3.9191999000000002</c:v>
                </c:pt>
                <c:pt idx="9597">
                  <c:v>3.9193997</c:v>
                </c:pt>
                <c:pt idx="9598">
                  <c:v>3.9196</c:v>
                </c:pt>
                <c:pt idx="9599">
                  <c:v>3.9198</c:v>
                </c:pt>
                <c:pt idx="9600">
                  <c:v>3.9199997999999998</c:v>
                </c:pt>
                <c:pt idx="9601">
                  <c:v>3.9201999000000001</c:v>
                </c:pt>
                <c:pt idx="9602">
                  <c:v>3.9203996999999999</c:v>
                </c:pt>
                <c:pt idx="9603">
                  <c:v>3.9205999</c:v>
                </c:pt>
                <c:pt idx="9604">
                  <c:v>3.9207999999999998</c:v>
                </c:pt>
                <c:pt idx="9605">
                  <c:v>3.9209998000000001</c:v>
                </c:pt>
                <c:pt idx="9606">
                  <c:v>3.9211999999999998</c:v>
                </c:pt>
                <c:pt idx="9607">
                  <c:v>3.9214001000000001</c:v>
                </c:pt>
                <c:pt idx="9608">
                  <c:v>3.9215998999999999</c:v>
                </c:pt>
                <c:pt idx="9609">
                  <c:v>3.9217998999999999</c:v>
                </c:pt>
                <c:pt idx="9610">
                  <c:v>3.9219997000000002</c:v>
                </c:pt>
                <c:pt idx="9611">
                  <c:v>3.9222000000000001</c:v>
                </c:pt>
                <c:pt idx="9612">
                  <c:v>3.9224000000000001</c:v>
                </c:pt>
                <c:pt idx="9613">
                  <c:v>3.9225998</c:v>
                </c:pt>
                <c:pt idx="9614">
                  <c:v>3.9228000999999999</c:v>
                </c:pt>
                <c:pt idx="9615">
                  <c:v>3.9229999000000002</c:v>
                </c:pt>
                <c:pt idx="9616">
                  <c:v>3.9231999000000002</c:v>
                </c:pt>
                <c:pt idx="9617">
                  <c:v>3.9233999000000002</c:v>
                </c:pt>
                <c:pt idx="9618">
                  <c:v>3.9235997</c:v>
                </c:pt>
                <c:pt idx="9619">
                  <c:v>3.9238</c:v>
                </c:pt>
                <c:pt idx="9620">
                  <c:v>3.9239997999999998</c:v>
                </c:pt>
                <c:pt idx="9621">
                  <c:v>3.9241997999999998</c:v>
                </c:pt>
                <c:pt idx="9622">
                  <c:v>3.9244001000000002</c:v>
                </c:pt>
                <c:pt idx="9623">
                  <c:v>3.9245999</c:v>
                </c:pt>
                <c:pt idx="9624">
                  <c:v>3.9247999</c:v>
                </c:pt>
                <c:pt idx="9625">
                  <c:v>3.9249996999999999</c:v>
                </c:pt>
                <c:pt idx="9626">
                  <c:v>3.9251996999999998</c:v>
                </c:pt>
                <c:pt idx="9627">
                  <c:v>3.9253999999999998</c:v>
                </c:pt>
                <c:pt idx="9628">
                  <c:v>3.9255998000000001</c:v>
                </c:pt>
                <c:pt idx="9629">
                  <c:v>3.9257998000000001</c:v>
                </c:pt>
                <c:pt idx="9630">
                  <c:v>3.9260001</c:v>
                </c:pt>
                <c:pt idx="9631">
                  <c:v>3.9261998999999999</c:v>
                </c:pt>
                <c:pt idx="9632">
                  <c:v>3.9263998999999998</c:v>
                </c:pt>
                <c:pt idx="9633">
                  <c:v>3.9265997000000001</c:v>
                </c:pt>
                <c:pt idx="9634">
                  <c:v>3.9267998</c:v>
                </c:pt>
                <c:pt idx="9635">
                  <c:v>3.927</c:v>
                </c:pt>
                <c:pt idx="9636">
                  <c:v>3.9271997999999999</c:v>
                </c:pt>
                <c:pt idx="9637">
                  <c:v>3.9273999000000002</c:v>
                </c:pt>
                <c:pt idx="9638">
                  <c:v>3.9275999000000001</c:v>
                </c:pt>
                <c:pt idx="9639">
                  <c:v>3.9277999000000001</c:v>
                </c:pt>
                <c:pt idx="9640">
                  <c:v>3.9279999999999999</c:v>
                </c:pt>
                <c:pt idx="9641">
                  <c:v>3.9281997999999998</c:v>
                </c:pt>
                <c:pt idx="9642">
                  <c:v>3.9283998000000002</c:v>
                </c:pt>
                <c:pt idx="9643">
                  <c:v>3.9285998000000002</c:v>
                </c:pt>
                <c:pt idx="9644">
                  <c:v>3.9287999</c:v>
                </c:pt>
                <c:pt idx="9645">
                  <c:v>3.9289999</c:v>
                </c:pt>
                <c:pt idx="9646">
                  <c:v>3.9291999</c:v>
                </c:pt>
                <c:pt idx="9647">
                  <c:v>3.9293999999999998</c:v>
                </c:pt>
                <c:pt idx="9648">
                  <c:v>3.9296000000000002</c:v>
                </c:pt>
                <c:pt idx="9649">
                  <c:v>3.9297998000000001</c:v>
                </c:pt>
                <c:pt idx="9650">
                  <c:v>3.9299998</c:v>
                </c:pt>
                <c:pt idx="9651">
                  <c:v>3.9301998999999999</c:v>
                </c:pt>
                <c:pt idx="9652">
                  <c:v>3.9303998999999998</c:v>
                </c:pt>
                <c:pt idx="9653">
                  <c:v>3.9305998999999998</c:v>
                </c:pt>
                <c:pt idx="9654">
                  <c:v>3.9308000000000001</c:v>
                </c:pt>
                <c:pt idx="9655">
                  <c:v>3.931</c:v>
                </c:pt>
                <c:pt idx="9656">
                  <c:v>3.9311997999999999</c:v>
                </c:pt>
                <c:pt idx="9657">
                  <c:v>3.9313997999999999</c:v>
                </c:pt>
                <c:pt idx="9658">
                  <c:v>3.9315999000000001</c:v>
                </c:pt>
                <c:pt idx="9659">
                  <c:v>3.9317999000000001</c:v>
                </c:pt>
                <c:pt idx="9660">
                  <c:v>3.9319999000000001</c:v>
                </c:pt>
                <c:pt idx="9661">
                  <c:v>3.9321997</c:v>
                </c:pt>
                <c:pt idx="9662">
                  <c:v>3.9323999999999999</c:v>
                </c:pt>
                <c:pt idx="9663">
                  <c:v>3.9325999999999999</c:v>
                </c:pt>
                <c:pt idx="9664">
                  <c:v>3.9327998000000002</c:v>
                </c:pt>
                <c:pt idx="9665">
                  <c:v>3.9329998000000002</c:v>
                </c:pt>
                <c:pt idx="9666">
                  <c:v>3.9331996</c:v>
                </c:pt>
                <c:pt idx="9667">
                  <c:v>3.9333998999999999</c:v>
                </c:pt>
                <c:pt idx="9668">
                  <c:v>3.9335998999999999</c:v>
                </c:pt>
                <c:pt idx="9669">
                  <c:v>3.9337996999999998</c:v>
                </c:pt>
                <c:pt idx="9670">
                  <c:v>3.9340000000000002</c:v>
                </c:pt>
                <c:pt idx="9671">
                  <c:v>3.9342000000000001</c:v>
                </c:pt>
                <c:pt idx="9672">
                  <c:v>3.9343998</c:v>
                </c:pt>
                <c:pt idx="9673">
                  <c:v>3.9345998999999998</c:v>
                </c:pt>
                <c:pt idx="9674">
                  <c:v>3.9347997000000001</c:v>
                </c:pt>
                <c:pt idx="9675">
                  <c:v>3.9349999000000002</c:v>
                </c:pt>
                <c:pt idx="9676">
                  <c:v>3.9352</c:v>
                </c:pt>
                <c:pt idx="9677">
                  <c:v>3.9353997999999999</c:v>
                </c:pt>
                <c:pt idx="9678">
                  <c:v>3.9356</c:v>
                </c:pt>
                <c:pt idx="9679">
                  <c:v>3.9357997999999998</c:v>
                </c:pt>
                <c:pt idx="9680">
                  <c:v>3.9359999000000001</c:v>
                </c:pt>
                <c:pt idx="9681">
                  <c:v>3.9361999000000001</c:v>
                </c:pt>
                <c:pt idx="9682">
                  <c:v>3.9363996999999999</c:v>
                </c:pt>
                <c:pt idx="9683">
                  <c:v>3.9365999999999999</c:v>
                </c:pt>
                <c:pt idx="9684">
                  <c:v>3.9367999999999999</c:v>
                </c:pt>
                <c:pt idx="9685">
                  <c:v>3.9369998000000002</c:v>
                </c:pt>
                <c:pt idx="9686">
                  <c:v>3.9372001000000001</c:v>
                </c:pt>
                <c:pt idx="9687">
                  <c:v>3.9373999</c:v>
                </c:pt>
                <c:pt idx="9688">
                  <c:v>3.9375998999999999</c:v>
                </c:pt>
                <c:pt idx="9689">
                  <c:v>3.9377998999999999</c:v>
                </c:pt>
                <c:pt idx="9690">
                  <c:v>3.9379997000000002</c:v>
                </c:pt>
                <c:pt idx="9691">
                  <c:v>3.9382000000000001</c:v>
                </c:pt>
                <c:pt idx="9692">
                  <c:v>3.9383998</c:v>
                </c:pt>
                <c:pt idx="9693">
                  <c:v>3.9385998</c:v>
                </c:pt>
                <c:pt idx="9694">
                  <c:v>3.9388000999999999</c:v>
                </c:pt>
                <c:pt idx="9695">
                  <c:v>3.9389999000000002</c:v>
                </c:pt>
                <c:pt idx="9696">
                  <c:v>3.9391999000000002</c:v>
                </c:pt>
                <c:pt idx="9697">
                  <c:v>3.9393997000000001</c:v>
                </c:pt>
                <c:pt idx="9698">
                  <c:v>3.9395997999999999</c:v>
                </c:pt>
                <c:pt idx="9699">
                  <c:v>3.9398</c:v>
                </c:pt>
                <c:pt idx="9700">
                  <c:v>3.9399997999999998</c:v>
                </c:pt>
                <c:pt idx="9701">
                  <c:v>3.9401999000000001</c:v>
                </c:pt>
                <c:pt idx="9702">
                  <c:v>3.9404001000000002</c:v>
                </c:pt>
                <c:pt idx="9703">
                  <c:v>3.9405999</c:v>
                </c:pt>
                <c:pt idx="9704">
                  <c:v>3.9407999999999999</c:v>
                </c:pt>
                <c:pt idx="9705">
                  <c:v>3.9409996999999999</c:v>
                </c:pt>
                <c:pt idx="9706">
                  <c:v>3.9411998000000001</c:v>
                </c:pt>
                <c:pt idx="9707">
                  <c:v>3.9414001000000001</c:v>
                </c:pt>
                <c:pt idx="9708">
                  <c:v>3.9415998000000001</c:v>
                </c:pt>
                <c:pt idx="9709">
                  <c:v>3.9417998999999999</c:v>
                </c:pt>
                <c:pt idx="9710">
                  <c:v>3.9419998999999999</c:v>
                </c:pt>
                <c:pt idx="9711">
                  <c:v>3.9421998999999999</c:v>
                </c:pt>
                <c:pt idx="9712">
                  <c:v>3.9424000000000001</c:v>
                </c:pt>
                <c:pt idx="9713">
                  <c:v>3.9425998</c:v>
                </c:pt>
                <c:pt idx="9714">
                  <c:v>3.9427998</c:v>
                </c:pt>
                <c:pt idx="9715">
                  <c:v>3.9429997999999999</c:v>
                </c:pt>
                <c:pt idx="9716">
                  <c:v>3.9431999000000002</c:v>
                </c:pt>
                <c:pt idx="9717">
                  <c:v>3.9433999000000002</c:v>
                </c:pt>
                <c:pt idx="9718">
                  <c:v>3.9435999000000002</c:v>
                </c:pt>
                <c:pt idx="9719">
                  <c:v>3.9438</c:v>
                </c:pt>
                <c:pt idx="9720">
                  <c:v>3.944</c:v>
                </c:pt>
                <c:pt idx="9721">
                  <c:v>3.9441997999999998</c:v>
                </c:pt>
                <c:pt idx="9722">
                  <c:v>3.9443997999999998</c:v>
                </c:pt>
                <c:pt idx="9723">
                  <c:v>3.9445999</c:v>
                </c:pt>
                <c:pt idx="9724">
                  <c:v>3.9447999</c:v>
                </c:pt>
                <c:pt idx="9725">
                  <c:v>3.9449999</c:v>
                </c:pt>
                <c:pt idx="9726">
                  <c:v>3.9451999999999998</c:v>
                </c:pt>
                <c:pt idx="9727">
                  <c:v>3.9453999999999998</c:v>
                </c:pt>
                <c:pt idx="9728">
                  <c:v>3.9455998000000001</c:v>
                </c:pt>
                <c:pt idx="9729">
                  <c:v>3.9457998000000001</c:v>
                </c:pt>
                <c:pt idx="9730">
                  <c:v>3.9459998999999999</c:v>
                </c:pt>
                <c:pt idx="9731">
                  <c:v>3.9461998999999999</c:v>
                </c:pt>
                <c:pt idx="9732">
                  <c:v>3.9463998999999998</c:v>
                </c:pt>
                <c:pt idx="9733">
                  <c:v>3.9465997000000002</c:v>
                </c:pt>
                <c:pt idx="9734">
                  <c:v>3.9468000000000001</c:v>
                </c:pt>
                <c:pt idx="9735">
                  <c:v>3.9470000000000001</c:v>
                </c:pt>
                <c:pt idx="9736">
                  <c:v>3.9471997999999999</c:v>
                </c:pt>
                <c:pt idx="9737">
                  <c:v>3.9473999000000002</c:v>
                </c:pt>
                <c:pt idx="9738">
                  <c:v>3.9475996000000002</c:v>
                </c:pt>
                <c:pt idx="9739">
                  <c:v>3.9477999000000001</c:v>
                </c:pt>
                <c:pt idx="9740">
                  <c:v>3.948</c:v>
                </c:pt>
                <c:pt idx="9741">
                  <c:v>3.9481997</c:v>
                </c:pt>
                <c:pt idx="9742">
                  <c:v>3.9483999999999999</c:v>
                </c:pt>
                <c:pt idx="9743">
                  <c:v>3.9486001000000002</c:v>
                </c:pt>
                <c:pt idx="9744">
                  <c:v>3.9487998000000002</c:v>
                </c:pt>
                <c:pt idx="9745">
                  <c:v>3.9489999</c:v>
                </c:pt>
                <c:pt idx="9746">
                  <c:v>3.9491996999999999</c:v>
                </c:pt>
                <c:pt idx="9747">
                  <c:v>3.9493999</c:v>
                </c:pt>
                <c:pt idx="9748">
                  <c:v>3.9496000000000002</c:v>
                </c:pt>
                <c:pt idx="9749">
                  <c:v>3.9497998000000001</c:v>
                </c:pt>
                <c:pt idx="9750">
                  <c:v>3.95</c:v>
                </c:pt>
                <c:pt idx="9751">
                  <c:v>3.9501998</c:v>
                </c:pt>
                <c:pt idx="9752">
                  <c:v>3.9503998999999999</c:v>
                </c:pt>
                <c:pt idx="9753">
                  <c:v>3.9505998999999998</c:v>
                </c:pt>
                <c:pt idx="9754">
                  <c:v>3.9507997000000001</c:v>
                </c:pt>
                <c:pt idx="9755">
                  <c:v>3.9510000000000001</c:v>
                </c:pt>
                <c:pt idx="9756">
                  <c:v>3.9511997999999999</c:v>
                </c:pt>
                <c:pt idx="9757">
                  <c:v>3.9513997999999999</c:v>
                </c:pt>
                <c:pt idx="9758">
                  <c:v>3.9516000999999998</c:v>
                </c:pt>
                <c:pt idx="9759">
                  <c:v>3.9517999000000001</c:v>
                </c:pt>
                <c:pt idx="9760">
                  <c:v>3.9519999000000001</c:v>
                </c:pt>
                <c:pt idx="9761">
                  <c:v>3.9521999000000001</c:v>
                </c:pt>
                <c:pt idx="9762">
                  <c:v>3.9523997</c:v>
                </c:pt>
                <c:pt idx="9763">
                  <c:v>3.9525999999999999</c:v>
                </c:pt>
                <c:pt idx="9764">
                  <c:v>3.9527998000000002</c:v>
                </c:pt>
                <c:pt idx="9765">
                  <c:v>3.9529998000000002</c:v>
                </c:pt>
                <c:pt idx="9766">
                  <c:v>3.9532001000000001</c:v>
                </c:pt>
                <c:pt idx="9767">
                  <c:v>3.9533999</c:v>
                </c:pt>
                <c:pt idx="9768">
                  <c:v>3.9535998999999999</c:v>
                </c:pt>
                <c:pt idx="9769">
                  <c:v>3.9537996999999998</c:v>
                </c:pt>
                <c:pt idx="9770">
                  <c:v>3.9539998000000001</c:v>
                </c:pt>
                <c:pt idx="9771">
                  <c:v>3.9542000000000002</c:v>
                </c:pt>
                <c:pt idx="9772">
                  <c:v>3.9543998</c:v>
                </c:pt>
                <c:pt idx="9773">
                  <c:v>3.9545998999999998</c:v>
                </c:pt>
                <c:pt idx="9774">
                  <c:v>3.9548000999999999</c:v>
                </c:pt>
                <c:pt idx="9775">
                  <c:v>3.9549998999999998</c:v>
                </c:pt>
                <c:pt idx="9776">
                  <c:v>3.9552</c:v>
                </c:pt>
                <c:pt idx="9777">
                  <c:v>3.9553997999999999</c:v>
                </c:pt>
                <c:pt idx="9778">
                  <c:v>3.9555997999999999</c:v>
                </c:pt>
                <c:pt idx="9779">
                  <c:v>3.9558000999999998</c:v>
                </c:pt>
                <c:pt idx="9780">
                  <c:v>3.9559999000000001</c:v>
                </c:pt>
                <c:pt idx="9781">
                  <c:v>3.9561999000000001</c:v>
                </c:pt>
                <c:pt idx="9782">
                  <c:v>3.9563999000000001</c:v>
                </c:pt>
                <c:pt idx="9783">
                  <c:v>3.9565999999999999</c:v>
                </c:pt>
                <c:pt idx="9784">
                  <c:v>3.9567999999999999</c:v>
                </c:pt>
                <c:pt idx="9785">
                  <c:v>3.9569998000000002</c:v>
                </c:pt>
                <c:pt idx="9786">
                  <c:v>3.9571998000000002</c:v>
                </c:pt>
                <c:pt idx="9787">
                  <c:v>3.9573998000000001</c:v>
                </c:pt>
                <c:pt idx="9788">
                  <c:v>3.9575998999999999</c:v>
                </c:pt>
                <c:pt idx="9789">
                  <c:v>3.9577998999999999</c:v>
                </c:pt>
                <c:pt idx="9790">
                  <c:v>3.9579998999999999</c:v>
                </c:pt>
                <c:pt idx="9791">
                  <c:v>3.9582000000000002</c:v>
                </c:pt>
                <c:pt idx="9792">
                  <c:v>3.9583998</c:v>
                </c:pt>
                <c:pt idx="9793">
                  <c:v>3.9585998</c:v>
                </c:pt>
                <c:pt idx="9794">
                  <c:v>3.9587998</c:v>
                </c:pt>
                <c:pt idx="9795">
                  <c:v>3.9589998999999998</c:v>
                </c:pt>
                <c:pt idx="9796">
                  <c:v>3.9591999000000002</c:v>
                </c:pt>
                <c:pt idx="9797">
                  <c:v>3.9593999000000002</c:v>
                </c:pt>
                <c:pt idx="9798">
                  <c:v>3.9596</c:v>
                </c:pt>
                <c:pt idx="9799">
                  <c:v>3.9598</c:v>
                </c:pt>
                <c:pt idx="9800">
                  <c:v>3.9599997999999998</c:v>
                </c:pt>
                <c:pt idx="9801">
                  <c:v>3.9601997999999998</c:v>
                </c:pt>
                <c:pt idx="9802">
                  <c:v>3.9603999000000001</c:v>
                </c:pt>
                <c:pt idx="9803">
                  <c:v>3.9605999000000001</c:v>
                </c:pt>
                <c:pt idx="9804">
                  <c:v>3.9607999</c:v>
                </c:pt>
                <c:pt idx="9805">
                  <c:v>3.9609996999999999</c:v>
                </c:pt>
                <c:pt idx="9806">
                  <c:v>3.9611999999999998</c:v>
                </c:pt>
                <c:pt idx="9807">
                  <c:v>3.9613999999999998</c:v>
                </c:pt>
                <c:pt idx="9808">
                  <c:v>3.9615998000000001</c:v>
                </c:pt>
                <c:pt idx="9809">
                  <c:v>3.9617998999999999</c:v>
                </c:pt>
                <c:pt idx="9810">
                  <c:v>3.9619996999999998</c:v>
                </c:pt>
                <c:pt idx="9811">
                  <c:v>3.9621998999999999</c:v>
                </c:pt>
                <c:pt idx="9812">
                  <c:v>3.9624000000000001</c:v>
                </c:pt>
                <c:pt idx="9813">
                  <c:v>3.9625998</c:v>
                </c:pt>
                <c:pt idx="9814">
                  <c:v>3.9628000000000001</c:v>
                </c:pt>
                <c:pt idx="9815">
                  <c:v>3.9630000999999999</c:v>
                </c:pt>
                <c:pt idx="9816">
                  <c:v>3.9631999000000002</c:v>
                </c:pt>
                <c:pt idx="9817">
                  <c:v>3.9633999000000002</c:v>
                </c:pt>
                <c:pt idx="9818">
                  <c:v>3.9635997000000001</c:v>
                </c:pt>
                <c:pt idx="9819">
                  <c:v>3.9638</c:v>
                </c:pt>
                <c:pt idx="9820">
                  <c:v>3.964</c:v>
                </c:pt>
                <c:pt idx="9821">
                  <c:v>3.9641997999999998</c:v>
                </c:pt>
                <c:pt idx="9822">
                  <c:v>3.9644001000000002</c:v>
                </c:pt>
                <c:pt idx="9823">
                  <c:v>3.9645997999999998</c:v>
                </c:pt>
                <c:pt idx="9824">
                  <c:v>3.9647999</c:v>
                </c:pt>
                <c:pt idx="9825">
                  <c:v>3.9649999</c:v>
                </c:pt>
                <c:pt idx="9826">
                  <c:v>3.9651996999999999</c:v>
                </c:pt>
                <c:pt idx="9827">
                  <c:v>3.9653999999999998</c:v>
                </c:pt>
                <c:pt idx="9828">
                  <c:v>3.9655998000000001</c:v>
                </c:pt>
                <c:pt idx="9829">
                  <c:v>3.9657998000000001</c:v>
                </c:pt>
                <c:pt idx="9830">
                  <c:v>3.9660001</c:v>
                </c:pt>
                <c:pt idx="9831">
                  <c:v>3.9661998999999999</c:v>
                </c:pt>
                <c:pt idx="9832">
                  <c:v>3.9663998999999999</c:v>
                </c:pt>
                <c:pt idx="9833">
                  <c:v>3.9665998999999998</c:v>
                </c:pt>
                <c:pt idx="9834">
                  <c:v>3.9667997000000002</c:v>
                </c:pt>
                <c:pt idx="9835">
                  <c:v>3.9670000000000001</c:v>
                </c:pt>
                <c:pt idx="9836">
                  <c:v>3.9671997999999999</c:v>
                </c:pt>
                <c:pt idx="9837">
                  <c:v>3.9673997999999999</c:v>
                </c:pt>
                <c:pt idx="9838">
                  <c:v>3.9676000999999999</c:v>
                </c:pt>
                <c:pt idx="9839">
                  <c:v>3.9677999000000002</c:v>
                </c:pt>
                <c:pt idx="9840">
                  <c:v>3.9679999000000001</c:v>
                </c:pt>
                <c:pt idx="9841">
                  <c:v>3.9681997</c:v>
                </c:pt>
                <c:pt idx="9842">
                  <c:v>3.9683997999999998</c:v>
                </c:pt>
                <c:pt idx="9843">
                  <c:v>3.9685999999999999</c:v>
                </c:pt>
                <c:pt idx="9844">
                  <c:v>3.9687998000000002</c:v>
                </c:pt>
                <c:pt idx="9845">
                  <c:v>3.9689999</c:v>
                </c:pt>
                <c:pt idx="9846">
                  <c:v>3.9692001000000001</c:v>
                </c:pt>
                <c:pt idx="9847">
                  <c:v>3.9693999</c:v>
                </c:pt>
                <c:pt idx="9848">
                  <c:v>3.9695999999999998</c:v>
                </c:pt>
                <c:pt idx="9849">
                  <c:v>3.9697998000000001</c:v>
                </c:pt>
                <c:pt idx="9850">
                  <c:v>3.9699998000000001</c:v>
                </c:pt>
                <c:pt idx="9851">
                  <c:v>3.9702001</c:v>
                </c:pt>
                <c:pt idx="9852">
                  <c:v>3.9703998999999999</c:v>
                </c:pt>
                <c:pt idx="9853">
                  <c:v>3.9705998999999998</c:v>
                </c:pt>
                <c:pt idx="9854">
                  <c:v>3.9707998999999998</c:v>
                </c:pt>
                <c:pt idx="9855">
                  <c:v>3.9710000000000001</c:v>
                </c:pt>
                <c:pt idx="9856">
                  <c:v>3.9712000000000001</c:v>
                </c:pt>
                <c:pt idx="9857">
                  <c:v>3.9713997999999999</c:v>
                </c:pt>
                <c:pt idx="9858">
                  <c:v>3.9715997999999999</c:v>
                </c:pt>
                <c:pt idx="9859">
                  <c:v>3.9717999000000002</c:v>
                </c:pt>
                <c:pt idx="9860">
                  <c:v>3.9719999000000001</c:v>
                </c:pt>
                <c:pt idx="9861">
                  <c:v>3.9721999000000001</c:v>
                </c:pt>
                <c:pt idx="9862">
                  <c:v>3.9723999999999999</c:v>
                </c:pt>
                <c:pt idx="9863">
                  <c:v>3.9725999999999999</c:v>
                </c:pt>
                <c:pt idx="9864">
                  <c:v>3.9727998000000002</c:v>
                </c:pt>
                <c:pt idx="9865">
                  <c:v>3.9729998000000002</c:v>
                </c:pt>
                <c:pt idx="9866">
                  <c:v>3.9731998000000002</c:v>
                </c:pt>
                <c:pt idx="9867">
                  <c:v>3.9733999</c:v>
                </c:pt>
                <c:pt idx="9868">
                  <c:v>3.9735999</c:v>
                </c:pt>
                <c:pt idx="9869">
                  <c:v>3.9737996999999998</c:v>
                </c:pt>
                <c:pt idx="9870">
                  <c:v>3.9740000000000002</c:v>
                </c:pt>
                <c:pt idx="9871">
                  <c:v>3.9742000000000002</c:v>
                </c:pt>
                <c:pt idx="9872">
                  <c:v>3.9743998</c:v>
                </c:pt>
                <c:pt idx="9873">
                  <c:v>3.9745998</c:v>
                </c:pt>
                <c:pt idx="9874">
                  <c:v>3.9747998999999998</c:v>
                </c:pt>
                <c:pt idx="9875">
                  <c:v>3.9749998999999998</c:v>
                </c:pt>
                <c:pt idx="9876">
                  <c:v>3.9751998999999998</c:v>
                </c:pt>
                <c:pt idx="9877">
                  <c:v>3.9753997000000001</c:v>
                </c:pt>
                <c:pt idx="9878">
                  <c:v>3.9756</c:v>
                </c:pt>
                <c:pt idx="9879">
                  <c:v>3.9758</c:v>
                </c:pt>
                <c:pt idx="9880">
                  <c:v>3.9759997999999999</c:v>
                </c:pt>
                <c:pt idx="9881">
                  <c:v>3.9761999000000001</c:v>
                </c:pt>
                <c:pt idx="9882">
                  <c:v>3.9763997</c:v>
                </c:pt>
                <c:pt idx="9883">
                  <c:v>3.9765999000000001</c:v>
                </c:pt>
                <c:pt idx="9884">
                  <c:v>3.9767999999999999</c:v>
                </c:pt>
                <c:pt idx="9885">
                  <c:v>3.9769998000000002</c:v>
                </c:pt>
                <c:pt idx="9886">
                  <c:v>3.9771999999999998</c:v>
                </c:pt>
                <c:pt idx="9887">
                  <c:v>3.9774001000000001</c:v>
                </c:pt>
                <c:pt idx="9888">
                  <c:v>3.9775999</c:v>
                </c:pt>
                <c:pt idx="9889">
                  <c:v>3.9777998999999999</c:v>
                </c:pt>
                <c:pt idx="9890">
                  <c:v>3.9779996999999998</c:v>
                </c:pt>
                <c:pt idx="9891">
                  <c:v>3.9782000000000002</c:v>
                </c:pt>
                <c:pt idx="9892">
                  <c:v>3.9784000000000002</c:v>
                </c:pt>
                <c:pt idx="9893">
                  <c:v>3.9785998</c:v>
                </c:pt>
                <c:pt idx="9894">
                  <c:v>3.9788001</c:v>
                </c:pt>
                <c:pt idx="9895">
                  <c:v>3.9789998999999998</c:v>
                </c:pt>
                <c:pt idx="9896">
                  <c:v>3.9791998999999998</c:v>
                </c:pt>
                <c:pt idx="9897">
                  <c:v>3.9793999000000002</c:v>
                </c:pt>
                <c:pt idx="9898">
                  <c:v>3.9795997000000001</c:v>
                </c:pt>
                <c:pt idx="9899">
                  <c:v>3.9798</c:v>
                </c:pt>
                <c:pt idx="9900">
                  <c:v>3.9799997999999999</c:v>
                </c:pt>
                <c:pt idx="9901">
                  <c:v>3.9801997999999998</c:v>
                </c:pt>
                <c:pt idx="9902">
                  <c:v>3.9804001000000002</c:v>
                </c:pt>
                <c:pt idx="9903">
                  <c:v>3.9805999000000001</c:v>
                </c:pt>
                <c:pt idx="9904">
                  <c:v>3.9807999000000001</c:v>
                </c:pt>
                <c:pt idx="9905">
                  <c:v>3.9809996999999999</c:v>
                </c:pt>
                <c:pt idx="9906">
                  <c:v>3.9811996999999999</c:v>
                </c:pt>
                <c:pt idx="9907">
                  <c:v>3.9813999999999998</c:v>
                </c:pt>
                <c:pt idx="9908">
                  <c:v>3.9815998000000001</c:v>
                </c:pt>
                <c:pt idx="9909">
                  <c:v>3.9817998000000001</c:v>
                </c:pt>
                <c:pt idx="9910">
                  <c:v>3.9820001</c:v>
                </c:pt>
                <c:pt idx="9911">
                  <c:v>3.9821998999999999</c:v>
                </c:pt>
                <c:pt idx="9912">
                  <c:v>3.9823998999999999</c:v>
                </c:pt>
                <c:pt idx="9913">
                  <c:v>3.9825997000000002</c:v>
                </c:pt>
                <c:pt idx="9914">
                  <c:v>3.9827998</c:v>
                </c:pt>
                <c:pt idx="9915">
                  <c:v>3.9830000000000001</c:v>
                </c:pt>
                <c:pt idx="9916">
                  <c:v>3.9831998</c:v>
                </c:pt>
                <c:pt idx="9917">
                  <c:v>3.9833999000000002</c:v>
                </c:pt>
                <c:pt idx="9918">
                  <c:v>3.9835999000000002</c:v>
                </c:pt>
                <c:pt idx="9919">
                  <c:v>3.9837999000000002</c:v>
                </c:pt>
                <c:pt idx="9920">
                  <c:v>3.984</c:v>
                </c:pt>
                <c:pt idx="9921">
                  <c:v>3.9841997999999998</c:v>
                </c:pt>
                <c:pt idx="9922">
                  <c:v>3.9843997999999998</c:v>
                </c:pt>
                <c:pt idx="9923">
                  <c:v>3.9846001000000002</c:v>
                </c:pt>
                <c:pt idx="9924">
                  <c:v>3.9847999000000001</c:v>
                </c:pt>
                <c:pt idx="9925">
                  <c:v>3.9849999</c:v>
                </c:pt>
                <c:pt idx="9926">
                  <c:v>3.9851999</c:v>
                </c:pt>
                <c:pt idx="9927">
                  <c:v>3.9853999999999998</c:v>
                </c:pt>
                <c:pt idx="9928">
                  <c:v>3.9855999999999998</c:v>
                </c:pt>
                <c:pt idx="9929">
                  <c:v>3.9857998000000001</c:v>
                </c:pt>
                <c:pt idx="9930">
                  <c:v>3.9859998000000001</c:v>
                </c:pt>
                <c:pt idx="9931">
                  <c:v>3.9861998999999999</c:v>
                </c:pt>
                <c:pt idx="9932">
                  <c:v>3.9863998999999999</c:v>
                </c:pt>
                <c:pt idx="9933">
                  <c:v>3.9865998999999999</c:v>
                </c:pt>
                <c:pt idx="9934">
                  <c:v>3.9868000000000001</c:v>
                </c:pt>
                <c:pt idx="9935">
                  <c:v>3.9870000000000001</c:v>
                </c:pt>
                <c:pt idx="9936">
                  <c:v>3.9871998</c:v>
                </c:pt>
                <c:pt idx="9937">
                  <c:v>3.9873997999999999</c:v>
                </c:pt>
                <c:pt idx="9938">
                  <c:v>3.9875997999999999</c:v>
                </c:pt>
                <c:pt idx="9939">
                  <c:v>3.9877999000000002</c:v>
                </c:pt>
                <c:pt idx="9940">
                  <c:v>3.9879999000000002</c:v>
                </c:pt>
                <c:pt idx="9941">
                  <c:v>3.9881997</c:v>
                </c:pt>
                <c:pt idx="9942">
                  <c:v>3.9883999999999999</c:v>
                </c:pt>
                <c:pt idx="9943">
                  <c:v>3.9885999999999999</c:v>
                </c:pt>
                <c:pt idx="9944">
                  <c:v>3.9887997999999998</c:v>
                </c:pt>
                <c:pt idx="9945">
                  <c:v>3.9889998000000002</c:v>
                </c:pt>
                <c:pt idx="9946">
                  <c:v>3.9891999</c:v>
                </c:pt>
                <c:pt idx="9947">
                  <c:v>3.9893999</c:v>
                </c:pt>
                <c:pt idx="9948">
                  <c:v>3.9895999</c:v>
                </c:pt>
                <c:pt idx="9949">
                  <c:v>3.9897996999999998</c:v>
                </c:pt>
                <c:pt idx="9950">
                  <c:v>3.99</c:v>
                </c:pt>
                <c:pt idx="9951">
                  <c:v>3.9902000000000002</c:v>
                </c:pt>
                <c:pt idx="9952">
                  <c:v>3.9903998000000001</c:v>
                </c:pt>
                <c:pt idx="9953">
                  <c:v>3.9905998999999999</c:v>
                </c:pt>
                <c:pt idx="9954">
                  <c:v>3.9907997000000002</c:v>
                </c:pt>
                <c:pt idx="9955">
                  <c:v>3.9909998999999998</c:v>
                </c:pt>
                <c:pt idx="9956">
                  <c:v>3.9912000000000001</c:v>
                </c:pt>
                <c:pt idx="9957">
                  <c:v>3.9913997999999999</c:v>
                </c:pt>
                <c:pt idx="9958">
                  <c:v>3.9916</c:v>
                </c:pt>
                <c:pt idx="9959">
                  <c:v>3.9918000999999999</c:v>
                </c:pt>
                <c:pt idx="9960">
                  <c:v>3.9919999000000002</c:v>
                </c:pt>
                <c:pt idx="9961">
                  <c:v>3.9921999000000001</c:v>
                </c:pt>
                <c:pt idx="9962">
                  <c:v>3.9923997</c:v>
                </c:pt>
                <c:pt idx="9963">
                  <c:v>3.9925999999999999</c:v>
                </c:pt>
                <c:pt idx="9964">
                  <c:v>3.9927999999999999</c:v>
                </c:pt>
                <c:pt idx="9965">
                  <c:v>3.9929998000000002</c:v>
                </c:pt>
                <c:pt idx="9966">
                  <c:v>3.9932001000000001</c:v>
                </c:pt>
                <c:pt idx="9967">
                  <c:v>3.9933999</c:v>
                </c:pt>
                <c:pt idx="9968">
                  <c:v>3.9935999</c:v>
                </c:pt>
                <c:pt idx="9969">
                  <c:v>3.9937999</c:v>
                </c:pt>
                <c:pt idx="9970">
                  <c:v>3.9939996999999998</c:v>
                </c:pt>
                <c:pt idx="9971">
                  <c:v>3.9942000000000002</c:v>
                </c:pt>
                <c:pt idx="9972">
                  <c:v>3.9943998000000001</c:v>
                </c:pt>
                <c:pt idx="9973">
                  <c:v>3.9945998</c:v>
                </c:pt>
                <c:pt idx="9974">
                  <c:v>3.9948001</c:v>
                </c:pt>
                <c:pt idx="9975">
                  <c:v>3.9949998999999998</c:v>
                </c:pt>
                <c:pt idx="9976">
                  <c:v>3.9951998999999998</c:v>
                </c:pt>
                <c:pt idx="9977">
                  <c:v>3.9953997000000001</c:v>
                </c:pt>
                <c:pt idx="9978">
                  <c:v>3.9955997000000001</c:v>
                </c:pt>
                <c:pt idx="9979">
                  <c:v>3.9958</c:v>
                </c:pt>
                <c:pt idx="9980">
                  <c:v>3.9959997999999999</c:v>
                </c:pt>
                <c:pt idx="9981">
                  <c:v>3.9961997999999999</c:v>
                </c:pt>
                <c:pt idx="9982">
                  <c:v>3.9964000999999998</c:v>
                </c:pt>
                <c:pt idx="9983">
                  <c:v>3.9965999000000001</c:v>
                </c:pt>
                <c:pt idx="9984">
                  <c:v>3.9967999000000001</c:v>
                </c:pt>
                <c:pt idx="9985">
                  <c:v>3.9969996999999999</c:v>
                </c:pt>
                <c:pt idx="9986">
                  <c:v>3.9971998000000002</c:v>
                </c:pt>
                <c:pt idx="9987">
                  <c:v>3.9973999999999998</c:v>
                </c:pt>
                <c:pt idx="9988">
                  <c:v>3.9975998000000001</c:v>
                </c:pt>
                <c:pt idx="9989">
                  <c:v>3.9977999</c:v>
                </c:pt>
                <c:pt idx="9990">
                  <c:v>3.9979998999999999</c:v>
                </c:pt>
                <c:pt idx="9991">
                  <c:v>3.9981998999999999</c:v>
                </c:pt>
                <c:pt idx="9992">
                  <c:v>3.9984000000000002</c:v>
                </c:pt>
                <c:pt idx="9993">
                  <c:v>3.9985998</c:v>
                </c:pt>
                <c:pt idx="9994">
                  <c:v>3.9987998</c:v>
                </c:pt>
                <c:pt idx="9995">
                  <c:v>3.9989998</c:v>
                </c:pt>
                <c:pt idx="9996">
                  <c:v>3.9991998999999998</c:v>
                </c:pt>
                <c:pt idx="9997">
                  <c:v>3.9993998999999998</c:v>
                </c:pt>
                <c:pt idx="9998">
                  <c:v>3.9995999000000002</c:v>
                </c:pt>
                <c:pt idx="9999">
                  <c:v>3.9998</c:v>
                </c:pt>
                <c:pt idx="10000">
                  <c:v>4</c:v>
                </c:pt>
              </c:numCache>
            </c:numRef>
          </c:xVal>
          <c:yVal>
            <c:numRef>
              <c:f>data_Spara2!$C$10007:$C$20007</c:f>
              <c:numCache>
                <c:formatCode>General</c:formatCode>
                <c:ptCount val="10001"/>
                <c:pt idx="0">
                  <c:v>-9.3667131999999995</c:v>
                </c:pt>
                <c:pt idx="1">
                  <c:v>-9.3687424999999998</c:v>
                </c:pt>
                <c:pt idx="2">
                  <c:v>-9.3707691000000004</c:v>
                </c:pt>
                <c:pt idx="3">
                  <c:v>-9.3727970999999997</c:v>
                </c:pt>
                <c:pt idx="4">
                  <c:v>-9.3748275000000003</c:v>
                </c:pt>
                <c:pt idx="5">
                  <c:v>-9.3768560999999995</c:v>
                </c:pt>
                <c:pt idx="6">
                  <c:v>-9.3788856000000003</c:v>
                </c:pt>
                <c:pt idx="7">
                  <c:v>-9.3809167999999996</c:v>
                </c:pt>
                <c:pt idx="8">
                  <c:v>-9.3829475999999996</c:v>
                </c:pt>
                <c:pt idx="9">
                  <c:v>-9.3849791000000007</c:v>
                </c:pt>
                <c:pt idx="10">
                  <c:v>-9.3870100999999995</c:v>
                </c:pt>
                <c:pt idx="11">
                  <c:v>-9.3890442000000007</c:v>
                </c:pt>
                <c:pt idx="12">
                  <c:v>-9.3910765999999999</c:v>
                </c:pt>
                <c:pt idx="13">
                  <c:v>-9.3931087000000009</c:v>
                </c:pt>
                <c:pt idx="14">
                  <c:v>-9.3951420999999993</c:v>
                </c:pt>
                <c:pt idx="15">
                  <c:v>-9.3971766999999993</c:v>
                </c:pt>
                <c:pt idx="16">
                  <c:v>-9.3992105000000006</c:v>
                </c:pt>
                <c:pt idx="17">
                  <c:v>-9.4012449999999994</c:v>
                </c:pt>
                <c:pt idx="18">
                  <c:v>-9.4032800999999999</c:v>
                </c:pt>
                <c:pt idx="19">
                  <c:v>-9.4053167999999996</c:v>
                </c:pt>
                <c:pt idx="20">
                  <c:v>-9.4073537999999992</c:v>
                </c:pt>
                <c:pt idx="21">
                  <c:v>-9.4093899000000008</c:v>
                </c:pt>
                <c:pt idx="22">
                  <c:v>-9.4114272000000003</c:v>
                </c:pt>
                <c:pt idx="23">
                  <c:v>-9.4134651999999992</c:v>
                </c:pt>
                <c:pt idx="24">
                  <c:v>-9.4155023</c:v>
                </c:pt>
                <c:pt idx="25">
                  <c:v>-9.4175404999999994</c:v>
                </c:pt>
                <c:pt idx="26">
                  <c:v>-9.4195799000000004</c:v>
                </c:pt>
                <c:pt idx="27">
                  <c:v>-9.4216204000000001</c:v>
                </c:pt>
                <c:pt idx="28">
                  <c:v>-9.4236599999999999</c:v>
                </c:pt>
                <c:pt idx="29">
                  <c:v>-9.4257003000000008</c:v>
                </c:pt>
                <c:pt idx="30">
                  <c:v>-9.4277405999999999</c:v>
                </c:pt>
                <c:pt idx="31">
                  <c:v>-9.4297825</c:v>
                </c:pt>
                <c:pt idx="32">
                  <c:v>-9.4318244999999994</c:v>
                </c:pt>
                <c:pt idx="33">
                  <c:v>-9.4338669999999993</c:v>
                </c:pt>
                <c:pt idx="34">
                  <c:v>-9.4359094999999993</c:v>
                </c:pt>
                <c:pt idx="35">
                  <c:v>-9.4379525999999991</c:v>
                </c:pt>
                <c:pt idx="36">
                  <c:v>-9.4399967999999994</c:v>
                </c:pt>
                <c:pt idx="37">
                  <c:v>-9.4420406999999997</c:v>
                </c:pt>
                <c:pt idx="38">
                  <c:v>-9.4440852</c:v>
                </c:pt>
                <c:pt idx="39">
                  <c:v>-9.4461297999999996</c:v>
                </c:pt>
                <c:pt idx="40">
                  <c:v>-9.4481762000000007</c:v>
                </c:pt>
                <c:pt idx="41">
                  <c:v>-9.4502210000000009</c:v>
                </c:pt>
                <c:pt idx="42">
                  <c:v>-9.4522680999999995</c:v>
                </c:pt>
                <c:pt idx="43">
                  <c:v>-9.4543139000000007</c:v>
                </c:pt>
                <c:pt idx="44">
                  <c:v>-9.4563612999999993</c:v>
                </c:pt>
                <c:pt idx="45">
                  <c:v>-9.4584089999999996</c:v>
                </c:pt>
                <c:pt idx="46">
                  <c:v>-9.4604564</c:v>
                </c:pt>
                <c:pt idx="47">
                  <c:v>-9.4625052000000007</c:v>
                </c:pt>
                <c:pt idx="48">
                  <c:v>-9.4645548000000002</c:v>
                </c:pt>
                <c:pt idx="49">
                  <c:v>-9.4666046999999995</c:v>
                </c:pt>
                <c:pt idx="50">
                  <c:v>-9.4686549000000007</c:v>
                </c:pt>
                <c:pt idx="51">
                  <c:v>-9.4707066999999991</c:v>
                </c:pt>
                <c:pt idx="52">
                  <c:v>-9.4727564999999991</c:v>
                </c:pt>
                <c:pt idx="53">
                  <c:v>-9.4748085999999994</c:v>
                </c:pt>
                <c:pt idx="54">
                  <c:v>-9.4768591000000004</c:v>
                </c:pt>
                <c:pt idx="55">
                  <c:v>-9.4789130000000004</c:v>
                </c:pt>
                <c:pt idx="56">
                  <c:v>-9.4809654000000005</c:v>
                </c:pt>
                <c:pt idx="57">
                  <c:v>-9.4830181000000007</c:v>
                </c:pt>
                <c:pt idx="58">
                  <c:v>-9.4850727999999993</c:v>
                </c:pt>
                <c:pt idx="59">
                  <c:v>-9.4871254</c:v>
                </c:pt>
                <c:pt idx="60">
                  <c:v>-9.4891819999999996</c:v>
                </c:pt>
                <c:pt idx="61">
                  <c:v>-9.4912361999999995</c:v>
                </c:pt>
                <c:pt idx="62">
                  <c:v>-9.4932922000000008</c:v>
                </c:pt>
                <c:pt idx="63">
                  <c:v>-9.4953474999999994</c:v>
                </c:pt>
                <c:pt idx="64">
                  <c:v>-9.4974039000000001</c:v>
                </c:pt>
                <c:pt idx="65">
                  <c:v>-9.4994607000000002</c:v>
                </c:pt>
                <c:pt idx="66">
                  <c:v>-9.5015181999999996</c:v>
                </c:pt>
                <c:pt idx="67">
                  <c:v>-9.5035764999999994</c:v>
                </c:pt>
                <c:pt idx="68">
                  <c:v>-9.5056350999999992</c:v>
                </c:pt>
                <c:pt idx="69">
                  <c:v>-9.5076926000000004</c:v>
                </c:pt>
                <c:pt idx="70">
                  <c:v>-9.5097530999999993</c:v>
                </c:pt>
                <c:pt idx="71">
                  <c:v>-9.5118117000000009</c:v>
                </c:pt>
                <c:pt idx="72">
                  <c:v>-9.5138721999999998</c:v>
                </c:pt>
                <c:pt idx="73">
                  <c:v>-9.5159350000000007</c:v>
                </c:pt>
                <c:pt idx="74">
                  <c:v>-9.5179954000000002</c:v>
                </c:pt>
                <c:pt idx="75">
                  <c:v>-9.5200566999999996</c:v>
                </c:pt>
                <c:pt idx="76">
                  <c:v>-9.5221181999999995</c:v>
                </c:pt>
                <c:pt idx="77">
                  <c:v>-9.5241805999999993</c:v>
                </c:pt>
                <c:pt idx="78">
                  <c:v>-9.5262449</c:v>
                </c:pt>
                <c:pt idx="79">
                  <c:v>-9.5283075999999998</c:v>
                </c:pt>
                <c:pt idx="80">
                  <c:v>-9.5303725999999997</c:v>
                </c:pt>
                <c:pt idx="81">
                  <c:v>-9.5324367999999993</c:v>
                </c:pt>
                <c:pt idx="82">
                  <c:v>-9.5345005999999994</c:v>
                </c:pt>
                <c:pt idx="83">
                  <c:v>-9.5365672000000004</c:v>
                </c:pt>
                <c:pt idx="84">
                  <c:v>-9.5386320999999992</c:v>
                </c:pt>
                <c:pt idx="85">
                  <c:v>-9.5406981999999996</c:v>
                </c:pt>
                <c:pt idx="86">
                  <c:v>-9.5427663000000003</c:v>
                </c:pt>
                <c:pt idx="87">
                  <c:v>-9.5448336000000005</c:v>
                </c:pt>
                <c:pt idx="88">
                  <c:v>-9.5469007999999995</c:v>
                </c:pt>
                <c:pt idx="89">
                  <c:v>-9.5489685000000009</c:v>
                </c:pt>
                <c:pt idx="90">
                  <c:v>-9.5510380999999995</c:v>
                </c:pt>
                <c:pt idx="91">
                  <c:v>-9.5531073000000006</c:v>
                </c:pt>
                <c:pt idx="92">
                  <c:v>-9.5551771999999993</c:v>
                </c:pt>
                <c:pt idx="93">
                  <c:v>-9.5572479999999995</c:v>
                </c:pt>
                <c:pt idx="94">
                  <c:v>-9.5593175000000006</c:v>
                </c:pt>
                <c:pt idx="95">
                  <c:v>-9.5613881999999997</c:v>
                </c:pt>
                <c:pt idx="96">
                  <c:v>-9.5634601000000004</c:v>
                </c:pt>
                <c:pt idx="97">
                  <c:v>-9.5655319999999993</c:v>
                </c:pt>
                <c:pt idx="98">
                  <c:v>-9.5676047000000004</c:v>
                </c:pt>
                <c:pt idx="99">
                  <c:v>-9.5696782000000002</c:v>
                </c:pt>
                <c:pt idx="100">
                  <c:v>-9.5717504000000009</c:v>
                </c:pt>
                <c:pt idx="101">
                  <c:v>-9.5738251000000005</c:v>
                </c:pt>
                <c:pt idx="102">
                  <c:v>-9.5758984999999992</c:v>
                </c:pt>
                <c:pt idx="103">
                  <c:v>-9.5779742999999993</c:v>
                </c:pt>
                <c:pt idx="104">
                  <c:v>-9.5800485000000002</c:v>
                </c:pt>
                <c:pt idx="105">
                  <c:v>-9.5821243000000003</c:v>
                </c:pt>
                <c:pt idx="106">
                  <c:v>-9.5842016999999995</c:v>
                </c:pt>
                <c:pt idx="107">
                  <c:v>-9.5862783</c:v>
                </c:pt>
                <c:pt idx="108">
                  <c:v>-9.5883549000000006</c:v>
                </c:pt>
                <c:pt idx="109">
                  <c:v>-9.5904325999999998</c:v>
                </c:pt>
                <c:pt idx="110">
                  <c:v>-9.5925104000000001</c:v>
                </c:pt>
                <c:pt idx="111">
                  <c:v>-9.5945889999999991</c:v>
                </c:pt>
                <c:pt idx="112">
                  <c:v>-9.5966695000000009</c:v>
                </c:pt>
                <c:pt idx="113">
                  <c:v>-9.5987480999999999</c:v>
                </c:pt>
                <c:pt idx="114">
                  <c:v>-9.6008282999999999</c:v>
                </c:pt>
                <c:pt idx="115">
                  <c:v>-9.6029084000000005</c:v>
                </c:pt>
                <c:pt idx="116">
                  <c:v>-9.6049886000000004</c:v>
                </c:pt>
                <c:pt idx="117">
                  <c:v>-9.6070699000000008</c:v>
                </c:pt>
                <c:pt idx="118">
                  <c:v>-9.6091532999999991</c:v>
                </c:pt>
                <c:pt idx="119">
                  <c:v>-9.6112354999999994</c:v>
                </c:pt>
                <c:pt idx="120">
                  <c:v>-9.6133191999999994</c:v>
                </c:pt>
                <c:pt idx="121">
                  <c:v>-9.6154022000000001</c:v>
                </c:pt>
                <c:pt idx="122">
                  <c:v>-9.6174864000000007</c:v>
                </c:pt>
                <c:pt idx="123">
                  <c:v>-9.6195693999999996</c:v>
                </c:pt>
                <c:pt idx="124">
                  <c:v>-9.6216548</c:v>
                </c:pt>
                <c:pt idx="125">
                  <c:v>-9.6237414000000001</c:v>
                </c:pt>
                <c:pt idx="126">
                  <c:v>-9.6258268000000005</c:v>
                </c:pt>
                <c:pt idx="127">
                  <c:v>-9.6279119000000009</c:v>
                </c:pt>
                <c:pt idx="128">
                  <c:v>-9.6299984999999992</c:v>
                </c:pt>
                <c:pt idx="129">
                  <c:v>-9.6320852000000006</c:v>
                </c:pt>
                <c:pt idx="130">
                  <c:v>-9.6341733999999999</c:v>
                </c:pt>
                <c:pt idx="131">
                  <c:v>-9.6362620999999997</c:v>
                </c:pt>
                <c:pt idx="132">
                  <c:v>-9.6383507999999996</c:v>
                </c:pt>
                <c:pt idx="133">
                  <c:v>-9.6404394999999994</c:v>
                </c:pt>
                <c:pt idx="134">
                  <c:v>-9.6425294000000008</c:v>
                </c:pt>
                <c:pt idx="135">
                  <c:v>-9.6446193999999998</c:v>
                </c:pt>
                <c:pt idx="136">
                  <c:v>-9.6467109000000004</c:v>
                </c:pt>
                <c:pt idx="137">
                  <c:v>-9.6487999999999996</c:v>
                </c:pt>
                <c:pt idx="138">
                  <c:v>-9.6508924</c:v>
                </c:pt>
                <c:pt idx="139">
                  <c:v>-9.6529852999999992</c:v>
                </c:pt>
                <c:pt idx="140">
                  <c:v>-9.6550779999999996</c:v>
                </c:pt>
                <c:pt idx="141">
                  <c:v>-9.6571692999999996</c:v>
                </c:pt>
                <c:pt idx="142">
                  <c:v>-9.6592632999999992</c:v>
                </c:pt>
                <c:pt idx="143">
                  <c:v>-9.6613579000000005</c:v>
                </c:pt>
                <c:pt idx="144">
                  <c:v>-9.6634512000000008</c:v>
                </c:pt>
                <c:pt idx="145">
                  <c:v>-9.6655481000000005</c:v>
                </c:pt>
                <c:pt idx="146">
                  <c:v>-9.6676432000000005</c:v>
                </c:pt>
                <c:pt idx="147">
                  <c:v>-9.6697384999999993</c:v>
                </c:pt>
                <c:pt idx="148">
                  <c:v>-9.6718355000000003</c:v>
                </c:pt>
                <c:pt idx="149">
                  <c:v>-9.6739329999999999</c:v>
                </c:pt>
                <c:pt idx="150">
                  <c:v>-9.6760295999999997</c:v>
                </c:pt>
                <c:pt idx="151">
                  <c:v>-9.6781260000000007</c:v>
                </c:pt>
                <c:pt idx="152">
                  <c:v>-9.6802258999999999</c:v>
                </c:pt>
                <c:pt idx="153">
                  <c:v>-9.6823230999999996</c:v>
                </c:pt>
                <c:pt idx="154">
                  <c:v>-9.6844239000000005</c:v>
                </c:pt>
                <c:pt idx="155">
                  <c:v>-9.6865223</c:v>
                </c:pt>
                <c:pt idx="156">
                  <c:v>-9.6886227999999992</c:v>
                </c:pt>
                <c:pt idx="157">
                  <c:v>-9.6907236999999995</c:v>
                </c:pt>
                <c:pt idx="158">
                  <c:v>-9.6928263000000001</c:v>
                </c:pt>
                <c:pt idx="159">
                  <c:v>-9.6949267999999993</c:v>
                </c:pt>
                <c:pt idx="160">
                  <c:v>-9.6970294999999993</c:v>
                </c:pt>
                <c:pt idx="161">
                  <c:v>-9.6991324999999993</c:v>
                </c:pt>
                <c:pt idx="162">
                  <c:v>-9.7012356000000004</c:v>
                </c:pt>
                <c:pt idx="163">
                  <c:v>-9.7033383000000004</c:v>
                </c:pt>
                <c:pt idx="164">
                  <c:v>-9.7054422999999996</c:v>
                </c:pt>
                <c:pt idx="165">
                  <c:v>-9.7075470999999993</c:v>
                </c:pt>
                <c:pt idx="166">
                  <c:v>-9.7096532</c:v>
                </c:pt>
                <c:pt idx="167">
                  <c:v>-9.7117593000000006</c:v>
                </c:pt>
                <c:pt idx="168">
                  <c:v>-9.7138641999999997</c:v>
                </c:pt>
                <c:pt idx="169">
                  <c:v>-9.7159707999999991</c:v>
                </c:pt>
                <c:pt idx="170">
                  <c:v>-9.7180786000000001</c:v>
                </c:pt>
                <c:pt idx="171">
                  <c:v>-9.7201853000000007</c:v>
                </c:pt>
                <c:pt idx="172">
                  <c:v>-9.7222928</c:v>
                </c:pt>
                <c:pt idx="173">
                  <c:v>-9.7244024000000007</c:v>
                </c:pt>
                <c:pt idx="174">
                  <c:v>-9.7265113000000003</c:v>
                </c:pt>
                <c:pt idx="175">
                  <c:v>-9.7286201000000005</c:v>
                </c:pt>
                <c:pt idx="176">
                  <c:v>-9.7307313000000004</c:v>
                </c:pt>
                <c:pt idx="177">
                  <c:v>-9.7328404000000006</c:v>
                </c:pt>
                <c:pt idx="178">
                  <c:v>-9.7349517999999993</c:v>
                </c:pt>
                <c:pt idx="179">
                  <c:v>-9.7370637000000002</c:v>
                </c:pt>
                <c:pt idx="180">
                  <c:v>-9.7391755999999994</c:v>
                </c:pt>
                <c:pt idx="181">
                  <c:v>-9.7412883000000008</c:v>
                </c:pt>
                <c:pt idx="182">
                  <c:v>-9.7434007999999999</c:v>
                </c:pt>
                <c:pt idx="183">
                  <c:v>-9.7455149999999993</c:v>
                </c:pt>
                <c:pt idx="184">
                  <c:v>-9.7476275000000001</c:v>
                </c:pt>
                <c:pt idx="185">
                  <c:v>-9.7497433000000004</c:v>
                </c:pt>
                <c:pt idx="186">
                  <c:v>-9.7518583999999997</c:v>
                </c:pt>
                <c:pt idx="187">
                  <c:v>-9.7539742999999994</c:v>
                </c:pt>
                <c:pt idx="188">
                  <c:v>-9.7560911000000008</c:v>
                </c:pt>
                <c:pt idx="189">
                  <c:v>-9.7582062999999994</c:v>
                </c:pt>
                <c:pt idx="190">
                  <c:v>-9.7603220000000004</c:v>
                </c:pt>
                <c:pt idx="191">
                  <c:v>-9.7624411000000002</c:v>
                </c:pt>
                <c:pt idx="192">
                  <c:v>-9.7645584999999997</c:v>
                </c:pt>
                <c:pt idx="193">
                  <c:v>-9.7666760000000004</c:v>
                </c:pt>
                <c:pt idx="194">
                  <c:v>-9.7687954999999995</c:v>
                </c:pt>
                <c:pt idx="195">
                  <c:v>-9.7709144000000006</c:v>
                </c:pt>
                <c:pt idx="196">
                  <c:v>-9.7730356</c:v>
                </c:pt>
                <c:pt idx="197">
                  <c:v>-9.7751546999999999</c:v>
                </c:pt>
                <c:pt idx="198">
                  <c:v>-9.7772757000000006</c:v>
                </c:pt>
                <c:pt idx="199">
                  <c:v>-9.7793975999999994</c:v>
                </c:pt>
                <c:pt idx="200">
                  <c:v>-9.7815198999999993</c:v>
                </c:pt>
                <c:pt idx="201">
                  <c:v>-9.7836415999999993</c:v>
                </c:pt>
                <c:pt idx="202">
                  <c:v>-9.7857654000000007</c:v>
                </c:pt>
                <c:pt idx="203">
                  <c:v>-9.7878875000000001</c:v>
                </c:pt>
                <c:pt idx="204">
                  <c:v>-9.7900121999999996</c:v>
                </c:pt>
                <c:pt idx="205">
                  <c:v>-9.7921361000000005</c:v>
                </c:pt>
                <c:pt idx="206">
                  <c:v>-9.7942617999999992</c:v>
                </c:pt>
                <c:pt idx="207">
                  <c:v>-9.7963878999999991</c:v>
                </c:pt>
                <c:pt idx="208">
                  <c:v>-9.7985129000000004</c:v>
                </c:pt>
                <c:pt idx="209">
                  <c:v>-9.8006395000000008</c:v>
                </c:pt>
                <c:pt idx="210">
                  <c:v>-9.8027662000000007</c:v>
                </c:pt>
                <c:pt idx="211">
                  <c:v>-9.8048935000000004</c:v>
                </c:pt>
                <c:pt idx="212">
                  <c:v>-9.8070214999999994</c:v>
                </c:pt>
                <c:pt idx="213">
                  <c:v>-9.8091497000000007</c:v>
                </c:pt>
                <c:pt idx="214">
                  <c:v>-9.8112782999999997</c:v>
                </c:pt>
                <c:pt idx="215">
                  <c:v>-9.8134075000000003</c:v>
                </c:pt>
                <c:pt idx="216">
                  <c:v>-9.8155374999999996</c:v>
                </c:pt>
                <c:pt idx="217">
                  <c:v>-9.8176676</c:v>
                </c:pt>
                <c:pt idx="218">
                  <c:v>-9.8197989999999997</c:v>
                </c:pt>
                <c:pt idx="219">
                  <c:v>-9.8219300999999994</c:v>
                </c:pt>
                <c:pt idx="220">
                  <c:v>-9.8240628000000001</c:v>
                </c:pt>
                <c:pt idx="221">
                  <c:v>-9.8261944000000003</c:v>
                </c:pt>
                <c:pt idx="222">
                  <c:v>-9.8283281999999996</c:v>
                </c:pt>
                <c:pt idx="223">
                  <c:v>-9.8304604999999992</c:v>
                </c:pt>
                <c:pt idx="224">
                  <c:v>-9.8325955999999994</c:v>
                </c:pt>
                <c:pt idx="225">
                  <c:v>-9.8347303999999998</c:v>
                </c:pt>
                <c:pt idx="226">
                  <c:v>-9.8368640999999997</c:v>
                </c:pt>
                <c:pt idx="227">
                  <c:v>-9.8389998999999992</c:v>
                </c:pt>
                <c:pt idx="228">
                  <c:v>-9.8411354000000006</c:v>
                </c:pt>
                <c:pt idx="229">
                  <c:v>-9.8432714000000008</c:v>
                </c:pt>
                <c:pt idx="230">
                  <c:v>-9.8454078000000003</c:v>
                </c:pt>
                <c:pt idx="231">
                  <c:v>-9.8475456999999995</c:v>
                </c:pt>
                <c:pt idx="232">
                  <c:v>-9.8496851000000003</c:v>
                </c:pt>
                <c:pt idx="233">
                  <c:v>-9.8518218999999991</c:v>
                </c:pt>
                <c:pt idx="234">
                  <c:v>-9.8539622999999992</c:v>
                </c:pt>
                <c:pt idx="235">
                  <c:v>-9.8561001000000008</c:v>
                </c:pt>
                <c:pt idx="236">
                  <c:v>-9.8582406999999996</c:v>
                </c:pt>
                <c:pt idx="237">
                  <c:v>-9.8603802999999992</c:v>
                </c:pt>
                <c:pt idx="238">
                  <c:v>-9.8625219000000008</c:v>
                </c:pt>
                <c:pt idx="239">
                  <c:v>-9.8646633999999995</c:v>
                </c:pt>
                <c:pt idx="240">
                  <c:v>-9.8668057000000005</c:v>
                </c:pt>
                <c:pt idx="241">
                  <c:v>-9.8689488000000001</c:v>
                </c:pt>
                <c:pt idx="242">
                  <c:v>-9.8710916999999991</c:v>
                </c:pt>
                <c:pt idx="243">
                  <c:v>-9.8732348000000005</c:v>
                </c:pt>
                <c:pt idx="244">
                  <c:v>-9.8753781000000007</c:v>
                </c:pt>
                <c:pt idx="245">
                  <c:v>-9.8775230000000001</c:v>
                </c:pt>
                <c:pt idx="246">
                  <c:v>-9.8796678999999994</c:v>
                </c:pt>
                <c:pt idx="247">
                  <c:v>-9.8818132999999992</c:v>
                </c:pt>
                <c:pt idx="248">
                  <c:v>-9.8839600999999995</c:v>
                </c:pt>
                <c:pt idx="249">
                  <c:v>-9.8861056999999999</c:v>
                </c:pt>
                <c:pt idx="250">
                  <c:v>-9.8882531999999994</c:v>
                </c:pt>
                <c:pt idx="251">
                  <c:v>-9.8904005000000002</c:v>
                </c:pt>
                <c:pt idx="252">
                  <c:v>-9.8925485000000002</c:v>
                </c:pt>
                <c:pt idx="253">
                  <c:v>-9.8946974999999995</c:v>
                </c:pt>
                <c:pt idx="254">
                  <c:v>-9.8968457000000001</c:v>
                </c:pt>
                <c:pt idx="255">
                  <c:v>-9.8989960000000004</c:v>
                </c:pt>
                <c:pt idx="256">
                  <c:v>-9.9011460000000007</c:v>
                </c:pt>
                <c:pt idx="257">
                  <c:v>-9.9032979000000001</c:v>
                </c:pt>
                <c:pt idx="258">
                  <c:v>-9.9054485000000003</c:v>
                </c:pt>
                <c:pt idx="259">
                  <c:v>-9.9075994000000005</c:v>
                </c:pt>
                <c:pt idx="260">
                  <c:v>-9.9097510999999994</c:v>
                </c:pt>
                <c:pt idx="261">
                  <c:v>-9.9119045999999997</c:v>
                </c:pt>
                <c:pt idx="262">
                  <c:v>-9.9140572999999996</c:v>
                </c:pt>
                <c:pt idx="263">
                  <c:v>-9.9162113999999999</c:v>
                </c:pt>
                <c:pt idx="264">
                  <c:v>-9.9183660000000007</c:v>
                </c:pt>
                <c:pt idx="265">
                  <c:v>-9.9205208000000002</c:v>
                </c:pt>
                <c:pt idx="266">
                  <c:v>-9.9226766000000008</c:v>
                </c:pt>
                <c:pt idx="267">
                  <c:v>-9.9248314999999998</c:v>
                </c:pt>
                <c:pt idx="268">
                  <c:v>-9.9269887000000008</c:v>
                </c:pt>
                <c:pt idx="269">
                  <c:v>-9.9291453999999995</c:v>
                </c:pt>
                <c:pt idx="270">
                  <c:v>-9.9313008000000007</c:v>
                </c:pt>
                <c:pt idx="271">
                  <c:v>-9.9334603000000001</c:v>
                </c:pt>
                <c:pt idx="272">
                  <c:v>-9.9356183999999992</c:v>
                </c:pt>
                <c:pt idx="273">
                  <c:v>-9.9377770000000005</c:v>
                </c:pt>
                <c:pt idx="274">
                  <c:v>-9.9399367999999999</c:v>
                </c:pt>
                <c:pt idx="275">
                  <c:v>-9.9420970000000004</c:v>
                </c:pt>
                <c:pt idx="276">
                  <c:v>-9.9442567000000004</c:v>
                </c:pt>
                <c:pt idx="277">
                  <c:v>-9.9464173999999996</c:v>
                </c:pt>
                <c:pt idx="278">
                  <c:v>-9.9485785</c:v>
                </c:pt>
                <c:pt idx="279">
                  <c:v>-9.9507414000000001</c:v>
                </c:pt>
                <c:pt idx="280">
                  <c:v>-9.9529031999999997</c:v>
                </c:pt>
                <c:pt idx="281">
                  <c:v>-9.9550663999999998</c:v>
                </c:pt>
                <c:pt idx="282">
                  <c:v>-9.9572298000000004</c:v>
                </c:pt>
                <c:pt idx="283">
                  <c:v>-9.9593941000000008</c:v>
                </c:pt>
                <c:pt idx="284">
                  <c:v>-9.9615586999999994</c:v>
                </c:pt>
                <c:pt idx="285">
                  <c:v>-9.9637235999999998</c:v>
                </c:pt>
                <c:pt idx="286">
                  <c:v>-9.9658888000000001</c:v>
                </c:pt>
                <c:pt idx="287">
                  <c:v>-9.9680554000000008</c:v>
                </c:pt>
                <c:pt idx="288">
                  <c:v>-9.9702216000000004</c:v>
                </c:pt>
                <c:pt idx="289">
                  <c:v>-9.9723887999999992</c:v>
                </c:pt>
                <c:pt idx="290">
                  <c:v>-9.9745574000000001</c:v>
                </c:pt>
                <c:pt idx="291">
                  <c:v>-9.9767244000000002</c:v>
                </c:pt>
                <c:pt idx="292">
                  <c:v>-9.9788920999999995</c:v>
                </c:pt>
                <c:pt idx="293">
                  <c:v>-9.9810634999999994</c:v>
                </c:pt>
                <c:pt idx="294">
                  <c:v>-9.9832321999999998</c:v>
                </c:pt>
                <c:pt idx="295">
                  <c:v>-9.9854023000000005</c:v>
                </c:pt>
                <c:pt idx="296">
                  <c:v>-9.9875729</c:v>
                </c:pt>
                <c:pt idx="297">
                  <c:v>-9.9897449999999992</c:v>
                </c:pt>
                <c:pt idx="298">
                  <c:v>-9.9919159000000004</c:v>
                </c:pt>
                <c:pt idx="299">
                  <c:v>-9.9940885000000002</c:v>
                </c:pt>
                <c:pt idx="300">
                  <c:v>-9.9962617999999992</c:v>
                </c:pt>
                <c:pt idx="301">
                  <c:v>-9.9984356000000005</c:v>
                </c:pt>
                <c:pt idx="302">
                  <c:v>-10.000609000000001</c:v>
                </c:pt>
                <c:pt idx="303">
                  <c:v>-10.002784</c:v>
                </c:pt>
                <c:pt idx="304">
                  <c:v>-10.004958</c:v>
                </c:pt>
                <c:pt idx="305">
                  <c:v>-10.007133</c:v>
                </c:pt>
                <c:pt idx="306">
                  <c:v>-10.009309</c:v>
                </c:pt>
                <c:pt idx="307">
                  <c:v>-10.011487000000001</c:v>
                </c:pt>
                <c:pt idx="308">
                  <c:v>-10.013664</c:v>
                </c:pt>
                <c:pt idx="309">
                  <c:v>-10.015841</c:v>
                </c:pt>
                <c:pt idx="310">
                  <c:v>-10.018019000000001</c:v>
                </c:pt>
                <c:pt idx="311">
                  <c:v>-10.020197</c:v>
                </c:pt>
                <c:pt idx="312">
                  <c:v>-10.022377000000001</c:v>
                </c:pt>
                <c:pt idx="313">
                  <c:v>-10.024556</c:v>
                </c:pt>
                <c:pt idx="314">
                  <c:v>-10.026736</c:v>
                </c:pt>
                <c:pt idx="315">
                  <c:v>-10.028918000000001</c:v>
                </c:pt>
                <c:pt idx="316">
                  <c:v>-10.031098</c:v>
                </c:pt>
                <c:pt idx="317">
                  <c:v>-10.03328</c:v>
                </c:pt>
                <c:pt idx="318">
                  <c:v>-10.035463999999999</c:v>
                </c:pt>
                <c:pt idx="319">
                  <c:v>-10.037644999999999</c:v>
                </c:pt>
                <c:pt idx="320">
                  <c:v>-10.039828999999999</c:v>
                </c:pt>
                <c:pt idx="321">
                  <c:v>-10.042013000000001</c:v>
                </c:pt>
                <c:pt idx="322">
                  <c:v>-10.044195999999999</c:v>
                </c:pt>
                <c:pt idx="323">
                  <c:v>-10.046384</c:v>
                </c:pt>
                <c:pt idx="324">
                  <c:v>-10.048567</c:v>
                </c:pt>
                <c:pt idx="325">
                  <c:v>-10.050754</c:v>
                </c:pt>
                <c:pt idx="326">
                  <c:v>-10.052941000000001</c:v>
                </c:pt>
                <c:pt idx="327">
                  <c:v>-10.055128</c:v>
                </c:pt>
                <c:pt idx="328">
                  <c:v>-10.057316</c:v>
                </c:pt>
                <c:pt idx="329">
                  <c:v>-10.059502999999999</c:v>
                </c:pt>
                <c:pt idx="330">
                  <c:v>-10.061692000000001</c:v>
                </c:pt>
                <c:pt idx="331">
                  <c:v>-10.063881</c:v>
                </c:pt>
                <c:pt idx="332">
                  <c:v>-10.06607</c:v>
                </c:pt>
                <c:pt idx="333">
                  <c:v>-10.068262000000001</c:v>
                </c:pt>
                <c:pt idx="334">
                  <c:v>-10.070452</c:v>
                </c:pt>
                <c:pt idx="335">
                  <c:v>-10.072644</c:v>
                </c:pt>
                <c:pt idx="336">
                  <c:v>-10.074835</c:v>
                </c:pt>
                <c:pt idx="337">
                  <c:v>-10.077028</c:v>
                </c:pt>
                <c:pt idx="338">
                  <c:v>-10.079222</c:v>
                </c:pt>
                <c:pt idx="339">
                  <c:v>-10.081415</c:v>
                </c:pt>
                <c:pt idx="340">
                  <c:v>-10.083608</c:v>
                </c:pt>
                <c:pt idx="341">
                  <c:v>-10.085803</c:v>
                </c:pt>
                <c:pt idx="342">
                  <c:v>-10.087999</c:v>
                </c:pt>
                <c:pt idx="343">
                  <c:v>-10.090194</c:v>
                </c:pt>
                <c:pt idx="344">
                  <c:v>-10.092390999999999</c:v>
                </c:pt>
                <c:pt idx="345">
                  <c:v>-10.094587000000001</c:v>
                </c:pt>
                <c:pt idx="346">
                  <c:v>-10.096785000000001</c:v>
                </c:pt>
                <c:pt idx="347">
                  <c:v>-10.098983</c:v>
                </c:pt>
                <c:pt idx="348">
                  <c:v>-10.101179999999999</c:v>
                </c:pt>
                <c:pt idx="349">
                  <c:v>-10.103379</c:v>
                </c:pt>
                <c:pt idx="350">
                  <c:v>-10.105578</c:v>
                </c:pt>
                <c:pt idx="351">
                  <c:v>-10.107777</c:v>
                </c:pt>
                <c:pt idx="352">
                  <c:v>-10.109978</c:v>
                </c:pt>
                <c:pt idx="353">
                  <c:v>-10.11218</c:v>
                </c:pt>
                <c:pt idx="354">
                  <c:v>-10.114381</c:v>
                </c:pt>
                <c:pt idx="355">
                  <c:v>-10.116584</c:v>
                </c:pt>
                <c:pt idx="356">
                  <c:v>-10.118785000000001</c:v>
                </c:pt>
                <c:pt idx="357">
                  <c:v>-10.120987</c:v>
                </c:pt>
                <c:pt idx="358">
                  <c:v>-10.123192</c:v>
                </c:pt>
                <c:pt idx="359">
                  <c:v>-10.125396</c:v>
                </c:pt>
                <c:pt idx="360">
                  <c:v>-10.127603000000001</c:v>
                </c:pt>
                <c:pt idx="361">
                  <c:v>-10.129807</c:v>
                </c:pt>
                <c:pt idx="362">
                  <c:v>-10.132012</c:v>
                </c:pt>
                <c:pt idx="363">
                  <c:v>-10.134219</c:v>
                </c:pt>
                <c:pt idx="364">
                  <c:v>-10.136426</c:v>
                </c:pt>
                <c:pt idx="365">
                  <c:v>-10.138633</c:v>
                </c:pt>
                <c:pt idx="366">
                  <c:v>-10.140840000000001</c:v>
                </c:pt>
                <c:pt idx="367">
                  <c:v>-10.143049</c:v>
                </c:pt>
                <c:pt idx="368">
                  <c:v>-10.145258999999999</c:v>
                </c:pt>
                <c:pt idx="369">
                  <c:v>-10.147468</c:v>
                </c:pt>
                <c:pt idx="370">
                  <c:v>-10.149678</c:v>
                </c:pt>
                <c:pt idx="371">
                  <c:v>-10.151889000000001</c:v>
                </c:pt>
                <c:pt idx="372">
                  <c:v>-10.1541</c:v>
                </c:pt>
                <c:pt idx="373">
                  <c:v>-10.156311000000001</c:v>
                </c:pt>
                <c:pt idx="374">
                  <c:v>-10.158524</c:v>
                </c:pt>
                <c:pt idx="375">
                  <c:v>-10.160738</c:v>
                </c:pt>
                <c:pt idx="376">
                  <c:v>-10.162951</c:v>
                </c:pt>
                <c:pt idx="377">
                  <c:v>-10.165164000000001</c:v>
                </c:pt>
                <c:pt idx="378">
                  <c:v>-10.167379</c:v>
                </c:pt>
                <c:pt idx="379">
                  <c:v>-10.169594</c:v>
                </c:pt>
                <c:pt idx="380">
                  <c:v>-10.171810000000001</c:v>
                </c:pt>
                <c:pt idx="381">
                  <c:v>-10.174027000000001</c:v>
                </c:pt>
                <c:pt idx="382">
                  <c:v>-10.176242</c:v>
                </c:pt>
                <c:pt idx="383">
                  <c:v>-10.178459999999999</c:v>
                </c:pt>
                <c:pt idx="384">
                  <c:v>-10.180678</c:v>
                </c:pt>
                <c:pt idx="385">
                  <c:v>-10.182897000000001</c:v>
                </c:pt>
                <c:pt idx="386">
                  <c:v>-10.185115</c:v>
                </c:pt>
                <c:pt idx="387">
                  <c:v>-10.187334</c:v>
                </c:pt>
                <c:pt idx="388">
                  <c:v>-10.189553999999999</c:v>
                </c:pt>
                <c:pt idx="389">
                  <c:v>-10.191775</c:v>
                </c:pt>
                <c:pt idx="390">
                  <c:v>-10.193997</c:v>
                </c:pt>
                <c:pt idx="391">
                  <c:v>-10.196217000000001</c:v>
                </c:pt>
                <c:pt idx="392">
                  <c:v>-10.198439</c:v>
                </c:pt>
                <c:pt idx="393">
                  <c:v>-10.200661999999999</c:v>
                </c:pt>
                <c:pt idx="394">
                  <c:v>-10.202885999999999</c:v>
                </c:pt>
                <c:pt idx="395">
                  <c:v>-10.205107999999999</c:v>
                </c:pt>
                <c:pt idx="396">
                  <c:v>-10.207333</c:v>
                </c:pt>
                <c:pt idx="397">
                  <c:v>-10.20956</c:v>
                </c:pt>
                <c:pt idx="398">
                  <c:v>-10.211785000000001</c:v>
                </c:pt>
                <c:pt idx="399">
                  <c:v>-10.21401</c:v>
                </c:pt>
                <c:pt idx="400">
                  <c:v>-10.216237</c:v>
                </c:pt>
                <c:pt idx="401">
                  <c:v>-10.218464000000001</c:v>
                </c:pt>
                <c:pt idx="402">
                  <c:v>-10.220691</c:v>
                </c:pt>
                <c:pt idx="403">
                  <c:v>-10.22292</c:v>
                </c:pt>
                <c:pt idx="404">
                  <c:v>-10.225148000000001</c:v>
                </c:pt>
                <c:pt idx="405">
                  <c:v>-10.227377000000001</c:v>
                </c:pt>
                <c:pt idx="406">
                  <c:v>-10.229607</c:v>
                </c:pt>
                <c:pt idx="407">
                  <c:v>-10.231838</c:v>
                </c:pt>
                <c:pt idx="408">
                  <c:v>-10.234069</c:v>
                </c:pt>
                <c:pt idx="409">
                  <c:v>-10.2363</c:v>
                </c:pt>
                <c:pt idx="410">
                  <c:v>-10.238533</c:v>
                </c:pt>
                <c:pt idx="411">
                  <c:v>-10.240765</c:v>
                </c:pt>
                <c:pt idx="412">
                  <c:v>-10.242998999999999</c:v>
                </c:pt>
                <c:pt idx="413">
                  <c:v>-10.245232</c:v>
                </c:pt>
                <c:pt idx="414">
                  <c:v>-10.247467</c:v>
                </c:pt>
                <c:pt idx="415">
                  <c:v>-10.249703</c:v>
                </c:pt>
                <c:pt idx="416">
                  <c:v>-10.251937</c:v>
                </c:pt>
                <c:pt idx="417">
                  <c:v>-10.254173</c:v>
                </c:pt>
                <c:pt idx="418">
                  <c:v>-10.256409</c:v>
                </c:pt>
                <c:pt idx="419">
                  <c:v>-10.258646000000001</c:v>
                </c:pt>
                <c:pt idx="420">
                  <c:v>-10.260884000000001</c:v>
                </c:pt>
                <c:pt idx="421">
                  <c:v>-10.263123</c:v>
                </c:pt>
                <c:pt idx="422">
                  <c:v>-10.265359999999999</c:v>
                </c:pt>
                <c:pt idx="423">
                  <c:v>-10.267601000000001</c:v>
                </c:pt>
                <c:pt idx="424">
                  <c:v>-10.26984</c:v>
                </c:pt>
                <c:pt idx="425">
                  <c:v>-10.272080000000001</c:v>
                </c:pt>
                <c:pt idx="426">
                  <c:v>-10.274321</c:v>
                </c:pt>
                <c:pt idx="427">
                  <c:v>-10.276562</c:v>
                </c:pt>
                <c:pt idx="428">
                  <c:v>-10.278805999999999</c:v>
                </c:pt>
                <c:pt idx="429">
                  <c:v>-10.281048999999999</c:v>
                </c:pt>
                <c:pt idx="430">
                  <c:v>-10.283291999999999</c:v>
                </c:pt>
                <c:pt idx="431">
                  <c:v>-10.285534999999999</c:v>
                </c:pt>
                <c:pt idx="432">
                  <c:v>-10.287779</c:v>
                </c:pt>
                <c:pt idx="433">
                  <c:v>-10.290024000000001</c:v>
                </c:pt>
                <c:pt idx="434">
                  <c:v>-10.292268999999999</c:v>
                </c:pt>
                <c:pt idx="435">
                  <c:v>-10.294516</c:v>
                </c:pt>
                <c:pt idx="436">
                  <c:v>-10.296763</c:v>
                </c:pt>
                <c:pt idx="437">
                  <c:v>-10.299009</c:v>
                </c:pt>
                <c:pt idx="438">
                  <c:v>-10.301257</c:v>
                </c:pt>
                <c:pt idx="439">
                  <c:v>-10.303506</c:v>
                </c:pt>
                <c:pt idx="440">
                  <c:v>-10.305755</c:v>
                </c:pt>
                <c:pt idx="441">
                  <c:v>-10.308004</c:v>
                </c:pt>
                <c:pt idx="442">
                  <c:v>-10.310252999999999</c:v>
                </c:pt>
                <c:pt idx="443">
                  <c:v>-10.312504000000001</c:v>
                </c:pt>
                <c:pt idx="444">
                  <c:v>-10.314755</c:v>
                </c:pt>
                <c:pt idx="445">
                  <c:v>-10.317008</c:v>
                </c:pt>
                <c:pt idx="446">
                  <c:v>-10.319259000000001</c:v>
                </c:pt>
                <c:pt idx="447">
                  <c:v>-10.321512999999999</c:v>
                </c:pt>
                <c:pt idx="448">
                  <c:v>-10.323766000000001</c:v>
                </c:pt>
                <c:pt idx="449">
                  <c:v>-10.326019000000001</c:v>
                </c:pt>
                <c:pt idx="450">
                  <c:v>-10.328275</c:v>
                </c:pt>
                <c:pt idx="451">
                  <c:v>-10.330529</c:v>
                </c:pt>
                <c:pt idx="452">
                  <c:v>-10.332784</c:v>
                </c:pt>
                <c:pt idx="453">
                  <c:v>-10.335039999999999</c:v>
                </c:pt>
                <c:pt idx="454">
                  <c:v>-10.337298000000001</c:v>
                </c:pt>
                <c:pt idx="455">
                  <c:v>-10.339554</c:v>
                </c:pt>
                <c:pt idx="456">
                  <c:v>-10.341811999999999</c:v>
                </c:pt>
                <c:pt idx="457">
                  <c:v>-10.344071</c:v>
                </c:pt>
                <c:pt idx="458">
                  <c:v>-10.346329000000001</c:v>
                </c:pt>
                <c:pt idx="459">
                  <c:v>-10.34859</c:v>
                </c:pt>
                <c:pt idx="460">
                  <c:v>-10.350849999999999</c:v>
                </c:pt>
                <c:pt idx="461">
                  <c:v>-10.353109999999999</c:v>
                </c:pt>
                <c:pt idx="462">
                  <c:v>-10.355371</c:v>
                </c:pt>
                <c:pt idx="463">
                  <c:v>-10.357633</c:v>
                </c:pt>
                <c:pt idx="464">
                  <c:v>-10.359895</c:v>
                </c:pt>
                <c:pt idx="465">
                  <c:v>-10.362159</c:v>
                </c:pt>
                <c:pt idx="466">
                  <c:v>-10.364421999999999</c:v>
                </c:pt>
                <c:pt idx="467">
                  <c:v>-10.366687000000001</c:v>
                </c:pt>
                <c:pt idx="468">
                  <c:v>-10.368952</c:v>
                </c:pt>
                <c:pt idx="469">
                  <c:v>-10.371218000000001</c:v>
                </c:pt>
                <c:pt idx="470">
                  <c:v>-10.373483</c:v>
                </c:pt>
                <c:pt idx="471">
                  <c:v>-10.375749000000001</c:v>
                </c:pt>
                <c:pt idx="472">
                  <c:v>-10.378016000000001</c:v>
                </c:pt>
                <c:pt idx="473">
                  <c:v>-10.380283</c:v>
                </c:pt>
                <c:pt idx="474">
                  <c:v>-10.382552</c:v>
                </c:pt>
                <c:pt idx="475">
                  <c:v>-10.384821000000001</c:v>
                </c:pt>
                <c:pt idx="476">
                  <c:v>-10.387090000000001</c:v>
                </c:pt>
                <c:pt idx="477">
                  <c:v>-10.38936</c:v>
                </c:pt>
                <c:pt idx="478">
                  <c:v>-10.391629999999999</c:v>
                </c:pt>
                <c:pt idx="479">
                  <c:v>-10.393901</c:v>
                </c:pt>
                <c:pt idx="480">
                  <c:v>-10.396172999999999</c:v>
                </c:pt>
                <c:pt idx="481">
                  <c:v>-10.398446</c:v>
                </c:pt>
                <c:pt idx="482">
                  <c:v>-10.400717999999999</c:v>
                </c:pt>
                <c:pt idx="483">
                  <c:v>-10.402991</c:v>
                </c:pt>
                <c:pt idx="484">
                  <c:v>-10.405265</c:v>
                </c:pt>
                <c:pt idx="485">
                  <c:v>-10.407539</c:v>
                </c:pt>
                <c:pt idx="486">
                  <c:v>-10.409814000000001</c:v>
                </c:pt>
                <c:pt idx="487">
                  <c:v>-10.412089999999999</c:v>
                </c:pt>
                <c:pt idx="488">
                  <c:v>-10.414365999999999</c:v>
                </c:pt>
                <c:pt idx="489">
                  <c:v>-10.416643000000001</c:v>
                </c:pt>
                <c:pt idx="490">
                  <c:v>-10.41892</c:v>
                </c:pt>
                <c:pt idx="491">
                  <c:v>-10.421198</c:v>
                </c:pt>
                <c:pt idx="492">
                  <c:v>-10.423476000000001</c:v>
                </c:pt>
                <c:pt idx="493">
                  <c:v>-10.425755000000001</c:v>
                </c:pt>
                <c:pt idx="494">
                  <c:v>-10.428036000000001</c:v>
                </c:pt>
                <c:pt idx="495">
                  <c:v>-10.430315999999999</c:v>
                </c:pt>
                <c:pt idx="496">
                  <c:v>-10.432598</c:v>
                </c:pt>
                <c:pt idx="497">
                  <c:v>-10.434877999999999</c:v>
                </c:pt>
                <c:pt idx="498">
                  <c:v>-10.437161</c:v>
                </c:pt>
                <c:pt idx="499">
                  <c:v>-10.439444</c:v>
                </c:pt>
                <c:pt idx="500">
                  <c:v>-10.441727</c:v>
                </c:pt>
                <c:pt idx="501">
                  <c:v>-10.44401</c:v>
                </c:pt>
                <c:pt idx="502">
                  <c:v>-10.446294</c:v>
                </c:pt>
                <c:pt idx="503">
                  <c:v>-10.448579000000001</c:v>
                </c:pt>
                <c:pt idx="504">
                  <c:v>-10.450865</c:v>
                </c:pt>
                <c:pt idx="505">
                  <c:v>-10.453151</c:v>
                </c:pt>
                <c:pt idx="506">
                  <c:v>-10.455439</c:v>
                </c:pt>
                <c:pt idx="507">
                  <c:v>-10.457724000000001</c:v>
                </c:pt>
                <c:pt idx="508">
                  <c:v>-10.460013</c:v>
                </c:pt>
                <c:pt idx="509">
                  <c:v>-10.462301</c:v>
                </c:pt>
                <c:pt idx="510">
                  <c:v>-10.464589999999999</c:v>
                </c:pt>
                <c:pt idx="511">
                  <c:v>-10.46688</c:v>
                </c:pt>
                <c:pt idx="512">
                  <c:v>-10.46917</c:v>
                </c:pt>
                <c:pt idx="513">
                  <c:v>-10.47146</c:v>
                </c:pt>
                <c:pt idx="514">
                  <c:v>-10.473751999999999</c:v>
                </c:pt>
                <c:pt idx="515">
                  <c:v>-10.476043000000001</c:v>
                </c:pt>
                <c:pt idx="516">
                  <c:v>-10.478336000000001</c:v>
                </c:pt>
                <c:pt idx="517">
                  <c:v>-10.480629</c:v>
                </c:pt>
                <c:pt idx="518">
                  <c:v>-10.482922</c:v>
                </c:pt>
                <c:pt idx="519">
                  <c:v>-10.485218</c:v>
                </c:pt>
                <c:pt idx="520">
                  <c:v>-10.487512000000001</c:v>
                </c:pt>
                <c:pt idx="521">
                  <c:v>-10.489808</c:v>
                </c:pt>
                <c:pt idx="522">
                  <c:v>-10.492103999999999</c:v>
                </c:pt>
                <c:pt idx="523">
                  <c:v>-10.494400000000001</c:v>
                </c:pt>
                <c:pt idx="524">
                  <c:v>-10.496698</c:v>
                </c:pt>
                <c:pt idx="525">
                  <c:v>-10.498996</c:v>
                </c:pt>
                <c:pt idx="526">
                  <c:v>-10.501294</c:v>
                </c:pt>
                <c:pt idx="527">
                  <c:v>-10.503593</c:v>
                </c:pt>
                <c:pt idx="528">
                  <c:v>-10.505893</c:v>
                </c:pt>
                <c:pt idx="529">
                  <c:v>-10.508191999999999</c:v>
                </c:pt>
                <c:pt idx="530">
                  <c:v>-10.510494</c:v>
                </c:pt>
                <c:pt idx="531">
                  <c:v>-10.512795000000001</c:v>
                </c:pt>
                <c:pt idx="532">
                  <c:v>-10.515097000000001</c:v>
                </c:pt>
                <c:pt idx="533">
                  <c:v>-10.5174</c:v>
                </c:pt>
                <c:pt idx="534">
                  <c:v>-10.519703</c:v>
                </c:pt>
                <c:pt idx="535">
                  <c:v>-10.522005</c:v>
                </c:pt>
                <c:pt idx="536">
                  <c:v>-10.52431</c:v>
                </c:pt>
                <c:pt idx="537">
                  <c:v>-10.526615</c:v>
                </c:pt>
                <c:pt idx="538">
                  <c:v>-10.528921</c:v>
                </c:pt>
                <c:pt idx="539">
                  <c:v>-10.531226999999999</c:v>
                </c:pt>
                <c:pt idx="540">
                  <c:v>-10.533534</c:v>
                </c:pt>
                <c:pt idx="541">
                  <c:v>-10.535841</c:v>
                </c:pt>
                <c:pt idx="542">
                  <c:v>-10.538149000000001</c:v>
                </c:pt>
                <c:pt idx="543">
                  <c:v>-10.540457</c:v>
                </c:pt>
                <c:pt idx="544">
                  <c:v>-10.542767</c:v>
                </c:pt>
                <c:pt idx="545">
                  <c:v>-10.545075000000001</c:v>
                </c:pt>
                <c:pt idx="546">
                  <c:v>-10.547385999999999</c:v>
                </c:pt>
                <c:pt idx="547">
                  <c:v>-10.549697999999999</c:v>
                </c:pt>
                <c:pt idx="548">
                  <c:v>-10.552008000000001</c:v>
                </c:pt>
                <c:pt idx="549">
                  <c:v>-10.554321</c:v>
                </c:pt>
                <c:pt idx="550">
                  <c:v>-10.556633</c:v>
                </c:pt>
                <c:pt idx="551">
                  <c:v>-10.558946000000001</c:v>
                </c:pt>
                <c:pt idx="552">
                  <c:v>-10.561261</c:v>
                </c:pt>
                <c:pt idx="553">
                  <c:v>-10.563575999999999</c:v>
                </c:pt>
                <c:pt idx="554">
                  <c:v>-10.56589</c:v>
                </c:pt>
                <c:pt idx="555">
                  <c:v>-10.568206</c:v>
                </c:pt>
                <c:pt idx="556">
                  <c:v>-10.570522</c:v>
                </c:pt>
                <c:pt idx="557">
                  <c:v>-10.572839</c:v>
                </c:pt>
                <c:pt idx="558">
                  <c:v>-10.575155000000001</c:v>
                </c:pt>
                <c:pt idx="559">
                  <c:v>-10.577472999999999</c:v>
                </c:pt>
                <c:pt idx="560">
                  <c:v>-10.579793</c:v>
                </c:pt>
                <c:pt idx="561">
                  <c:v>-10.582112</c:v>
                </c:pt>
                <c:pt idx="562">
                  <c:v>-10.584433000000001</c:v>
                </c:pt>
                <c:pt idx="563">
                  <c:v>-10.586751</c:v>
                </c:pt>
                <c:pt idx="564">
                  <c:v>-10.589072</c:v>
                </c:pt>
                <c:pt idx="565">
                  <c:v>-10.591395</c:v>
                </c:pt>
                <c:pt idx="566">
                  <c:v>-10.593717</c:v>
                </c:pt>
                <c:pt idx="567">
                  <c:v>-10.59604</c:v>
                </c:pt>
                <c:pt idx="568">
                  <c:v>-10.598364</c:v>
                </c:pt>
                <c:pt idx="569">
                  <c:v>-10.600687000000001</c:v>
                </c:pt>
                <c:pt idx="570">
                  <c:v>-10.603012</c:v>
                </c:pt>
                <c:pt idx="571">
                  <c:v>-10.605337</c:v>
                </c:pt>
                <c:pt idx="572">
                  <c:v>-10.607663000000001</c:v>
                </c:pt>
                <c:pt idx="573">
                  <c:v>-10.60999</c:v>
                </c:pt>
                <c:pt idx="574">
                  <c:v>-10.612317000000001</c:v>
                </c:pt>
                <c:pt idx="575">
                  <c:v>-10.614644999999999</c:v>
                </c:pt>
                <c:pt idx="576">
                  <c:v>-10.616973</c:v>
                </c:pt>
                <c:pt idx="577">
                  <c:v>-10.619301999999999</c:v>
                </c:pt>
                <c:pt idx="578">
                  <c:v>-10.621632</c:v>
                </c:pt>
                <c:pt idx="579">
                  <c:v>-10.623961</c:v>
                </c:pt>
                <c:pt idx="580">
                  <c:v>-10.626291</c:v>
                </c:pt>
                <c:pt idx="581">
                  <c:v>-10.628624</c:v>
                </c:pt>
                <c:pt idx="582">
                  <c:v>-10.630955</c:v>
                </c:pt>
                <c:pt idx="583">
                  <c:v>-10.633289</c:v>
                </c:pt>
                <c:pt idx="584">
                  <c:v>-10.635621</c:v>
                </c:pt>
                <c:pt idx="585">
                  <c:v>-10.637956000000001</c:v>
                </c:pt>
                <c:pt idx="586">
                  <c:v>-10.64029</c:v>
                </c:pt>
                <c:pt idx="587">
                  <c:v>-10.642624</c:v>
                </c:pt>
                <c:pt idx="588">
                  <c:v>-10.644959999999999</c:v>
                </c:pt>
                <c:pt idx="589">
                  <c:v>-10.647295</c:v>
                </c:pt>
                <c:pt idx="590">
                  <c:v>-10.649633</c:v>
                </c:pt>
                <c:pt idx="591">
                  <c:v>-10.651971</c:v>
                </c:pt>
                <c:pt idx="592">
                  <c:v>-10.654306999999999</c:v>
                </c:pt>
                <c:pt idx="593">
                  <c:v>-10.656649</c:v>
                </c:pt>
                <c:pt idx="594">
                  <c:v>-10.658987</c:v>
                </c:pt>
                <c:pt idx="595">
                  <c:v>-10.661325</c:v>
                </c:pt>
                <c:pt idx="596">
                  <c:v>-10.663667999999999</c:v>
                </c:pt>
                <c:pt idx="597">
                  <c:v>-10.666008</c:v>
                </c:pt>
                <c:pt idx="598">
                  <c:v>-10.668348999999999</c:v>
                </c:pt>
                <c:pt idx="599">
                  <c:v>-10.670692000000001</c:v>
                </c:pt>
                <c:pt idx="600">
                  <c:v>-10.673035</c:v>
                </c:pt>
                <c:pt idx="601">
                  <c:v>-10.675379</c:v>
                </c:pt>
                <c:pt idx="602">
                  <c:v>-10.677723</c:v>
                </c:pt>
                <c:pt idx="603">
                  <c:v>-10.680066999999999</c:v>
                </c:pt>
                <c:pt idx="604">
                  <c:v>-10.682413</c:v>
                </c:pt>
                <c:pt idx="605">
                  <c:v>-10.684759</c:v>
                </c:pt>
                <c:pt idx="606">
                  <c:v>-10.687105000000001</c:v>
                </c:pt>
                <c:pt idx="607">
                  <c:v>-10.689453</c:v>
                </c:pt>
                <c:pt idx="608">
                  <c:v>-10.691801</c:v>
                </c:pt>
                <c:pt idx="609">
                  <c:v>-10.694148999999999</c:v>
                </c:pt>
                <c:pt idx="610">
                  <c:v>-10.696498999999999</c:v>
                </c:pt>
                <c:pt idx="611">
                  <c:v>-10.698848</c:v>
                </c:pt>
                <c:pt idx="612">
                  <c:v>-10.701199000000001</c:v>
                </c:pt>
                <c:pt idx="613">
                  <c:v>-10.703549000000001</c:v>
                </c:pt>
                <c:pt idx="614">
                  <c:v>-10.705901000000001</c:v>
                </c:pt>
                <c:pt idx="615">
                  <c:v>-10.708254</c:v>
                </c:pt>
                <c:pt idx="616">
                  <c:v>-10.710606</c:v>
                </c:pt>
                <c:pt idx="617">
                  <c:v>-10.712959</c:v>
                </c:pt>
                <c:pt idx="618">
                  <c:v>-10.715313999999999</c:v>
                </c:pt>
                <c:pt idx="619">
                  <c:v>-10.717669000000001</c:v>
                </c:pt>
                <c:pt idx="620">
                  <c:v>-10.720022999999999</c:v>
                </c:pt>
                <c:pt idx="621">
                  <c:v>-10.722379</c:v>
                </c:pt>
                <c:pt idx="622">
                  <c:v>-10.724736</c:v>
                </c:pt>
                <c:pt idx="623">
                  <c:v>-10.727093999999999</c:v>
                </c:pt>
                <c:pt idx="624">
                  <c:v>-10.72945</c:v>
                </c:pt>
                <c:pt idx="625">
                  <c:v>-10.731809999999999</c:v>
                </c:pt>
                <c:pt idx="626">
                  <c:v>-10.734168</c:v>
                </c:pt>
                <c:pt idx="627">
                  <c:v>-10.736527000000001</c:v>
                </c:pt>
                <c:pt idx="628">
                  <c:v>-10.738887999999999</c:v>
                </c:pt>
                <c:pt idx="629">
                  <c:v>-10.741249</c:v>
                </c:pt>
                <c:pt idx="630">
                  <c:v>-10.743612000000001</c:v>
                </c:pt>
                <c:pt idx="631">
                  <c:v>-10.745974</c:v>
                </c:pt>
                <c:pt idx="632">
                  <c:v>-10.748336</c:v>
                </c:pt>
                <c:pt idx="633">
                  <c:v>-10.7507</c:v>
                </c:pt>
                <c:pt idx="634">
                  <c:v>-10.753064</c:v>
                </c:pt>
                <c:pt idx="635">
                  <c:v>-10.755428</c:v>
                </c:pt>
                <c:pt idx="636">
                  <c:v>-10.757794000000001</c:v>
                </c:pt>
                <c:pt idx="637">
                  <c:v>-10.760161</c:v>
                </c:pt>
                <c:pt idx="638">
                  <c:v>-10.762525999999999</c:v>
                </c:pt>
                <c:pt idx="639">
                  <c:v>-10.764893000000001</c:v>
                </c:pt>
                <c:pt idx="640">
                  <c:v>-10.767261</c:v>
                </c:pt>
                <c:pt idx="641">
                  <c:v>-10.769629999999999</c:v>
                </c:pt>
                <c:pt idx="642">
                  <c:v>-10.771998999999999</c:v>
                </c:pt>
                <c:pt idx="643">
                  <c:v>-10.774369</c:v>
                </c:pt>
                <c:pt idx="644">
                  <c:v>-10.776738999999999</c:v>
                </c:pt>
                <c:pt idx="645">
                  <c:v>-10.779109999999999</c:v>
                </c:pt>
                <c:pt idx="646">
                  <c:v>-10.781480999999999</c:v>
                </c:pt>
                <c:pt idx="647">
                  <c:v>-10.783853000000001</c:v>
                </c:pt>
                <c:pt idx="648">
                  <c:v>-10.786225999999999</c:v>
                </c:pt>
                <c:pt idx="649">
                  <c:v>-10.788599</c:v>
                </c:pt>
                <c:pt idx="650">
                  <c:v>-10.790974</c:v>
                </c:pt>
                <c:pt idx="651">
                  <c:v>-10.793348</c:v>
                </c:pt>
                <c:pt idx="652">
                  <c:v>-10.795724</c:v>
                </c:pt>
                <c:pt idx="653">
                  <c:v>-10.798101000000001</c:v>
                </c:pt>
                <c:pt idx="654">
                  <c:v>-10.800477000000001</c:v>
                </c:pt>
                <c:pt idx="655">
                  <c:v>-10.802853000000001</c:v>
                </c:pt>
                <c:pt idx="656">
                  <c:v>-10.805232999999999</c:v>
                </c:pt>
                <c:pt idx="657">
                  <c:v>-10.807611</c:v>
                </c:pt>
                <c:pt idx="658">
                  <c:v>-10.809991</c:v>
                </c:pt>
                <c:pt idx="659">
                  <c:v>-10.81237</c:v>
                </c:pt>
                <c:pt idx="660">
                  <c:v>-10.81475</c:v>
                </c:pt>
                <c:pt idx="661">
                  <c:v>-10.817132000000001</c:v>
                </c:pt>
                <c:pt idx="662">
                  <c:v>-10.819513000000001</c:v>
                </c:pt>
                <c:pt idx="663">
                  <c:v>-10.821896000000001</c:v>
                </c:pt>
                <c:pt idx="664">
                  <c:v>-10.824279000000001</c:v>
                </c:pt>
                <c:pt idx="665">
                  <c:v>-10.826662000000001</c:v>
                </c:pt>
                <c:pt idx="666">
                  <c:v>-10.829046999999999</c:v>
                </c:pt>
                <c:pt idx="667">
                  <c:v>-10.831432</c:v>
                </c:pt>
                <c:pt idx="668">
                  <c:v>-10.833817</c:v>
                </c:pt>
                <c:pt idx="669">
                  <c:v>-10.836202</c:v>
                </c:pt>
                <c:pt idx="670">
                  <c:v>-10.838589000000001</c:v>
                </c:pt>
                <c:pt idx="671">
                  <c:v>-10.840978</c:v>
                </c:pt>
                <c:pt idx="672">
                  <c:v>-10.843365</c:v>
                </c:pt>
                <c:pt idx="673">
                  <c:v>-10.845753999999999</c:v>
                </c:pt>
                <c:pt idx="674">
                  <c:v>-10.848144</c:v>
                </c:pt>
                <c:pt idx="675">
                  <c:v>-10.850534</c:v>
                </c:pt>
                <c:pt idx="676">
                  <c:v>-10.852925000000001</c:v>
                </c:pt>
                <c:pt idx="677">
                  <c:v>-10.855314</c:v>
                </c:pt>
                <c:pt idx="678">
                  <c:v>-10.857708000000001</c:v>
                </c:pt>
                <c:pt idx="679">
                  <c:v>-10.860099</c:v>
                </c:pt>
                <c:pt idx="680">
                  <c:v>-10.862494</c:v>
                </c:pt>
                <c:pt idx="681">
                  <c:v>-10.864888000000001</c:v>
                </c:pt>
                <c:pt idx="682">
                  <c:v>-10.867281999999999</c:v>
                </c:pt>
                <c:pt idx="683">
                  <c:v>-10.869678</c:v>
                </c:pt>
                <c:pt idx="684">
                  <c:v>-10.872073</c:v>
                </c:pt>
                <c:pt idx="685">
                  <c:v>-10.874468999999999</c:v>
                </c:pt>
                <c:pt idx="686">
                  <c:v>-10.876867000000001</c:v>
                </c:pt>
                <c:pt idx="687">
                  <c:v>-10.879263999999999</c:v>
                </c:pt>
                <c:pt idx="688">
                  <c:v>-10.881663</c:v>
                </c:pt>
                <c:pt idx="689">
                  <c:v>-10.88406</c:v>
                </c:pt>
                <c:pt idx="690">
                  <c:v>-10.886461000000001</c:v>
                </c:pt>
                <c:pt idx="691">
                  <c:v>-10.888862</c:v>
                </c:pt>
                <c:pt idx="692">
                  <c:v>-10.891263</c:v>
                </c:pt>
                <c:pt idx="693">
                  <c:v>-10.893665</c:v>
                </c:pt>
                <c:pt idx="694">
                  <c:v>-10.896065999999999</c:v>
                </c:pt>
                <c:pt idx="695">
                  <c:v>-10.89847</c:v>
                </c:pt>
                <c:pt idx="696">
                  <c:v>-10.900872</c:v>
                </c:pt>
                <c:pt idx="697">
                  <c:v>-10.903276999999999</c:v>
                </c:pt>
                <c:pt idx="698">
                  <c:v>-10.905683</c:v>
                </c:pt>
                <c:pt idx="699">
                  <c:v>-10.908087999999999</c:v>
                </c:pt>
                <c:pt idx="700">
                  <c:v>-10.910494999999999</c:v>
                </c:pt>
                <c:pt idx="701">
                  <c:v>-10.912902000000001</c:v>
                </c:pt>
                <c:pt idx="702">
                  <c:v>-10.915309000000001</c:v>
                </c:pt>
                <c:pt idx="703">
                  <c:v>-10.917716</c:v>
                </c:pt>
                <c:pt idx="704">
                  <c:v>-10.920126</c:v>
                </c:pt>
                <c:pt idx="705">
                  <c:v>-10.922534000000001</c:v>
                </c:pt>
                <c:pt idx="706">
                  <c:v>-10.924944999999999</c:v>
                </c:pt>
                <c:pt idx="707">
                  <c:v>-10.927356</c:v>
                </c:pt>
                <c:pt idx="708">
                  <c:v>-10.929767</c:v>
                </c:pt>
                <c:pt idx="709">
                  <c:v>-10.932180000000001</c:v>
                </c:pt>
                <c:pt idx="710">
                  <c:v>-10.934592</c:v>
                </c:pt>
                <c:pt idx="711">
                  <c:v>-10.937006</c:v>
                </c:pt>
                <c:pt idx="712">
                  <c:v>-10.93942</c:v>
                </c:pt>
                <c:pt idx="713">
                  <c:v>-10.941834</c:v>
                </c:pt>
                <c:pt idx="714">
                  <c:v>-10.94425</c:v>
                </c:pt>
                <c:pt idx="715">
                  <c:v>-10.946664999999999</c:v>
                </c:pt>
                <c:pt idx="716">
                  <c:v>-10.949082000000001</c:v>
                </c:pt>
                <c:pt idx="717">
                  <c:v>-10.951499999999999</c:v>
                </c:pt>
                <c:pt idx="718">
                  <c:v>-10.953918</c:v>
                </c:pt>
                <c:pt idx="719">
                  <c:v>-10.956336</c:v>
                </c:pt>
                <c:pt idx="720">
                  <c:v>-10.958755</c:v>
                </c:pt>
                <c:pt idx="721">
                  <c:v>-10.961174</c:v>
                </c:pt>
                <c:pt idx="722">
                  <c:v>-10.963597</c:v>
                </c:pt>
                <c:pt idx="723">
                  <c:v>-10.966017000000001</c:v>
                </c:pt>
                <c:pt idx="724">
                  <c:v>-10.968439</c:v>
                </c:pt>
                <c:pt idx="725">
                  <c:v>-10.970860999999999</c:v>
                </c:pt>
                <c:pt idx="726">
                  <c:v>-10.973285000000001</c:v>
                </c:pt>
                <c:pt idx="727">
                  <c:v>-10.975707999999999</c:v>
                </c:pt>
                <c:pt idx="728">
                  <c:v>-10.978133</c:v>
                </c:pt>
                <c:pt idx="729">
                  <c:v>-10.980558</c:v>
                </c:pt>
                <c:pt idx="730">
                  <c:v>-10.982984</c:v>
                </c:pt>
                <c:pt idx="731">
                  <c:v>-10.985410999999999</c:v>
                </c:pt>
                <c:pt idx="732">
                  <c:v>-10.987838</c:v>
                </c:pt>
                <c:pt idx="733">
                  <c:v>-10.990266</c:v>
                </c:pt>
                <c:pt idx="734">
                  <c:v>-10.992694999999999</c:v>
                </c:pt>
                <c:pt idx="735">
                  <c:v>-10.995123</c:v>
                </c:pt>
                <c:pt idx="736">
                  <c:v>-10.997555</c:v>
                </c:pt>
                <c:pt idx="737">
                  <c:v>-10.999983</c:v>
                </c:pt>
                <c:pt idx="738">
                  <c:v>-11.002416</c:v>
                </c:pt>
                <c:pt idx="739">
                  <c:v>-11.004848000000001</c:v>
                </c:pt>
                <c:pt idx="740">
                  <c:v>-11.007279</c:v>
                </c:pt>
                <c:pt idx="741">
                  <c:v>-11.009713</c:v>
                </c:pt>
                <c:pt idx="742">
                  <c:v>-11.012146</c:v>
                </c:pt>
                <c:pt idx="743">
                  <c:v>-11.014581</c:v>
                </c:pt>
                <c:pt idx="744">
                  <c:v>-11.017016999999999</c:v>
                </c:pt>
                <c:pt idx="745">
                  <c:v>-11.019451999999999</c:v>
                </c:pt>
                <c:pt idx="746">
                  <c:v>-11.021889</c:v>
                </c:pt>
                <c:pt idx="747">
                  <c:v>-11.024327</c:v>
                </c:pt>
                <c:pt idx="748">
                  <c:v>-11.026764</c:v>
                </c:pt>
                <c:pt idx="749">
                  <c:v>-11.029203000000001</c:v>
                </c:pt>
                <c:pt idx="750">
                  <c:v>-11.031642</c:v>
                </c:pt>
                <c:pt idx="751">
                  <c:v>-11.034082</c:v>
                </c:pt>
                <c:pt idx="752">
                  <c:v>-11.036521</c:v>
                </c:pt>
                <c:pt idx="753">
                  <c:v>-11.038964</c:v>
                </c:pt>
                <c:pt idx="754">
                  <c:v>-11.041404999999999</c:v>
                </c:pt>
                <c:pt idx="755">
                  <c:v>-11.043848000000001</c:v>
                </c:pt>
                <c:pt idx="756">
                  <c:v>-11.046291999999999</c:v>
                </c:pt>
                <c:pt idx="757">
                  <c:v>-11.048734</c:v>
                </c:pt>
                <c:pt idx="758">
                  <c:v>-11.051178999999999</c:v>
                </c:pt>
                <c:pt idx="759">
                  <c:v>-11.053623999999999</c:v>
                </c:pt>
                <c:pt idx="760">
                  <c:v>-11.05607</c:v>
                </c:pt>
                <c:pt idx="761">
                  <c:v>-11.058517999999999</c:v>
                </c:pt>
                <c:pt idx="762">
                  <c:v>-11.060964</c:v>
                </c:pt>
                <c:pt idx="763">
                  <c:v>-11.063413000000001</c:v>
                </c:pt>
                <c:pt idx="764">
                  <c:v>-11.065861</c:v>
                </c:pt>
                <c:pt idx="765">
                  <c:v>-11.06831</c:v>
                </c:pt>
                <c:pt idx="766">
                  <c:v>-11.070760999999999</c:v>
                </c:pt>
                <c:pt idx="767">
                  <c:v>-11.073211000000001</c:v>
                </c:pt>
                <c:pt idx="768">
                  <c:v>-11.075664</c:v>
                </c:pt>
                <c:pt idx="769">
                  <c:v>-11.078113999999999</c:v>
                </c:pt>
                <c:pt idx="770">
                  <c:v>-11.080567</c:v>
                </c:pt>
                <c:pt idx="771">
                  <c:v>-11.083021</c:v>
                </c:pt>
                <c:pt idx="772">
                  <c:v>-11.085474</c:v>
                </c:pt>
                <c:pt idx="773">
                  <c:v>-11.08793</c:v>
                </c:pt>
                <c:pt idx="774">
                  <c:v>-11.090384</c:v>
                </c:pt>
                <c:pt idx="775">
                  <c:v>-11.092840000000001</c:v>
                </c:pt>
                <c:pt idx="776">
                  <c:v>-11.095297</c:v>
                </c:pt>
                <c:pt idx="777">
                  <c:v>-11.097754</c:v>
                </c:pt>
                <c:pt idx="778">
                  <c:v>-11.100212000000001</c:v>
                </c:pt>
                <c:pt idx="779">
                  <c:v>-11.10267</c:v>
                </c:pt>
                <c:pt idx="780">
                  <c:v>-11.105131</c:v>
                </c:pt>
                <c:pt idx="781">
                  <c:v>-11.107592</c:v>
                </c:pt>
                <c:pt idx="782">
                  <c:v>-11.110051</c:v>
                </c:pt>
                <c:pt idx="783">
                  <c:v>-11.112513</c:v>
                </c:pt>
                <c:pt idx="784">
                  <c:v>-11.114976</c:v>
                </c:pt>
                <c:pt idx="785">
                  <c:v>-11.117438</c:v>
                </c:pt>
                <c:pt idx="786">
                  <c:v>-11.119902</c:v>
                </c:pt>
                <c:pt idx="787">
                  <c:v>-11.122367000000001</c:v>
                </c:pt>
                <c:pt idx="788">
                  <c:v>-11.124832</c:v>
                </c:pt>
                <c:pt idx="789">
                  <c:v>-11.127297</c:v>
                </c:pt>
                <c:pt idx="790">
                  <c:v>-11.129763000000001</c:v>
                </c:pt>
                <c:pt idx="791">
                  <c:v>-11.13223</c:v>
                </c:pt>
                <c:pt idx="792">
                  <c:v>-11.134698</c:v>
                </c:pt>
                <c:pt idx="793">
                  <c:v>-11.137165</c:v>
                </c:pt>
                <c:pt idx="794">
                  <c:v>-11.139635</c:v>
                </c:pt>
                <c:pt idx="795">
                  <c:v>-11.142104</c:v>
                </c:pt>
                <c:pt idx="796">
                  <c:v>-11.144575</c:v>
                </c:pt>
                <c:pt idx="797">
                  <c:v>-11.147047000000001</c:v>
                </c:pt>
                <c:pt idx="798">
                  <c:v>-11.149519</c:v>
                </c:pt>
                <c:pt idx="799">
                  <c:v>-11.151991000000001</c:v>
                </c:pt>
                <c:pt idx="800">
                  <c:v>-11.154464000000001</c:v>
                </c:pt>
                <c:pt idx="801">
                  <c:v>-11.156936999999999</c:v>
                </c:pt>
                <c:pt idx="802">
                  <c:v>-11.159412</c:v>
                </c:pt>
                <c:pt idx="803">
                  <c:v>-11.161886000000001</c:v>
                </c:pt>
                <c:pt idx="804">
                  <c:v>-11.164364000000001</c:v>
                </c:pt>
                <c:pt idx="805">
                  <c:v>-11.166840000000001</c:v>
                </c:pt>
                <c:pt idx="806">
                  <c:v>-11.169318000000001</c:v>
                </c:pt>
                <c:pt idx="807">
                  <c:v>-11.171794999999999</c:v>
                </c:pt>
                <c:pt idx="808">
                  <c:v>-11.174274</c:v>
                </c:pt>
                <c:pt idx="809">
                  <c:v>-11.176754000000001</c:v>
                </c:pt>
                <c:pt idx="810">
                  <c:v>-11.179233999999999</c:v>
                </c:pt>
                <c:pt idx="811">
                  <c:v>-11.181715000000001</c:v>
                </c:pt>
                <c:pt idx="812">
                  <c:v>-11.184196</c:v>
                </c:pt>
                <c:pt idx="813">
                  <c:v>-11.186678000000001</c:v>
                </c:pt>
                <c:pt idx="814">
                  <c:v>-11.189161</c:v>
                </c:pt>
                <c:pt idx="815">
                  <c:v>-11.191644999999999</c:v>
                </c:pt>
                <c:pt idx="816">
                  <c:v>-11.194127999999999</c:v>
                </c:pt>
                <c:pt idx="817">
                  <c:v>-11.196612999999999</c:v>
                </c:pt>
                <c:pt idx="818">
                  <c:v>-11.199099</c:v>
                </c:pt>
                <c:pt idx="819">
                  <c:v>-11.201585</c:v>
                </c:pt>
                <c:pt idx="820">
                  <c:v>-11.204074</c:v>
                </c:pt>
                <c:pt idx="821">
                  <c:v>-11.206561000000001</c:v>
                </c:pt>
                <c:pt idx="822">
                  <c:v>-11.209049</c:v>
                </c:pt>
                <c:pt idx="823">
                  <c:v>-11.211539</c:v>
                </c:pt>
                <c:pt idx="824">
                  <c:v>-11.214027</c:v>
                </c:pt>
                <c:pt idx="825">
                  <c:v>-11.216519</c:v>
                </c:pt>
                <c:pt idx="826">
                  <c:v>-11.219010000000001</c:v>
                </c:pt>
                <c:pt idx="827">
                  <c:v>-11.221501999999999</c:v>
                </c:pt>
                <c:pt idx="828">
                  <c:v>-11.223993999999999</c:v>
                </c:pt>
                <c:pt idx="829">
                  <c:v>-11.226487000000001</c:v>
                </c:pt>
                <c:pt idx="830">
                  <c:v>-11.228982999999999</c:v>
                </c:pt>
                <c:pt idx="831">
                  <c:v>-11.231476000000001</c:v>
                </c:pt>
                <c:pt idx="832">
                  <c:v>-11.233973000000001</c:v>
                </c:pt>
                <c:pt idx="833">
                  <c:v>-11.236468</c:v>
                </c:pt>
                <c:pt idx="834">
                  <c:v>-11.238965</c:v>
                </c:pt>
                <c:pt idx="835">
                  <c:v>-11.241463</c:v>
                </c:pt>
                <c:pt idx="836">
                  <c:v>-11.243962</c:v>
                </c:pt>
                <c:pt idx="837">
                  <c:v>-11.246461</c:v>
                </c:pt>
                <c:pt idx="838">
                  <c:v>-11.24896</c:v>
                </c:pt>
                <c:pt idx="839">
                  <c:v>-11.251461000000001</c:v>
                </c:pt>
                <c:pt idx="840">
                  <c:v>-11.253961</c:v>
                </c:pt>
                <c:pt idx="841">
                  <c:v>-11.256463</c:v>
                </c:pt>
                <c:pt idx="842">
                  <c:v>-11.258965</c:v>
                </c:pt>
                <c:pt idx="843">
                  <c:v>-11.261468000000001</c:v>
                </c:pt>
                <c:pt idx="844">
                  <c:v>-11.263972000000001</c:v>
                </c:pt>
                <c:pt idx="845">
                  <c:v>-11.266477999999999</c:v>
                </c:pt>
                <c:pt idx="846">
                  <c:v>-11.268983</c:v>
                </c:pt>
                <c:pt idx="847">
                  <c:v>-11.271489000000001</c:v>
                </c:pt>
                <c:pt idx="848">
                  <c:v>-11.273996</c:v>
                </c:pt>
                <c:pt idx="849">
                  <c:v>-11.276503</c:v>
                </c:pt>
                <c:pt idx="850">
                  <c:v>-11.279011000000001</c:v>
                </c:pt>
                <c:pt idx="851">
                  <c:v>-11.281522000000001</c:v>
                </c:pt>
                <c:pt idx="852">
                  <c:v>-11.284031000000001</c:v>
                </c:pt>
                <c:pt idx="853">
                  <c:v>-11.28654</c:v>
                </c:pt>
                <c:pt idx="854">
                  <c:v>-11.289052</c:v>
                </c:pt>
                <c:pt idx="855">
                  <c:v>-11.291563</c:v>
                </c:pt>
                <c:pt idx="856">
                  <c:v>-11.294076</c:v>
                </c:pt>
                <c:pt idx="857">
                  <c:v>-11.296588</c:v>
                </c:pt>
                <c:pt idx="858">
                  <c:v>-11.299103000000001</c:v>
                </c:pt>
                <c:pt idx="859">
                  <c:v>-11.301617</c:v>
                </c:pt>
                <c:pt idx="860">
                  <c:v>-11.304131999999999</c:v>
                </c:pt>
                <c:pt idx="861">
                  <c:v>-11.306649</c:v>
                </c:pt>
                <c:pt idx="862">
                  <c:v>-11.309165999999999</c:v>
                </c:pt>
                <c:pt idx="863">
                  <c:v>-11.311683</c:v>
                </c:pt>
                <c:pt idx="864">
                  <c:v>-11.314201000000001</c:v>
                </c:pt>
                <c:pt idx="865">
                  <c:v>-11.316720999999999</c:v>
                </c:pt>
                <c:pt idx="866">
                  <c:v>-11.319239</c:v>
                </c:pt>
                <c:pt idx="867">
                  <c:v>-11.321759999999999</c:v>
                </c:pt>
                <c:pt idx="868">
                  <c:v>-11.324280999999999</c:v>
                </c:pt>
                <c:pt idx="869">
                  <c:v>-11.326802000000001</c:v>
                </c:pt>
                <c:pt idx="870">
                  <c:v>-11.329324</c:v>
                </c:pt>
                <c:pt idx="871">
                  <c:v>-11.331848000000001</c:v>
                </c:pt>
                <c:pt idx="872">
                  <c:v>-11.334372</c:v>
                </c:pt>
                <c:pt idx="873">
                  <c:v>-11.336897</c:v>
                </c:pt>
                <c:pt idx="874">
                  <c:v>-11.339422000000001</c:v>
                </c:pt>
                <c:pt idx="875">
                  <c:v>-11.341948</c:v>
                </c:pt>
                <c:pt idx="876">
                  <c:v>-11.344474999999999</c:v>
                </c:pt>
                <c:pt idx="877">
                  <c:v>-11.347003000000001</c:v>
                </c:pt>
                <c:pt idx="878">
                  <c:v>-11.34953</c:v>
                </c:pt>
                <c:pt idx="879">
                  <c:v>-11.35206</c:v>
                </c:pt>
                <c:pt idx="880">
                  <c:v>-11.35459</c:v>
                </c:pt>
                <c:pt idx="881">
                  <c:v>-11.357120999999999</c:v>
                </c:pt>
                <c:pt idx="882">
                  <c:v>-11.35965</c:v>
                </c:pt>
                <c:pt idx="883">
                  <c:v>-11.362183</c:v>
                </c:pt>
                <c:pt idx="884">
                  <c:v>-11.364716</c:v>
                </c:pt>
                <c:pt idx="885">
                  <c:v>-11.36725</c:v>
                </c:pt>
                <c:pt idx="886">
                  <c:v>-11.369782000000001</c:v>
                </c:pt>
                <c:pt idx="887">
                  <c:v>-11.372318999999999</c:v>
                </c:pt>
                <c:pt idx="888">
                  <c:v>-11.374853</c:v>
                </c:pt>
                <c:pt idx="889">
                  <c:v>-11.377389000000001</c:v>
                </c:pt>
                <c:pt idx="890">
                  <c:v>-11.379925999999999</c:v>
                </c:pt>
                <c:pt idx="891">
                  <c:v>-11.382465</c:v>
                </c:pt>
                <c:pt idx="892">
                  <c:v>-11.385002999999999</c:v>
                </c:pt>
                <c:pt idx="893">
                  <c:v>-11.387542</c:v>
                </c:pt>
                <c:pt idx="894">
                  <c:v>-11.390083000000001</c:v>
                </c:pt>
                <c:pt idx="895">
                  <c:v>-11.392623</c:v>
                </c:pt>
                <c:pt idx="896">
                  <c:v>-11.395163999999999</c:v>
                </c:pt>
                <c:pt idx="897">
                  <c:v>-11.397705999999999</c:v>
                </c:pt>
                <c:pt idx="898">
                  <c:v>-11.40025</c:v>
                </c:pt>
                <c:pt idx="899">
                  <c:v>-11.402793000000001</c:v>
                </c:pt>
                <c:pt idx="900">
                  <c:v>-11.405336999999999</c:v>
                </c:pt>
                <c:pt idx="901">
                  <c:v>-11.407881</c:v>
                </c:pt>
                <c:pt idx="902">
                  <c:v>-11.410427</c:v>
                </c:pt>
                <c:pt idx="903">
                  <c:v>-11.412972</c:v>
                </c:pt>
                <c:pt idx="904">
                  <c:v>-11.415521</c:v>
                </c:pt>
                <c:pt idx="905">
                  <c:v>-11.418068</c:v>
                </c:pt>
                <c:pt idx="906">
                  <c:v>-11.420617999999999</c:v>
                </c:pt>
                <c:pt idx="907">
                  <c:v>-11.423166999999999</c:v>
                </c:pt>
                <c:pt idx="908">
                  <c:v>-11.425717000000001</c:v>
                </c:pt>
                <c:pt idx="909">
                  <c:v>-11.428267</c:v>
                </c:pt>
                <c:pt idx="910">
                  <c:v>-11.430820000000001</c:v>
                </c:pt>
                <c:pt idx="911">
                  <c:v>-11.433370999999999</c:v>
                </c:pt>
                <c:pt idx="912">
                  <c:v>-11.435924999999999</c:v>
                </c:pt>
                <c:pt idx="913">
                  <c:v>-11.438478999999999</c:v>
                </c:pt>
                <c:pt idx="914">
                  <c:v>-11.441032999999999</c:v>
                </c:pt>
                <c:pt idx="915">
                  <c:v>-11.443588999999999</c:v>
                </c:pt>
                <c:pt idx="916">
                  <c:v>-11.446145</c:v>
                </c:pt>
                <c:pt idx="917">
                  <c:v>-11.448701</c:v>
                </c:pt>
                <c:pt idx="918">
                  <c:v>-11.451259</c:v>
                </c:pt>
                <c:pt idx="919">
                  <c:v>-11.453817000000001</c:v>
                </c:pt>
                <c:pt idx="920">
                  <c:v>-11.456377</c:v>
                </c:pt>
                <c:pt idx="921">
                  <c:v>-11.458936</c:v>
                </c:pt>
                <c:pt idx="922">
                  <c:v>-11.461496</c:v>
                </c:pt>
                <c:pt idx="923">
                  <c:v>-11.464058</c:v>
                </c:pt>
                <c:pt idx="924">
                  <c:v>-11.466620000000001</c:v>
                </c:pt>
                <c:pt idx="925">
                  <c:v>-11.469182999999999</c:v>
                </c:pt>
                <c:pt idx="926">
                  <c:v>-11.471746</c:v>
                </c:pt>
                <c:pt idx="927">
                  <c:v>-11.474311</c:v>
                </c:pt>
                <c:pt idx="928">
                  <c:v>-11.476875</c:v>
                </c:pt>
                <c:pt idx="929">
                  <c:v>-11.479442000000001</c:v>
                </c:pt>
                <c:pt idx="930">
                  <c:v>-11.482006999999999</c:v>
                </c:pt>
                <c:pt idx="931">
                  <c:v>-11.484574</c:v>
                </c:pt>
                <c:pt idx="932">
                  <c:v>-11.487142</c:v>
                </c:pt>
                <c:pt idx="933">
                  <c:v>-11.489711</c:v>
                </c:pt>
                <c:pt idx="934">
                  <c:v>-11.492281</c:v>
                </c:pt>
                <c:pt idx="935">
                  <c:v>-11.494851000000001</c:v>
                </c:pt>
                <c:pt idx="936">
                  <c:v>-11.497422</c:v>
                </c:pt>
                <c:pt idx="937">
                  <c:v>-11.499993999999999</c:v>
                </c:pt>
                <c:pt idx="938">
                  <c:v>-11.502567000000001</c:v>
                </c:pt>
                <c:pt idx="939">
                  <c:v>-11.505138000000001</c:v>
                </c:pt>
                <c:pt idx="940">
                  <c:v>-11.507714</c:v>
                </c:pt>
                <c:pt idx="941">
                  <c:v>-11.510289</c:v>
                </c:pt>
                <c:pt idx="942">
                  <c:v>-11.512862999999999</c:v>
                </c:pt>
                <c:pt idx="943">
                  <c:v>-11.51544</c:v>
                </c:pt>
                <c:pt idx="944">
                  <c:v>-11.518015999999999</c:v>
                </c:pt>
                <c:pt idx="945">
                  <c:v>-11.520593999999999</c:v>
                </c:pt>
                <c:pt idx="946">
                  <c:v>-11.523173</c:v>
                </c:pt>
                <c:pt idx="947">
                  <c:v>-11.525752000000001</c:v>
                </c:pt>
                <c:pt idx="948">
                  <c:v>-11.528332000000001</c:v>
                </c:pt>
                <c:pt idx="949">
                  <c:v>-11.530912000000001</c:v>
                </c:pt>
                <c:pt idx="950">
                  <c:v>-11.533493999999999</c:v>
                </c:pt>
                <c:pt idx="951">
                  <c:v>-11.536077000000001</c:v>
                </c:pt>
                <c:pt idx="952">
                  <c:v>-11.53866</c:v>
                </c:pt>
                <c:pt idx="953">
                  <c:v>-11.541242</c:v>
                </c:pt>
                <c:pt idx="954">
                  <c:v>-11.543827</c:v>
                </c:pt>
                <c:pt idx="955">
                  <c:v>-11.546412999999999</c:v>
                </c:pt>
                <c:pt idx="956">
                  <c:v>-11.548999</c:v>
                </c:pt>
                <c:pt idx="957">
                  <c:v>-11.551586</c:v>
                </c:pt>
                <c:pt idx="958">
                  <c:v>-11.554173</c:v>
                </c:pt>
                <c:pt idx="959">
                  <c:v>-11.556762000000001</c:v>
                </c:pt>
                <c:pt idx="960">
                  <c:v>-11.55935</c:v>
                </c:pt>
                <c:pt idx="961">
                  <c:v>-11.561939000000001</c:v>
                </c:pt>
                <c:pt idx="962">
                  <c:v>-11.56453</c:v>
                </c:pt>
                <c:pt idx="963">
                  <c:v>-11.567121</c:v>
                </c:pt>
                <c:pt idx="964">
                  <c:v>-11.569713999999999</c:v>
                </c:pt>
                <c:pt idx="965">
                  <c:v>-11.572305999999999</c:v>
                </c:pt>
                <c:pt idx="966">
                  <c:v>-11.574901000000001</c:v>
                </c:pt>
                <c:pt idx="967">
                  <c:v>-11.577495000000001</c:v>
                </c:pt>
                <c:pt idx="968">
                  <c:v>-11.580088999999999</c:v>
                </c:pt>
                <c:pt idx="969">
                  <c:v>-11.582686000000001</c:v>
                </c:pt>
                <c:pt idx="970">
                  <c:v>-11.585283</c:v>
                </c:pt>
                <c:pt idx="971">
                  <c:v>-11.58788</c:v>
                </c:pt>
                <c:pt idx="972">
                  <c:v>-11.590477999999999</c:v>
                </c:pt>
                <c:pt idx="973">
                  <c:v>-11.593076999999999</c:v>
                </c:pt>
                <c:pt idx="974">
                  <c:v>-11.595675999999999</c:v>
                </c:pt>
                <c:pt idx="975">
                  <c:v>-11.598278000000001</c:v>
                </c:pt>
                <c:pt idx="976">
                  <c:v>-11.600879000000001</c:v>
                </c:pt>
                <c:pt idx="977">
                  <c:v>-11.603481</c:v>
                </c:pt>
                <c:pt idx="978">
                  <c:v>-11.606083</c:v>
                </c:pt>
                <c:pt idx="979">
                  <c:v>-11.608688000000001</c:v>
                </c:pt>
                <c:pt idx="980">
                  <c:v>-11.611292000000001</c:v>
                </c:pt>
                <c:pt idx="981">
                  <c:v>-11.613896</c:v>
                </c:pt>
                <c:pt idx="982">
                  <c:v>-11.616502000000001</c:v>
                </c:pt>
                <c:pt idx="983">
                  <c:v>-11.619109999999999</c:v>
                </c:pt>
                <c:pt idx="984">
                  <c:v>-11.621717</c:v>
                </c:pt>
                <c:pt idx="985">
                  <c:v>-11.624324</c:v>
                </c:pt>
                <c:pt idx="986">
                  <c:v>-11.626935</c:v>
                </c:pt>
                <c:pt idx="987">
                  <c:v>-11.629543</c:v>
                </c:pt>
                <c:pt idx="988">
                  <c:v>-11.632154</c:v>
                </c:pt>
                <c:pt idx="989">
                  <c:v>-11.634765</c:v>
                </c:pt>
                <c:pt idx="990">
                  <c:v>-11.637378</c:v>
                </c:pt>
                <c:pt idx="991">
                  <c:v>-11.639991</c:v>
                </c:pt>
                <c:pt idx="992">
                  <c:v>-11.642604</c:v>
                </c:pt>
                <c:pt idx="993">
                  <c:v>-11.645219000000001</c:v>
                </c:pt>
                <c:pt idx="994">
                  <c:v>-11.647834</c:v>
                </c:pt>
                <c:pt idx="995">
                  <c:v>-11.650449</c:v>
                </c:pt>
                <c:pt idx="996">
                  <c:v>-11.653066000000001</c:v>
                </c:pt>
                <c:pt idx="997">
                  <c:v>-11.655684000000001</c:v>
                </c:pt>
                <c:pt idx="998">
                  <c:v>-11.658303</c:v>
                </c:pt>
                <c:pt idx="999">
                  <c:v>-11.660921</c:v>
                </c:pt>
                <c:pt idx="1000">
                  <c:v>-11.663541</c:v>
                </c:pt>
                <c:pt idx="1001">
                  <c:v>-11.666161000000001</c:v>
                </c:pt>
                <c:pt idx="1002">
                  <c:v>-11.668782999999999</c:v>
                </c:pt>
                <c:pt idx="1003">
                  <c:v>-11.671405</c:v>
                </c:pt>
                <c:pt idx="1004">
                  <c:v>-11.674028</c:v>
                </c:pt>
                <c:pt idx="1005">
                  <c:v>-11.676653</c:v>
                </c:pt>
                <c:pt idx="1006">
                  <c:v>-11.679276</c:v>
                </c:pt>
                <c:pt idx="1007">
                  <c:v>-11.681901999999999</c:v>
                </c:pt>
                <c:pt idx="1008">
                  <c:v>-11.684528</c:v>
                </c:pt>
                <c:pt idx="1009">
                  <c:v>-11.687154</c:v>
                </c:pt>
                <c:pt idx="1010">
                  <c:v>-11.689781999999999</c:v>
                </c:pt>
                <c:pt idx="1011">
                  <c:v>-11.692411</c:v>
                </c:pt>
                <c:pt idx="1012">
                  <c:v>-11.695040000000001</c:v>
                </c:pt>
                <c:pt idx="1013">
                  <c:v>-11.69767</c:v>
                </c:pt>
                <c:pt idx="1014">
                  <c:v>-11.7003</c:v>
                </c:pt>
                <c:pt idx="1015">
                  <c:v>-11.702932000000001</c:v>
                </c:pt>
                <c:pt idx="1016">
                  <c:v>-11.705565</c:v>
                </c:pt>
                <c:pt idx="1017">
                  <c:v>-11.708197999999999</c:v>
                </c:pt>
                <c:pt idx="1018">
                  <c:v>-11.710832</c:v>
                </c:pt>
                <c:pt idx="1019">
                  <c:v>-11.713467</c:v>
                </c:pt>
                <c:pt idx="1020">
                  <c:v>-11.716101</c:v>
                </c:pt>
                <c:pt idx="1021">
                  <c:v>-11.718738</c:v>
                </c:pt>
                <c:pt idx="1022">
                  <c:v>-11.721374000000001</c:v>
                </c:pt>
                <c:pt idx="1023">
                  <c:v>-11.724012999999999</c:v>
                </c:pt>
                <c:pt idx="1024">
                  <c:v>-11.726651</c:v>
                </c:pt>
                <c:pt idx="1025">
                  <c:v>-11.729291</c:v>
                </c:pt>
                <c:pt idx="1026">
                  <c:v>-11.731932</c:v>
                </c:pt>
                <c:pt idx="1027">
                  <c:v>-11.734572</c:v>
                </c:pt>
                <c:pt idx="1028">
                  <c:v>-11.737214</c:v>
                </c:pt>
                <c:pt idx="1029">
                  <c:v>-11.739856</c:v>
                </c:pt>
                <c:pt idx="1030">
                  <c:v>-11.742501000000001</c:v>
                </c:pt>
                <c:pt idx="1031">
                  <c:v>-11.745145000000001</c:v>
                </c:pt>
                <c:pt idx="1032">
                  <c:v>-11.747788999999999</c:v>
                </c:pt>
                <c:pt idx="1033">
                  <c:v>-11.750435</c:v>
                </c:pt>
                <c:pt idx="1034">
                  <c:v>-11.753081999999999</c:v>
                </c:pt>
                <c:pt idx="1035">
                  <c:v>-11.75573</c:v>
                </c:pt>
                <c:pt idx="1036">
                  <c:v>-11.758379</c:v>
                </c:pt>
                <c:pt idx="1037">
                  <c:v>-11.761027</c:v>
                </c:pt>
                <c:pt idx="1038">
                  <c:v>-11.763678000000001</c:v>
                </c:pt>
                <c:pt idx="1039">
                  <c:v>-11.766328</c:v>
                </c:pt>
                <c:pt idx="1040">
                  <c:v>-11.768979</c:v>
                </c:pt>
                <c:pt idx="1041">
                  <c:v>-11.77163</c:v>
                </c:pt>
                <c:pt idx="1042">
                  <c:v>-11.774284</c:v>
                </c:pt>
                <c:pt idx="1043">
                  <c:v>-11.776939</c:v>
                </c:pt>
                <c:pt idx="1044">
                  <c:v>-11.779593</c:v>
                </c:pt>
                <c:pt idx="1045">
                  <c:v>-11.782247999999999</c:v>
                </c:pt>
                <c:pt idx="1046">
                  <c:v>-11.784905</c:v>
                </c:pt>
                <c:pt idx="1047">
                  <c:v>-11.787561</c:v>
                </c:pt>
                <c:pt idx="1048">
                  <c:v>-11.79022</c:v>
                </c:pt>
                <c:pt idx="1049">
                  <c:v>-11.792878</c:v>
                </c:pt>
                <c:pt idx="1050">
                  <c:v>-11.795538000000001</c:v>
                </c:pt>
                <c:pt idx="1051">
                  <c:v>-11.798197999999999</c:v>
                </c:pt>
                <c:pt idx="1052">
                  <c:v>-11.800859000000001</c:v>
                </c:pt>
                <c:pt idx="1053">
                  <c:v>-11.803521999999999</c:v>
                </c:pt>
                <c:pt idx="1054">
                  <c:v>-11.806184</c:v>
                </c:pt>
                <c:pt idx="1055">
                  <c:v>-11.808846000000001</c:v>
                </c:pt>
                <c:pt idx="1056">
                  <c:v>-11.811512</c:v>
                </c:pt>
                <c:pt idx="1057">
                  <c:v>-11.814176</c:v>
                </c:pt>
                <c:pt idx="1058">
                  <c:v>-11.816841999999999</c:v>
                </c:pt>
                <c:pt idx="1059">
                  <c:v>-11.819508000000001</c:v>
                </c:pt>
                <c:pt idx="1060">
                  <c:v>-11.822176000000001</c:v>
                </c:pt>
                <c:pt idx="1061">
                  <c:v>-11.824845</c:v>
                </c:pt>
                <c:pt idx="1062">
                  <c:v>-11.827514000000001</c:v>
                </c:pt>
                <c:pt idx="1063">
                  <c:v>-11.830183</c:v>
                </c:pt>
                <c:pt idx="1064">
                  <c:v>-11.832853999999999</c:v>
                </c:pt>
                <c:pt idx="1065">
                  <c:v>-11.835526</c:v>
                </c:pt>
                <c:pt idx="1066">
                  <c:v>-11.838198</c:v>
                </c:pt>
                <c:pt idx="1067">
                  <c:v>-11.840871999999999</c:v>
                </c:pt>
                <c:pt idx="1068">
                  <c:v>-11.843545000000001</c:v>
                </c:pt>
                <c:pt idx="1069">
                  <c:v>-11.846220000000001</c:v>
                </c:pt>
                <c:pt idx="1070">
                  <c:v>-11.848896</c:v>
                </c:pt>
                <c:pt idx="1071">
                  <c:v>-11.851572000000001</c:v>
                </c:pt>
                <c:pt idx="1072">
                  <c:v>-11.85425</c:v>
                </c:pt>
                <c:pt idx="1073">
                  <c:v>-11.856927000000001</c:v>
                </c:pt>
                <c:pt idx="1074">
                  <c:v>-11.859605</c:v>
                </c:pt>
                <c:pt idx="1075">
                  <c:v>-11.862285999999999</c:v>
                </c:pt>
                <c:pt idx="1076">
                  <c:v>-11.864966000000001</c:v>
                </c:pt>
                <c:pt idx="1077">
                  <c:v>-11.867648000000001</c:v>
                </c:pt>
                <c:pt idx="1078">
                  <c:v>-11.870329999999999</c:v>
                </c:pt>
                <c:pt idx="1079">
                  <c:v>-11.873013</c:v>
                </c:pt>
                <c:pt idx="1080">
                  <c:v>-11.875697000000001</c:v>
                </c:pt>
                <c:pt idx="1081">
                  <c:v>-11.878382</c:v>
                </c:pt>
                <c:pt idx="1082">
                  <c:v>-11.881066000000001</c:v>
                </c:pt>
                <c:pt idx="1083">
                  <c:v>-11.883755000000001</c:v>
                </c:pt>
                <c:pt idx="1084">
                  <c:v>-11.886441</c:v>
                </c:pt>
                <c:pt idx="1085">
                  <c:v>-11.889127999999999</c:v>
                </c:pt>
                <c:pt idx="1086">
                  <c:v>-11.891817</c:v>
                </c:pt>
                <c:pt idx="1087">
                  <c:v>-11.894507000000001</c:v>
                </c:pt>
                <c:pt idx="1088">
                  <c:v>-11.897197999999999</c:v>
                </c:pt>
                <c:pt idx="1089">
                  <c:v>-11.899889</c:v>
                </c:pt>
                <c:pt idx="1090">
                  <c:v>-11.90258</c:v>
                </c:pt>
                <c:pt idx="1091">
                  <c:v>-11.905272999999999</c:v>
                </c:pt>
                <c:pt idx="1092">
                  <c:v>-11.907966999999999</c:v>
                </c:pt>
                <c:pt idx="1093">
                  <c:v>-11.910660999999999</c:v>
                </c:pt>
                <c:pt idx="1094">
                  <c:v>-11.913356</c:v>
                </c:pt>
                <c:pt idx="1095">
                  <c:v>-11.916054000000001</c:v>
                </c:pt>
                <c:pt idx="1096">
                  <c:v>-11.918749999999999</c:v>
                </c:pt>
                <c:pt idx="1097">
                  <c:v>-11.921447000000001</c:v>
                </c:pt>
                <c:pt idx="1098">
                  <c:v>-11.924146</c:v>
                </c:pt>
                <c:pt idx="1099">
                  <c:v>-11.926845999999999</c:v>
                </c:pt>
                <c:pt idx="1100">
                  <c:v>-11.929546</c:v>
                </c:pt>
                <c:pt idx="1101">
                  <c:v>-11.932248</c:v>
                </c:pt>
                <c:pt idx="1102">
                  <c:v>-11.934950000000001</c:v>
                </c:pt>
                <c:pt idx="1103">
                  <c:v>-11.937652</c:v>
                </c:pt>
                <c:pt idx="1104">
                  <c:v>-11.940356</c:v>
                </c:pt>
                <c:pt idx="1105">
                  <c:v>-11.943059999999999</c:v>
                </c:pt>
                <c:pt idx="1106">
                  <c:v>-11.945766000000001</c:v>
                </c:pt>
                <c:pt idx="1107">
                  <c:v>-11.948472000000001</c:v>
                </c:pt>
                <c:pt idx="1108">
                  <c:v>-11.951180000000001</c:v>
                </c:pt>
                <c:pt idx="1109">
                  <c:v>-11.953887999999999</c:v>
                </c:pt>
                <c:pt idx="1110">
                  <c:v>-11.956594000000001</c:v>
                </c:pt>
                <c:pt idx="1111">
                  <c:v>-11.959305000000001</c:v>
                </c:pt>
                <c:pt idx="1112">
                  <c:v>-11.962014999999999</c:v>
                </c:pt>
                <c:pt idx="1113">
                  <c:v>-11.964725</c:v>
                </c:pt>
                <c:pt idx="1114">
                  <c:v>-11.967438</c:v>
                </c:pt>
                <c:pt idx="1115">
                  <c:v>-11.970152000000001</c:v>
                </c:pt>
                <c:pt idx="1116">
                  <c:v>-11.972865000000001</c:v>
                </c:pt>
                <c:pt idx="1117">
                  <c:v>-11.975580000000001</c:v>
                </c:pt>
                <c:pt idx="1118">
                  <c:v>-11.978294999999999</c:v>
                </c:pt>
                <c:pt idx="1119">
                  <c:v>-11.981012</c:v>
                </c:pt>
                <c:pt idx="1120">
                  <c:v>-11.983729</c:v>
                </c:pt>
                <c:pt idx="1121">
                  <c:v>-11.986447</c:v>
                </c:pt>
                <c:pt idx="1122">
                  <c:v>-11.989165</c:v>
                </c:pt>
                <c:pt idx="1123">
                  <c:v>-11.991885</c:v>
                </c:pt>
                <c:pt idx="1124">
                  <c:v>-11.994604000000001</c:v>
                </c:pt>
                <c:pt idx="1125">
                  <c:v>-11.997325</c:v>
                </c:pt>
                <c:pt idx="1126">
                  <c:v>-12.000049000000001</c:v>
                </c:pt>
                <c:pt idx="1127">
                  <c:v>-12.002770999999999</c:v>
                </c:pt>
                <c:pt idx="1128">
                  <c:v>-12.005496000000001</c:v>
                </c:pt>
                <c:pt idx="1129">
                  <c:v>-12.00822</c:v>
                </c:pt>
                <c:pt idx="1130">
                  <c:v>-12.010944</c:v>
                </c:pt>
                <c:pt idx="1131">
                  <c:v>-12.013671</c:v>
                </c:pt>
                <c:pt idx="1132">
                  <c:v>-12.016399</c:v>
                </c:pt>
                <c:pt idx="1133">
                  <c:v>-12.019126</c:v>
                </c:pt>
                <c:pt idx="1134">
                  <c:v>-12.021856</c:v>
                </c:pt>
                <c:pt idx="1135">
                  <c:v>-12.024585</c:v>
                </c:pt>
                <c:pt idx="1136">
                  <c:v>-12.027316000000001</c:v>
                </c:pt>
                <c:pt idx="1137">
                  <c:v>-12.030047</c:v>
                </c:pt>
                <c:pt idx="1138">
                  <c:v>-12.032781</c:v>
                </c:pt>
                <c:pt idx="1139">
                  <c:v>-12.035513999999999</c:v>
                </c:pt>
                <c:pt idx="1140">
                  <c:v>-12.038247</c:v>
                </c:pt>
                <c:pt idx="1141">
                  <c:v>-12.040979999999999</c:v>
                </c:pt>
                <c:pt idx="1142">
                  <c:v>-12.043716999999999</c:v>
                </c:pt>
                <c:pt idx="1143">
                  <c:v>-12.046454000000001</c:v>
                </c:pt>
                <c:pt idx="1144">
                  <c:v>-12.049189999999999</c:v>
                </c:pt>
                <c:pt idx="1145">
                  <c:v>-12.051928999999999</c:v>
                </c:pt>
                <c:pt idx="1146">
                  <c:v>-12.054669000000001</c:v>
                </c:pt>
                <c:pt idx="1147">
                  <c:v>-12.057409</c:v>
                </c:pt>
                <c:pt idx="1148">
                  <c:v>-12.060150999999999</c:v>
                </c:pt>
                <c:pt idx="1149">
                  <c:v>-12.062889999999999</c:v>
                </c:pt>
                <c:pt idx="1150">
                  <c:v>-12.065633</c:v>
                </c:pt>
                <c:pt idx="1151">
                  <c:v>-12.068377</c:v>
                </c:pt>
                <c:pt idx="1152">
                  <c:v>-12.071122000000001</c:v>
                </c:pt>
                <c:pt idx="1153">
                  <c:v>-12.073867</c:v>
                </c:pt>
                <c:pt idx="1154">
                  <c:v>-12.076613</c:v>
                </c:pt>
                <c:pt idx="1155">
                  <c:v>-12.079359</c:v>
                </c:pt>
                <c:pt idx="1156">
                  <c:v>-12.082108</c:v>
                </c:pt>
                <c:pt idx="1157">
                  <c:v>-12.084856</c:v>
                </c:pt>
                <c:pt idx="1158">
                  <c:v>-12.087605</c:v>
                </c:pt>
                <c:pt idx="1159">
                  <c:v>-12.090355000000001</c:v>
                </c:pt>
                <c:pt idx="1160">
                  <c:v>-12.093107</c:v>
                </c:pt>
                <c:pt idx="1161">
                  <c:v>-12.095858</c:v>
                </c:pt>
                <c:pt idx="1162">
                  <c:v>-12.098611999999999</c:v>
                </c:pt>
                <c:pt idx="1163">
                  <c:v>-12.101366000000001</c:v>
                </c:pt>
                <c:pt idx="1164">
                  <c:v>-12.104119000000001</c:v>
                </c:pt>
                <c:pt idx="1165">
                  <c:v>-12.106876</c:v>
                </c:pt>
                <c:pt idx="1166">
                  <c:v>-12.109632</c:v>
                </c:pt>
                <c:pt idx="1167">
                  <c:v>-12.112389</c:v>
                </c:pt>
                <c:pt idx="1168">
                  <c:v>-12.115148</c:v>
                </c:pt>
                <c:pt idx="1169">
                  <c:v>-12.117906</c:v>
                </c:pt>
                <c:pt idx="1170">
                  <c:v>-12.120666999999999</c:v>
                </c:pt>
                <c:pt idx="1171">
                  <c:v>-12.123428000000001</c:v>
                </c:pt>
                <c:pt idx="1172">
                  <c:v>-12.126187</c:v>
                </c:pt>
                <c:pt idx="1173">
                  <c:v>-12.128951000000001</c:v>
                </c:pt>
                <c:pt idx="1174">
                  <c:v>-12.131715</c:v>
                </c:pt>
                <c:pt idx="1175">
                  <c:v>-12.134479000000001</c:v>
                </c:pt>
                <c:pt idx="1176">
                  <c:v>-12.137243</c:v>
                </c:pt>
                <c:pt idx="1177">
                  <c:v>-12.14001</c:v>
                </c:pt>
                <c:pt idx="1178">
                  <c:v>-12.142776</c:v>
                </c:pt>
                <c:pt idx="1179">
                  <c:v>-12.145543999999999</c:v>
                </c:pt>
                <c:pt idx="1180">
                  <c:v>-12.148313</c:v>
                </c:pt>
                <c:pt idx="1181">
                  <c:v>-12.151081</c:v>
                </c:pt>
                <c:pt idx="1182">
                  <c:v>-12.153853</c:v>
                </c:pt>
                <c:pt idx="1183">
                  <c:v>-12.156623</c:v>
                </c:pt>
                <c:pt idx="1184">
                  <c:v>-12.159395</c:v>
                </c:pt>
                <c:pt idx="1185">
                  <c:v>-12.162167999999999</c:v>
                </c:pt>
                <c:pt idx="1186">
                  <c:v>-12.164942</c:v>
                </c:pt>
                <c:pt idx="1187">
                  <c:v>-12.167717</c:v>
                </c:pt>
                <c:pt idx="1188">
                  <c:v>-12.170493</c:v>
                </c:pt>
                <c:pt idx="1189">
                  <c:v>-12.173268</c:v>
                </c:pt>
                <c:pt idx="1190">
                  <c:v>-12.176047000000001</c:v>
                </c:pt>
                <c:pt idx="1191">
                  <c:v>-12.178824000000001</c:v>
                </c:pt>
                <c:pt idx="1192">
                  <c:v>-12.181604</c:v>
                </c:pt>
                <c:pt idx="1193">
                  <c:v>-12.184385000000001</c:v>
                </c:pt>
                <c:pt idx="1194">
                  <c:v>-12.187165</c:v>
                </c:pt>
                <c:pt idx="1195">
                  <c:v>-12.189947</c:v>
                </c:pt>
                <c:pt idx="1196">
                  <c:v>-12.192729</c:v>
                </c:pt>
                <c:pt idx="1197">
                  <c:v>-12.195512000000001</c:v>
                </c:pt>
                <c:pt idx="1198">
                  <c:v>-12.198297</c:v>
                </c:pt>
                <c:pt idx="1199">
                  <c:v>-12.201082</c:v>
                </c:pt>
                <c:pt idx="1200">
                  <c:v>-12.203868</c:v>
                </c:pt>
                <c:pt idx="1201">
                  <c:v>-12.206656000000001</c:v>
                </c:pt>
                <c:pt idx="1202">
                  <c:v>-12.209444</c:v>
                </c:pt>
                <c:pt idx="1203">
                  <c:v>-12.212232</c:v>
                </c:pt>
                <c:pt idx="1204">
                  <c:v>-12.215021999999999</c:v>
                </c:pt>
                <c:pt idx="1205">
                  <c:v>-12.217813</c:v>
                </c:pt>
                <c:pt idx="1206">
                  <c:v>-12.220605000000001</c:v>
                </c:pt>
                <c:pt idx="1207">
                  <c:v>-12.223398</c:v>
                </c:pt>
                <c:pt idx="1208">
                  <c:v>-12.226191999999999</c:v>
                </c:pt>
                <c:pt idx="1209">
                  <c:v>-12.228984000000001</c:v>
                </c:pt>
                <c:pt idx="1210">
                  <c:v>-12.231781</c:v>
                </c:pt>
                <c:pt idx="1211">
                  <c:v>-12.234576000000001</c:v>
                </c:pt>
                <c:pt idx="1212">
                  <c:v>-12.237373</c:v>
                </c:pt>
                <c:pt idx="1213">
                  <c:v>-12.240170000000001</c:v>
                </c:pt>
                <c:pt idx="1214">
                  <c:v>-12.242969</c:v>
                </c:pt>
                <c:pt idx="1215">
                  <c:v>-12.24577</c:v>
                </c:pt>
                <c:pt idx="1216">
                  <c:v>-12.248568000000001</c:v>
                </c:pt>
                <c:pt idx="1217">
                  <c:v>-12.251371000000001</c:v>
                </c:pt>
                <c:pt idx="1218">
                  <c:v>-12.254173</c:v>
                </c:pt>
                <c:pt idx="1219">
                  <c:v>-12.256976</c:v>
                </c:pt>
                <c:pt idx="1220">
                  <c:v>-12.259781</c:v>
                </c:pt>
                <c:pt idx="1221">
                  <c:v>-12.262585</c:v>
                </c:pt>
                <c:pt idx="1222">
                  <c:v>-12.265390999999999</c:v>
                </c:pt>
                <c:pt idx="1223">
                  <c:v>-12.268198</c:v>
                </c:pt>
                <c:pt idx="1224">
                  <c:v>-12.271006</c:v>
                </c:pt>
                <c:pt idx="1225">
                  <c:v>-12.273815000000001</c:v>
                </c:pt>
                <c:pt idx="1226">
                  <c:v>-12.276624</c:v>
                </c:pt>
                <c:pt idx="1227">
                  <c:v>-12.279434999999999</c:v>
                </c:pt>
                <c:pt idx="1228">
                  <c:v>-12.282245</c:v>
                </c:pt>
                <c:pt idx="1229">
                  <c:v>-12.285057</c:v>
                </c:pt>
                <c:pt idx="1230">
                  <c:v>-12.287871000000001</c:v>
                </c:pt>
                <c:pt idx="1231">
                  <c:v>-12.290686000000001</c:v>
                </c:pt>
                <c:pt idx="1232">
                  <c:v>-12.293499000000001</c:v>
                </c:pt>
                <c:pt idx="1233">
                  <c:v>-12.296315999999999</c:v>
                </c:pt>
                <c:pt idx="1234">
                  <c:v>-12.299132</c:v>
                </c:pt>
                <c:pt idx="1235">
                  <c:v>-12.30195</c:v>
                </c:pt>
                <c:pt idx="1236">
                  <c:v>-12.304769</c:v>
                </c:pt>
                <c:pt idx="1237">
                  <c:v>-12.307587</c:v>
                </c:pt>
                <c:pt idx="1238">
                  <c:v>-12.310409</c:v>
                </c:pt>
                <c:pt idx="1239">
                  <c:v>-12.313229</c:v>
                </c:pt>
                <c:pt idx="1240">
                  <c:v>-12.316051</c:v>
                </c:pt>
                <c:pt idx="1241">
                  <c:v>-12.318875999999999</c:v>
                </c:pt>
                <c:pt idx="1242">
                  <c:v>-12.321699000000001</c:v>
                </c:pt>
                <c:pt idx="1243">
                  <c:v>-12.324522999999999</c:v>
                </c:pt>
                <c:pt idx="1244">
                  <c:v>-12.327349</c:v>
                </c:pt>
                <c:pt idx="1245">
                  <c:v>-12.330177000000001</c:v>
                </c:pt>
                <c:pt idx="1246">
                  <c:v>-12.333004000000001</c:v>
                </c:pt>
                <c:pt idx="1247">
                  <c:v>-12.335832999999999</c:v>
                </c:pt>
                <c:pt idx="1248">
                  <c:v>-12.338663</c:v>
                </c:pt>
                <c:pt idx="1249">
                  <c:v>-12.341493</c:v>
                </c:pt>
                <c:pt idx="1250">
                  <c:v>-12.344325</c:v>
                </c:pt>
                <c:pt idx="1251">
                  <c:v>-12.347156</c:v>
                </c:pt>
                <c:pt idx="1252">
                  <c:v>-12.34999</c:v>
                </c:pt>
                <c:pt idx="1253">
                  <c:v>-12.352823000000001</c:v>
                </c:pt>
                <c:pt idx="1254">
                  <c:v>-12.355658999999999</c:v>
                </c:pt>
                <c:pt idx="1255">
                  <c:v>-12.358494</c:v>
                </c:pt>
                <c:pt idx="1256">
                  <c:v>-12.361332000000001</c:v>
                </c:pt>
                <c:pt idx="1257">
                  <c:v>-12.364169</c:v>
                </c:pt>
                <c:pt idx="1258">
                  <c:v>-12.367008</c:v>
                </c:pt>
                <c:pt idx="1259">
                  <c:v>-12.369847</c:v>
                </c:pt>
                <c:pt idx="1260">
                  <c:v>-12.372687000000001</c:v>
                </c:pt>
                <c:pt idx="1261">
                  <c:v>-12.375529999999999</c:v>
                </c:pt>
                <c:pt idx="1262">
                  <c:v>-12.378371</c:v>
                </c:pt>
                <c:pt idx="1263">
                  <c:v>-12.381214</c:v>
                </c:pt>
                <c:pt idx="1264">
                  <c:v>-12.38406</c:v>
                </c:pt>
                <c:pt idx="1265">
                  <c:v>-12.386905</c:v>
                </c:pt>
                <c:pt idx="1266">
                  <c:v>-12.389749999999999</c:v>
                </c:pt>
                <c:pt idx="1267">
                  <c:v>-12.392597</c:v>
                </c:pt>
                <c:pt idx="1268">
                  <c:v>-12.395447000000001</c:v>
                </c:pt>
                <c:pt idx="1269">
                  <c:v>-12.398294</c:v>
                </c:pt>
                <c:pt idx="1270">
                  <c:v>-12.401145</c:v>
                </c:pt>
                <c:pt idx="1271">
                  <c:v>-12.403995999999999</c:v>
                </c:pt>
                <c:pt idx="1272">
                  <c:v>-12.406846</c:v>
                </c:pt>
                <c:pt idx="1273">
                  <c:v>-12.409700000000001</c:v>
                </c:pt>
                <c:pt idx="1274">
                  <c:v>-12.412553000000001</c:v>
                </c:pt>
                <c:pt idx="1275">
                  <c:v>-12.415407999999999</c:v>
                </c:pt>
                <c:pt idx="1276">
                  <c:v>-12.418263</c:v>
                </c:pt>
                <c:pt idx="1277">
                  <c:v>-12.42112</c:v>
                </c:pt>
                <c:pt idx="1278">
                  <c:v>-12.423977000000001</c:v>
                </c:pt>
                <c:pt idx="1279">
                  <c:v>-12.426835000000001</c:v>
                </c:pt>
                <c:pt idx="1280">
                  <c:v>-12.429694</c:v>
                </c:pt>
                <c:pt idx="1281">
                  <c:v>-12.432554</c:v>
                </c:pt>
                <c:pt idx="1282">
                  <c:v>-12.435416</c:v>
                </c:pt>
                <c:pt idx="1283">
                  <c:v>-12.438276999999999</c:v>
                </c:pt>
                <c:pt idx="1284">
                  <c:v>-12.441140000000001</c:v>
                </c:pt>
                <c:pt idx="1285">
                  <c:v>-12.444005000000001</c:v>
                </c:pt>
                <c:pt idx="1286">
                  <c:v>-12.446869</c:v>
                </c:pt>
                <c:pt idx="1287">
                  <c:v>-12.449733999999999</c:v>
                </c:pt>
                <c:pt idx="1288">
                  <c:v>-12.4526</c:v>
                </c:pt>
                <c:pt idx="1289">
                  <c:v>-12.455469000000001</c:v>
                </c:pt>
                <c:pt idx="1290">
                  <c:v>-12.458337</c:v>
                </c:pt>
                <c:pt idx="1291">
                  <c:v>-12.461206000000001</c:v>
                </c:pt>
                <c:pt idx="1292">
                  <c:v>-12.464077</c:v>
                </c:pt>
                <c:pt idx="1293">
                  <c:v>-12.466950000000001</c:v>
                </c:pt>
                <c:pt idx="1294">
                  <c:v>-12.469822000000001</c:v>
                </c:pt>
                <c:pt idx="1295">
                  <c:v>-12.472695</c:v>
                </c:pt>
                <c:pt idx="1296">
                  <c:v>-12.475568000000001</c:v>
                </c:pt>
                <c:pt idx="1297">
                  <c:v>-12.478444</c:v>
                </c:pt>
                <c:pt idx="1298">
                  <c:v>-12.481318999999999</c:v>
                </c:pt>
                <c:pt idx="1299">
                  <c:v>-12.484197999999999</c:v>
                </c:pt>
                <c:pt idx="1300">
                  <c:v>-12.487076</c:v>
                </c:pt>
                <c:pt idx="1301">
                  <c:v>-12.489953</c:v>
                </c:pt>
                <c:pt idx="1302">
                  <c:v>-12.492834999999999</c:v>
                </c:pt>
                <c:pt idx="1303">
                  <c:v>-12.495716</c:v>
                </c:pt>
                <c:pt idx="1304">
                  <c:v>-12.498597</c:v>
                </c:pt>
                <c:pt idx="1305">
                  <c:v>-12.501480000000001</c:v>
                </c:pt>
                <c:pt idx="1306">
                  <c:v>-12.504363</c:v>
                </c:pt>
                <c:pt idx="1307">
                  <c:v>-12.507248000000001</c:v>
                </c:pt>
                <c:pt idx="1308">
                  <c:v>-12.510135</c:v>
                </c:pt>
                <c:pt idx="1309">
                  <c:v>-12.513019999999999</c:v>
                </c:pt>
                <c:pt idx="1310">
                  <c:v>-12.515908</c:v>
                </c:pt>
                <c:pt idx="1311">
                  <c:v>-12.518796999999999</c:v>
                </c:pt>
                <c:pt idx="1312">
                  <c:v>-12.521686000000001</c:v>
                </c:pt>
                <c:pt idx="1313">
                  <c:v>-12.524577000000001</c:v>
                </c:pt>
                <c:pt idx="1314">
                  <c:v>-12.527469999999999</c:v>
                </c:pt>
                <c:pt idx="1315">
                  <c:v>-12.53036</c:v>
                </c:pt>
                <c:pt idx="1316">
                  <c:v>-12.533255</c:v>
                </c:pt>
                <c:pt idx="1317">
                  <c:v>-12.536149</c:v>
                </c:pt>
                <c:pt idx="1318">
                  <c:v>-12.539044000000001</c:v>
                </c:pt>
                <c:pt idx="1319">
                  <c:v>-12.54194</c:v>
                </c:pt>
                <c:pt idx="1320">
                  <c:v>-12.544836999999999</c:v>
                </c:pt>
                <c:pt idx="1321">
                  <c:v>-12.547734</c:v>
                </c:pt>
                <c:pt idx="1322">
                  <c:v>-12.550632999999999</c:v>
                </c:pt>
                <c:pt idx="1323">
                  <c:v>-12.553534000000001</c:v>
                </c:pt>
                <c:pt idx="1324">
                  <c:v>-12.556435</c:v>
                </c:pt>
                <c:pt idx="1325">
                  <c:v>-12.559338</c:v>
                </c:pt>
                <c:pt idx="1326">
                  <c:v>-12.562239</c:v>
                </c:pt>
                <c:pt idx="1327">
                  <c:v>-12.565144</c:v>
                </c:pt>
                <c:pt idx="1328">
                  <c:v>-12.568049</c:v>
                </c:pt>
                <c:pt idx="1329">
                  <c:v>-12.570955</c:v>
                </c:pt>
                <c:pt idx="1330">
                  <c:v>-12.573862</c:v>
                </c:pt>
                <c:pt idx="1331">
                  <c:v>-12.576769000000001</c:v>
                </c:pt>
                <c:pt idx="1332">
                  <c:v>-12.579677999999999</c:v>
                </c:pt>
                <c:pt idx="1333">
                  <c:v>-12.582589</c:v>
                </c:pt>
                <c:pt idx="1334">
                  <c:v>-12.585499</c:v>
                </c:pt>
                <c:pt idx="1335">
                  <c:v>-12.58841</c:v>
                </c:pt>
                <c:pt idx="1336">
                  <c:v>-12.591324</c:v>
                </c:pt>
                <c:pt idx="1337">
                  <c:v>-12.594237</c:v>
                </c:pt>
                <c:pt idx="1338">
                  <c:v>-12.597151</c:v>
                </c:pt>
                <c:pt idx="1339">
                  <c:v>-12.600066999999999</c:v>
                </c:pt>
                <c:pt idx="1340">
                  <c:v>-12.602983999999999</c:v>
                </c:pt>
                <c:pt idx="1341">
                  <c:v>-12.605902</c:v>
                </c:pt>
                <c:pt idx="1342">
                  <c:v>-12.608819</c:v>
                </c:pt>
                <c:pt idx="1343">
                  <c:v>-12.611739999999999</c:v>
                </c:pt>
                <c:pt idx="1344">
                  <c:v>-12.614661</c:v>
                </c:pt>
                <c:pt idx="1345">
                  <c:v>-12.617580999999999</c:v>
                </c:pt>
                <c:pt idx="1346">
                  <c:v>-12.620505</c:v>
                </c:pt>
                <c:pt idx="1347">
                  <c:v>-12.623428000000001</c:v>
                </c:pt>
                <c:pt idx="1348">
                  <c:v>-12.626351</c:v>
                </c:pt>
                <c:pt idx="1349">
                  <c:v>-12.629277</c:v>
                </c:pt>
                <c:pt idx="1350">
                  <c:v>-12.632203000000001</c:v>
                </c:pt>
                <c:pt idx="1351">
                  <c:v>-12.63513</c:v>
                </c:pt>
                <c:pt idx="1352">
                  <c:v>-12.638059</c:v>
                </c:pt>
                <c:pt idx="1353">
                  <c:v>-12.640988999999999</c:v>
                </c:pt>
                <c:pt idx="1354">
                  <c:v>-12.643919</c:v>
                </c:pt>
                <c:pt idx="1355">
                  <c:v>-12.646850000000001</c:v>
                </c:pt>
                <c:pt idx="1356">
                  <c:v>-12.649782</c:v>
                </c:pt>
                <c:pt idx="1357">
                  <c:v>-12.652715000000001</c:v>
                </c:pt>
                <c:pt idx="1358">
                  <c:v>-12.65565</c:v>
                </c:pt>
                <c:pt idx="1359">
                  <c:v>-12.658585</c:v>
                </c:pt>
                <c:pt idx="1360">
                  <c:v>-12.661522</c:v>
                </c:pt>
                <c:pt idx="1361">
                  <c:v>-12.664459000000001</c:v>
                </c:pt>
                <c:pt idx="1362">
                  <c:v>-12.667398</c:v>
                </c:pt>
                <c:pt idx="1363">
                  <c:v>-12.670335</c:v>
                </c:pt>
                <c:pt idx="1364">
                  <c:v>-12.673278</c:v>
                </c:pt>
                <c:pt idx="1365">
                  <c:v>-12.676218</c:v>
                </c:pt>
                <c:pt idx="1366">
                  <c:v>-12.679161000000001</c:v>
                </c:pt>
                <c:pt idx="1367">
                  <c:v>-12.682103</c:v>
                </c:pt>
                <c:pt idx="1368">
                  <c:v>-12.685048</c:v>
                </c:pt>
                <c:pt idx="1369">
                  <c:v>-12.687991999999999</c:v>
                </c:pt>
                <c:pt idx="1370">
                  <c:v>-12.690939</c:v>
                </c:pt>
                <c:pt idx="1371">
                  <c:v>-12.693885999999999</c:v>
                </c:pt>
                <c:pt idx="1372">
                  <c:v>-12.696834000000001</c:v>
                </c:pt>
                <c:pt idx="1373">
                  <c:v>-12.699783</c:v>
                </c:pt>
                <c:pt idx="1374">
                  <c:v>-12.702733</c:v>
                </c:pt>
                <c:pt idx="1375">
                  <c:v>-12.705684</c:v>
                </c:pt>
                <c:pt idx="1376">
                  <c:v>-12.708637</c:v>
                </c:pt>
                <c:pt idx="1377">
                  <c:v>-12.711589999999999</c:v>
                </c:pt>
                <c:pt idx="1378">
                  <c:v>-12.714544</c:v>
                </c:pt>
                <c:pt idx="1379">
                  <c:v>-12.717499999999999</c:v>
                </c:pt>
                <c:pt idx="1380">
                  <c:v>-12.720456</c:v>
                </c:pt>
                <c:pt idx="1381">
                  <c:v>-12.723414</c:v>
                </c:pt>
                <c:pt idx="1382">
                  <c:v>-12.726372</c:v>
                </c:pt>
                <c:pt idx="1383">
                  <c:v>-12.729331999999999</c:v>
                </c:pt>
                <c:pt idx="1384">
                  <c:v>-12.732291</c:v>
                </c:pt>
                <c:pt idx="1385">
                  <c:v>-12.735253</c:v>
                </c:pt>
                <c:pt idx="1386">
                  <c:v>-12.738213999999999</c:v>
                </c:pt>
                <c:pt idx="1387">
                  <c:v>-12.741178</c:v>
                </c:pt>
                <c:pt idx="1388">
                  <c:v>-12.744142</c:v>
                </c:pt>
                <c:pt idx="1389">
                  <c:v>-12.747108000000001</c:v>
                </c:pt>
                <c:pt idx="1390">
                  <c:v>-12.750074</c:v>
                </c:pt>
                <c:pt idx="1391">
                  <c:v>-12.753041</c:v>
                </c:pt>
                <c:pt idx="1392">
                  <c:v>-12.75601</c:v>
                </c:pt>
                <c:pt idx="1393">
                  <c:v>-12.758978000000001</c:v>
                </c:pt>
                <c:pt idx="1394">
                  <c:v>-12.761949</c:v>
                </c:pt>
                <c:pt idx="1395">
                  <c:v>-12.764920999999999</c:v>
                </c:pt>
                <c:pt idx="1396">
                  <c:v>-12.767893000000001</c:v>
                </c:pt>
                <c:pt idx="1397">
                  <c:v>-12.770866</c:v>
                </c:pt>
                <c:pt idx="1398">
                  <c:v>-12.773842</c:v>
                </c:pt>
                <c:pt idx="1399">
                  <c:v>-12.776814999999999</c:v>
                </c:pt>
                <c:pt idx="1400">
                  <c:v>-12.779793</c:v>
                </c:pt>
                <c:pt idx="1401">
                  <c:v>-12.782769999999999</c:v>
                </c:pt>
                <c:pt idx="1402">
                  <c:v>-12.785748999999999</c:v>
                </c:pt>
                <c:pt idx="1403">
                  <c:v>-12.788728000000001</c:v>
                </c:pt>
                <c:pt idx="1404">
                  <c:v>-12.791709000000001</c:v>
                </c:pt>
                <c:pt idx="1405">
                  <c:v>-12.794689999999999</c:v>
                </c:pt>
                <c:pt idx="1406">
                  <c:v>-12.797673</c:v>
                </c:pt>
                <c:pt idx="1407">
                  <c:v>-12.800656</c:v>
                </c:pt>
                <c:pt idx="1408">
                  <c:v>-12.803642</c:v>
                </c:pt>
                <c:pt idx="1409">
                  <c:v>-12.806627000000001</c:v>
                </c:pt>
                <c:pt idx="1410">
                  <c:v>-12.809614</c:v>
                </c:pt>
                <c:pt idx="1411">
                  <c:v>-12.812601000000001</c:v>
                </c:pt>
                <c:pt idx="1412">
                  <c:v>-12.81559</c:v>
                </c:pt>
                <c:pt idx="1413">
                  <c:v>-12.818580000000001</c:v>
                </c:pt>
                <c:pt idx="1414">
                  <c:v>-12.821569999999999</c:v>
                </c:pt>
                <c:pt idx="1415">
                  <c:v>-12.824562</c:v>
                </c:pt>
                <c:pt idx="1416">
                  <c:v>-12.827556</c:v>
                </c:pt>
                <c:pt idx="1417">
                  <c:v>-12.830548</c:v>
                </c:pt>
                <c:pt idx="1418">
                  <c:v>-12.833544</c:v>
                </c:pt>
                <c:pt idx="1419">
                  <c:v>-12.836539999999999</c:v>
                </c:pt>
                <c:pt idx="1420">
                  <c:v>-12.839537999999999</c:v>
                </c:pt>
                <c:pt idx="1421">
                  <c:v>-12.842534000000001</c:v>
                </c:pt>
                <c:pt idx="1422">
                  <c:v>-12.845534000000001</c:v>
                </c:pt>
                <c:pt idx="1423">
                  <c:v>-12.848535</c:v>
                </c:pt>
                <c:pt idx="1424">
                  <c:v>-12.851535</c:v>
                </c:pt>
                <c:pt idx="1425">
                  <c:v>-12.854537000000001</c:v>
                </c:pt>
                <c:pt idx="1426">
                  <c:v>-12.857542</c:v>
                </c:pt>
                <c:pt idx="1427">
                  <c:v>-12.860545</c:v>
                </c:pt>
                <c:pt idx="1428">
                  <c:v>-12.86355</c:v>
                </c:pt>
                <c:pt idx="1429">
                  <c:v>-12.866555999999999</c:v>
                </c:pt>
                <c:pt idx="1430">
                  <c:v>-12.869564</c:v>
                </c:pt>
                <c:pt idx="1431">
                  <c:v>-12.872572</c:v>
                </c:pt>
                <c:pt idx="1432">
                  <c:v>-12.875583000000001</c:v>
                </c:pt>
                <c:pt idx="1433">
                  <c:v>-12.878593</c:v>
                </c:pt>
                <c:pt idx="1434">
                  <c:v>-12.881603999999999</c:v>
                </c:pt>
                <c:pt idx="1435">
                  <c:v>-12.884617</c:v>
                </c:pt>
                <c:pt idx="1436">
                  <c:v>-12.88763</c:v>
                </c:pt>
                <c:pt idx="1437">
                  <c:v>-12.890644999999999</c:v>
                </c:pt>
                <c:pt idx="1438">
                  <c:v>-12.893662000000001</c:v>
                </c:pt>
                <c:pt idx="1439">
                  <c:v>-12.896678</c:v>
                </c:pt>
                <c:pt idx="1440">
                  <c:v>-12.899694999999999</c:v>
                </c:pt>
                <c:pt idx="1441">
                  <c:v>-12.902715000000001</c:v>
                </c:pt>
                <c:pt idx="1442">
                  <c:v>-12.905734000000001</c:v>
                </c:pt>
                <c:pt idx="1443">
                  <c:v>-12.908756</c:v>
                </c:pt>
                <c:pt idx="1444">
                  <c:v>-12.911777000000001</c:v>
                </c:pt>
                <c:pt idx="1445">
                  <c:v>-12.914801000000001</c:v>
                </c:pt>
                <c:pt idx="1446">
                  <c:v>-12.917824</c:v>
                </c:pt>
                <c:pt idx="1447">
                  <c:v>-12.92085</c:v>
                </c:pt>
                <c:pt idx="1448">
                  <c:v>-12.923876</c:v>
                </c:pt>
                <c:pt idx="1449">
                  <c:v>-12.926902</c:v>
                </c:pt>
                <c:pt idx="1450">
                  <c:v>-12.929932000000001</c:v>
                </c:pt>
                <c:pt idx="1451">
                  <c:v>-12.932962</c:v>
                </c:pt>
                <c:pt idx="1452">
                  <c:v>-12.935992000000001</c:v>
                </c:pt>
                <c:pt idx="1453">
                  <c:v>-12.939022</c:v>
                </c:pt>
                <c:pt idx="1454">
                  <c:v>-12.942055999999999</c:v>
                </c:pt>
                <c:pt idx="1455">
                  <c:v>-12.945088999999999</c:v>
                </c:pt>
                <c:pt idx="1456">
                  <c:v>-12.948124999999999</c:v>
                </c:pt>
                <c:pt idx="1457">
                  <c:v>-12.95116</c:v>
                </c:pt>
                <c:pt idx="1458">
                  <c:v>-12.954197000000001</c:v>
                </c:pt>
                <c:pt idx="1459">
                  <c:v>-12.957235000000001</c:v>
                </c:pt>
                <c:pt idx="1460">
                  <c:v>-12.960272</c:v>
                </c:pt>
                <c:pt idx="1461">
                  <c:v>-12.963312999999999</c:v>
                </c:pt>
                <c:pt idx="1462">
                  <c:v>-12.966354000000001</c:v>
                </c:pt>
                <c:pt idx="1463">
                  <c:v>-12.969397000000001</c:v>
                </c:pt>
                <c:pt idx="1464">
                  <c:v>-12.972441</c:v>
                </c:pt>
                <c:pt idx="1465">
                  <c:v>-12.975484</c:v>
                </c:pt>
                <c:pt idx="1466">
                  <c:v>-12.978529</c:v>
                </c:pt>
                <c:pt idx="1467">
                  <c:v>-12.981574999999999</c:v>
                </c:pt>
                <c:pt idx="1468">
                  <c:v>-12.984622999999999</c:v>
                </c:pt>
                <c:pt idx="1469">
                  <c:v>-12.987672999999999</c:v>
                </c:pt>
                <c:pt idx="1470">
                  <c:v>-12.990722</c:v>
                </c:pt>
                <c:pt idx="1471">
                  <c:v>-12.993772</c:v>
                </c:pt>
                <c:pt idx="1472">
                  <c:v>-12.996824999999999</c:v>
                </c:pt>
                <c:pt idx="1473">
                  <c:v>-12.999877</c:v>
                </c:pt>
                <c:pt idx="1474">
                  <c:v>-13.002931</c:v>
                </c:pt>
                <c:pt idx="1475">
                  <c:v>-13.005986</c:v>
                </c:pt>
                <c:pt idx="1476">
                  <c:v>-13.009043</c:v>
                </c:pt>
                <c:pt idx="1477">
                  <c:v>-13.012098999999999</c:v>
                </c:pt>
                <c:pt idx="1478">
                  <c:v>-13.015157</c:v>
                </c:pt>
                <c:pt idx="1479">
                  <c:v>-13.018217</c:v>
                </c:pt>
                <c:pt idx="1480">
                  <c:v>-13.021278000000001</c:v>
                </c:pt>
                <c:pt idx="1481">
                  <c:v>-13.02434</c:v>
                </c:pt>
                <c:pt idx="1482">
                  <c:v>-13.027400999999999</c:v>
                </c:pt>
                <c:pt idx="1483">
                  <c:v>-13.030465</c:v>
                </c:pt>
                <c:pt idx="1484">
                  <c:v>-13.033530000000001</c:v>
                </c:pt>
                <c:pt idx="1485">
                  <c:v>-13.036597</c:v>
                </c:pt>
                <c:pt idx="1486">
                  <c:v>-13.039662</c:v>
                </c:pt>
                <c:pt idx="1487">
                  <c:v>-13.042730000000001</c:v>
                </c:pt>
                <c:pt idx="1488">
                  <c:v>-13.045799000000001</c:v>
                </c:pt>
                <c:pt idx="1489">
                  <c:v>-13.048871</c:v>
                </c:pt>
                <c:pt idx="1490">
                  <c:v>-13.051942</c:v>
                </c:pt>
                <c:pt idx="1491">
                  <c:v>-13.055013000000001</c:v>
                </c:pt>
                <c:pt idx="1492">
                  <c:v>-13.058085999999999</c:v>
                </c:pt>
                <c:pt idx="1493">
                  <c:v>-13.061161999999999</c:v>
                </c:pt>
                <c:pt idx="1494">
                  <c:v>-13.064239000000001</c:v>
                </c:pt>
                <c:pt idx="1495">
                  <c:v>-13.067314</c:v>
                </c:pt>
                <c:pt idx="1496">
                  <c:v>-13.070392</c:v>
                </c:pt>
                <c:pt idx="1497">
                  <c:v>-13.07347</c:v>
                </c:pt>
                <c:pt idx="1498">
                  <c:v>-13.076551</c:v>
                </c:pt>
                <c:pt idx="1499">
                  <c:v>-13.079632</c:v>
                </c:pt>
                <c:pt idx="1500">
                  <c:v>-13.082713999999999</c:v>
                </c:pt>
                <c:pt idx="1501">
                  <c:v>-13.085796999999999</c:v>
                </c:pt>
                <c:pt idx="1502">
                  <c:v>-13.088882</c:v>
                </c:pt>
                <c:pt idx="1503">
                  <c:v>-13.091967</c:v>
                </c:pt>
                <c:pt idx="1504">
                  <c:v>-13.095053999999999</c:v>
                </c:pt>
                <c:pt idx="1505">
                  <c:v>-13.098141</c:v>
                </c:pt>
                <c:pt idx="1506">
                  <c:v>-13.101229999999999</c:v>
                </c:pt>
                <c:pt idx="1507">
                  <c:v>-13.10432</c:v>
                </c:pt>
                <c:pt idx="1508">
                  <c:v>-13.107411000000001</c:v>
                </c:pt>
                <c:pt idx="1509">
                  <c:v>-13.110503</c:v>
                </c:pt>
                <c:pt idx="1510">
                  <c:v>-13.113595999999999</c:v>
                </c:pt>
                <c:pt idx="1511">
                  <c:v>-13.11669</c:v>
                </c:pt>
                <c:pt idx="1512">
                  <c:v>-13.119786</c:v>
                </c:pt>
                <c:pt idx="1513">
                  <c:v>-13.122882000000001</c:v>
                </c:pt>
                <c:pt idx="1514">
                  <c:v>-13.125980999999999</c:v>
                </c:pt>
                <c:pt idx="1515">
                  <c:v>-13.129079000000001</c:v>
                </c:pt>
                <c:pt idx="1516">
                  <c:v>-13.132179000000001</c:v>
                </c:pt>
                <c:pt idx="1517">
                  <c:v>-13.13528</c:v>
                </c:pt>
                <c:pt idx="1518">
                  <c:v>-13.138382</c:v>
                </c:pt>
                <c:pt idx="1519">
                  <c:v>-13.141484999999999</c:v>
                </c:pt>
                <c:pt idx="1520">
                  <c:v>-13.144589</c:v>
                </c:pt>
                <c:pt idx="1521">
                  <c:v>-13.147694</c:v>
                </c:pt>
                <c:pt idx="1522">
                  <c:v>-13.150802000000001</c:v>
                </c:pt>
                <c:pt idx="1523">
                  <c:v>-13.153909000000001</c:v>
                </c:pt>
                <c:pt idx="1524">
                  <c:v>-13.157018000000001</c:v>
                </c:pt>
                <c:pt idx="1525">
                  <c:v>-13.160128</c:v>
                </c:pt>
                <c:pt idx="1526">
                  <c:v>-13.163238</c:v>
                </c:pt>
                <c:pt idx="1527">
                  <c:v>-13.16635</c:v>
                </c:pt>
                <c:pt idx="1528">
                  <c:v>-13.169464</c:v>
                </c:pt>
                <c:pt idx="1529">
                  <c:v>-13.172578</c:v>
                </c:pt>
                <c:pt idx="1530">
                  <c:v>-13.175694</c:v>
                </c:pt>
                <c:pt idx="1531">
                  <c:v>-13.17881</c:v>
                </c:pt>
                <c:pt idx="1532">
                  <c:v>-13.181927999999999</c:v>
                </c:pt>
                <c:pt idx="1533">
                  <c:v>-13.185046</c:v>
                </c:pt>
                <c:pt idx="1534">
                  <c:v>-13.188167</c:v>
                </c:pt>
                <c:pt idx="1535">
                  <c:v>-13.191288</c:v>
                </c:pt>
                <c:pt idx="1536">
                  <c:v>-13.19441</c:v>
                </c:pt>
                <c:pt idx="1537">
                  <c:v>-13.197533999999999</c:v>
                </c:pt>
                <c:pt idx="1538">
                  <c:v>-13.200658000000001</c:v>
                </c:pt>
                <c:pt idx="1539">
                  <c:v>-13.203782</c:v>
                </c:pt>
                <c:pt idx="1540">
                  <c:v>-13.206909</c:v>
                </c:pt>
                <c:pt idx="1541">
                  <c:v>-13.210037</c:v>
                </c:pt>
                <c:pt idx="1542">
                  <c:v>-13.213168</c:v>
                </c:pt>
                <c:pt idx="1543">
                  <c:v>-13.216297000000001</c:v>
                </c:pt>
                <c:pt idx="1544">
                  <c:v>-13.219428000000001</c:v>
                </c:pt>
                <c:pt idx="1545">
                  <c:v>-13.22256</c:v>
                </c:pt>
                <c:pt idx="1546">
                  <c:v>-13.225694000000001</c:v>
                </c:pt>
                <c:pt idx="1547">
                  <c:v>-13.228828999999999</c:v>
                </c:pt>
                <c:pt idx="1548">
                  <c:v>-13.231964</c:v>
                </c:pt>
                <c:pt idx="1549">
                  <c:v>-13.235101</c:v>
                </c:pt>
                <c:pt idx="1550">
                  <c:v>-13.238238000000001</c:v>
                </c:pt>
                <c:pt idx="1551">
                  <c:v>-13.241377999999999</c:v>
                </c:pt>
                <c:pt idx="1552">
                  <c:v>-13.244519</c:v>
                </c:pt>
                <c:pt idx="1553">
                  <c:v>-13.247659000000001</c:v>
                </c:pt>
                <c:pt idx="1554">
                  <c:v>-13.250802</c:v>
                </c:pt>
                <c:pt idx="1555">
                  <c:v>-13.253945</c:v>
                </c:pt>
                <c:pt idx="1556">
                  <c:v>-13.257092</c:v>
                </c:pt>
                <c:pt idx="1557">
                  <c:v>-13.260237999999999</c:v>
                </c:pt>
                <c:pt idx="1558">
                  <c:v>-13.263385</c:v>
                </c:pt>
                <c:pt idx="1559">
                  <c:v>-13.266533000000001</c:v>
                </c:pt>
                <c:pt idx="1560">
                  <c:v>-13.269683000000001</c:v>
                </c:pt>
                <c:pt idx="1561">
                  <c:v>-13.272833</c:v>
                </c:pt>
                <c:pt idx="1562">
                  <c:v>-13.275983999999999</c:v>
                </c:pt>
                <c:pt idx="1563">
                  <c:v>-13.279138</c:v>
                </c:pt>
                <c:pt idx="1564">
                  <c:v>-13.282292</c:v>
                </c:pt>
                <c:pt idx="1565">
                  <c:v>-13.285447</c:v>
                </c:pt>
                <c:pt idx="1566">
                  <c:v>-13.288603</c:v>
                </c:pt>
                <c:pt idx="1567">
                  <c:v>-13.29176</c:v>
                </c:pt>
                <c:pt idx="1568">
                  <c:v>-13.294919</c:v>
                </c:pt>
                <c:pt idx="1569">
                  <c:v>-13.298078</c:v>
                </c:pt>
                <c:pt idx="1570">
                  <c:v>-13.301239000000001</c:v>
                </c:pt>
                <c:pt idx="1571">
                  <c:v>-13.304403000000001</c:v>
                </c:pt>
                <c:pt idx="1572">
                  <c:v>-13.307566</c:v>
                </c:pt>
                <c:pt idx="1573">
                  <c:v>-13.31073</c:v>
                </c:pt>
                <c:pt idx="1574">
                  <c:v>-13.313896</c:v>
                </c:pt>
                <c:pt idx="1575">
                  <c:v>-13.317061000000001</c:v>
                </c:pt>
                <c:pt idx="1576">
                  <c:v>-13.320228999999999</c:v>
                </c:pt>
                <c:pt idx="1577">
                  <c:v>-13.323397999999999</c:v>
                </c:pt>
                <c:pt idx="1578">
                  <c:v>-13.32657</c:v>
                </c:pt>
                <c:pt idx="1579">
                  <c:v>-13.329741</c:v>
                </c:pt>
                <c:pt idx="1580">
                  <c:v>-13.332914000000001</c:v>
                </c:pt>
                <c:pt idx="1581">
                  <c:v>-13.336086999999999</c:v>
                </c:pt>
                <c:pt idx="1582">
                  <c:v>-13.339262</c:v>
                </c:pt>
                <c:pt idx="1583">
                  <c:v>-13.342439000000001</c:v>
                </c:pt>
                <c:pt idx="1584">
                  <c:v>-13.345615</c:v>
                </c:pt>
                <c:pt idx="1585">
                  <c:v>-13.348794</c:v>
                </c:pt>
                <c:pt idx="1586">
                  <c:v>-13.351974999999999</c:v>
                </c:pt>
                <c:pt idx="1587">
                  <c:v>-13.355155</c:v>
                </c:pt>
                <c:pt idx="1588">
                  <c:v>-13.358335</c:v>
                </c:pt>
                <c:pt idx="1589">
                  <c:v>-13.361518999999999</c:v>
                </c:pt>
                <c:pt idx="1590">
                  <c:v>-13.364703</c:v>
                </c:pt>
                <c:pt idx="1591">
                  <c:v>-13.367888000000001</c:v>
                </c:pt>
                <c:pt idx="1592">
                  <c:v>-13.371074999999999</c:v>
                </c:pt>
                <c:pt idx="1593">
                  <c:v>-13.374262999999999</c:v>
                </c:pt>
                <c:pt idx="1594">
                  <c:v>-13.377452999999999</c:v>
                </c:pt>
                <c:pt idx="1595">
                  <c:v>-13.380642999999999</c:v>
                </c:pt>
                <c:pt idx="1596">
                  <c:v>-13.383832999999999</c:v>
                </c:pt>
                <c:pt idx="1597">
                  <c:v>-13.387027</c:v>
                </c:pt>
                <c:pt idx="1598">
                  <c:v>-13.390219999999999</c:v>
                </c:pt>
                <c:pt idx="1599">
                  <c:v>-13.393414999999999</c:v>
                </c:pt>
                <c:pt idx="1600">
                  <c:v>-13.396610000000001</c:v>
                </c:pt>
                <c:pt idx="1601">
                  <c:v>-13.399808</c:v>
                </c:pt>
                <c:pt idx="1602">
                  <c:v>-13.403006</c:v>
                </c:pt>
                <c:pt idx="1603">
                  <c:v>-13.406205999999999</c:v>
                </c:pt>
                <c:pt idx="1604">
                  <c:v>-13.409407</c:v>
                </c:pt>
                <c:pt idx="1605">
                  <c:v>-13.412609</c:v>
                </c:pt>
                <c:pt idx="1606">
                  <c:v>-13.415811</c:v>
                </c:pt>
                <c:pt idx="1607">
                  <c:v>-13.419015999999999</c:v>
                </c:pt>
                <c:pt idx="1608">
                  <c:v>-13.422222</c:v>
                </c:pt>
                <c:pt idx="1609">
                  <c:v>-13.425428999999999</c:v>
                </c:pt>
                <c:pt idx="1610">
                  <c:v>-13.428635999999999</c:v>
                </c:pt>
                <c:pt idx="1611">
                  <c:v>-13.431844999999999</c:v>
                </c:pt>
                <c:pt idx="1612">
                  <c:v>-13.435055999999999</c:v>
                </c:pt>
                <c:pt idx="1613">
                  <c:v>-13.438267</c:v>
                </c:pt>
                <c:pt idx="1614">
                  <c:v>-13.44148</c:v>
                </c:pt>
                <c:pt idx="1615">
                  <c:v>-13.444694</c:v>
                </c:pt>
                <c:pt idx="1616">
                  <c:v>-13.44791</c:v>
                </c:pt>
                <c:pt idx="1617">
                  <c:v>-13.451124</c:v>
                </c:pt>
                <c:pt idx="1618">
                  <c:v>-13.454343</c:v>
                </c:pt>
                <c:pt idx="1619">
                  <c:v>-13.457561</c:v>
                </c:pt>
                <c:pt idx="1620">
                  <c:v>-13.460781000000001</c:v>
                </c:pt>
                <c:pt idx="1621">
                  <c:v>-13.464002000000001</c:v>
                </c:pt>
                <c:pt idx="1622">
                  <c:v>-13.467224</c:v>
                </c:pt>
                <c:pt idx="1623">
                  <c:v>-13.470447</c:v>
                </c:pt>
                <c:pt idx="1624">
                  <c:v>-13.473672000000001</c:v>
                </c:pt>
                <c:pt idx="1625">
                  <c:v>-13.476899</c:v>
                </c:pt>
                <c:pt idx="1626">
                  <c:v>-13.480126</c:v>
                </c:pt>
                <c:pt idx="1627">
                  <c:v>-13.483354</c:v>
                </c:pt>
                <c:pt idx="1628">
                  <c:v>-13.486584000000001</c:v>
                </c:pt>
                <c:pt idx="1629">
                  <c:v>-13.489814000000001</c:v>
                </c:pt>
                <c:pt idx="1630">
                  <c:v>-13.493046</c:v>
                </c:pt>
                <c:pt idx="1631">
                  <c:v>-13.496278999999999</c:v>
                </c:pt>
                <c:pt idx="1632">
                  <c:v>-13.499513</c:v>
                </c:pt>
                <c:pt idx="1633">
                  <c:v>-13.502748</c:v>
                </c:pt>
                <c:pt idx="1634">
                  <c:v>-13.505985000000001</c:v>
                </c:pt>
                <c:pt idx="1635">
                  <c:v>-13.509223</c:v>
                </c:pt>
                <c:pt idx="1636">
                  <c:v>-13.512464</c:v>
                </c:pt>
                <c:pt idx="1637">
                  <c:v>-13.515703999999999</c:v>
                </c:pt>
                <c:pt idx="1638">
                  <c:v>-13.518945</c:v>
                </c:pt>
                <c:pt idx="1639">
                  <c:v>-13.522188</c:v>
                </c:pt>
                <c:pt idx="1640">
                  <c:v>-13.52543</c:v>
                </c:pt>
                <c:pt idx="1641">
                  <c:v>-13.528677</c:v>
                </c:pt>
                <c:pt idx="1642">
                  <c:v>-13.531924</c:v>
                </c:pt>
                <c:pt idx="1643">
                  <c:v>-13.535173</c:v>
                </c:pt>
                <c:pt idx="1644">
                  <c:v>-13.53842</c:v>
                </c:pt>
                <c:pt idx="1645">
                  <c:v>-13.541670999999999</c:v>
                </c:pt>
                <c:pt idx="1646">
                  <c:v>-13.544921</c:v>
                </c:pt>
                <c:pt idx="1647">
                  <c:v>-13.548175000000001</c:v>
                </c:pt>
                <c:pt idx="1648">
                  <c:v>-13.551429000000001</c:v>
                </c:pt>
                <c:pt idx="1649">
                  <c:v>-13.554684999999999</c:v>
                </c:pt>
                <c:pt idx="1650">
                  <c:v>-13.557938999999999</c:v>
                </c:pt>
                <c:pt idx="1651">
                  <c:v>-13.561197999999999</c:v>
                </c:pt>
                <c:pt idx="1652">
                  <c:v>-13.564456</c:v>
                </c:pt>
                <c:pt idx="1653">
                  <c:v>-13.567716000000001</c:v>
                </c:pt>
                <c:pt idx="1654">
                  <c:v>-13.570978</c:v>
                </c:pt>
                <c:pt idx="1655">
                  <c:v>-13.57424</c:v>
                </c:pt>
                <c:pt idx="1656">
                  <c:v>-13.577505</c:v>
                </c:pt>
                <c:pt idx="1657">
                  <c:v>-13.580768000000001</c:v>
                </c:pt>
                <c:pt idx="1658">
                  <c:v>-13.584033</c:v>
                </c:pt>
                <c:pt idx="1659">
                  <c:v>-13.587301</c:v>
                </c:pt>
                <c:pt idx="1660">
                  <c:v>-13.59057</c:v>
                </c:pt>
                <c:pt idx="1661">
                  <c:v>-13.593840999999999</c:v>
                </c:pt>
                <c:pt idx="1662">
                  <c:v>-13.597111</c:v>
                </c:pt>
                <c:pt idx="1663">
                  <c:v>-13.600383000000001</c:v>
                </c:pt>
                <c:pt idx="1664">
                  <c:v>-13.603657</c:v>
                </c:pt>
                <c:pt idx="1665">
                  <c:v>-13.606932</c:v>
                </c:pt>
                <c:pt idx="1666">
                  <c:v>-13.610208</c:v>
                </c:pt>
                <c:pt idx="1667">
                  <c:v>-13.613485000000001</c:v>
                </c:pt>
                <c:pt idx="1668">
                  <c:v>-13.616763000000001</c:v>
                </c:pt>
                <c:pt idx="1669">
                  <c:v>-13.620044</c:v>
                </c:pt>
                <c:pt idx="1670">
                  <c:v>-13.623324999999999</c:v>
                </c:pt>
                <c:pt idx="1671">
                  <c:v>-13.626607999999999</c:v>
                </c:pt>
                <c:pt idx="1672">
                  <c:v>-13.629891000000001</c:v>
                </c:pt>
                <c:pt idx="1673">
                  <c:v>-13.633175</c:v>
                </c:pt>
                <c:pt idx="1674">
                  <c:v>-13.636462</c:v>
                </c:pt>
                <c:pt idx="1675">
                  <c:v>-13.639748000000001</c:v>
                </c:pt>
                <c:pt idx="1676">
                  <c:v>-13.643037</c:v>
                </c:pt>
                <c:pt idx="1677">
                  <c:v>-13.646328</c:v>
                </c:pt>
                <c:pt idx="1678">
                  <c:v>-13.649618</c:v>
                </c:pt>
                <c:pt idx="1679">
                  <c:v>-13.652911</c:v>
                </c:pt>
                <c:pt idx="1680">
                  <c:v>-13.656205</c:v>
                </c:pt>
                <c:pt idx="1681">
                  <c:v>-13.659499</c:v>
                </c:pt>
                <c:pt idx="1682">
                  <c:v>-13.662796</c:v>
                </c:pt>
                <c:pt idx="1683">
                  <c:v>-13.666093999999999</c:v>
                </c:pt>
                <c:pt idx="1684">
                  <c:v>-13.669390999999999</c:v>
                </c:pt>
                <c:pt idx="1685">
                  <c:v>-13.672692</c:v>
                </c:pt>
                <c:pt idx="1686">
                  <c:v>-13.675992000000001</c:v>
                </c:pt>
                <c:pt idx="1687">
                  <c:v>-13.679295</c:v>
                </c:pt>
                <c:pt idx="1688">
                  <c:v>-13.682600000000001</c:v>
                </c:pt>
                <c:pt idx="1689">
                  <c:v>-13.685904000000001</c:v>
                </c:pt>
                <c:pt idx="1690">
                  <c:v>-13.689209999999999</c:v>
                </c:pt>
                <c:pt idx="1691">
                  <c:v>-13.692517</c:v>
                </c:pt>
                <c:pt idx="1692">
                  <c:v>-13.695826</c:v>
                </c:pt>
                <c:pt idx="1693">
                  <c:v>-13.699135999999999</c:v>
                </c:pt>
                <c:pt idx="1694">
                  <c:v>-13.702448</c:v>
                </c:pt>
                <c:pt idx="1695">
                  <c:v>-13.70576</c:v>
                </c:pt>
                <c:pt idx="1696">
                  <c:v>-13.709073999999999</c:v>
                </c:pt>
                <c:pt idx="1697">
                  <c:v>-13.712389999999999</c:v>
                </c:pt>
                <c:pt idx="1698">
                  <c:v>-13.715705</c:v>
                </c:pt>
                <c:pt idx="1699">
                  <c:v>-13.719023999999999</c:v>
                </c:pt>
                <c:pt idx="1700">
                  <c:v>-13.722341999999999</c:v>
                </c:pt>
                <c:pt idx="1701">
                  <c:v>-13.725663000000001</c:v>
                </c:pt>
                <c:pt idx="1702">
                  <c:v>-13.728984000000001</c:v>
                </c:pt>
                <c:pt idx="1703">
                  <c:v>-13.732305999999999</c:v>
                </c:pt>
                <c:pt idx="1704">
                  <c:v>-13.73563</c:v>
                </c:pt>
                <c:pt idx="1705">
                  <c:v>-13.738956</c:v>
                </c:pt>
                <c:pt idx="1706">
                  <c:v>-13.742283</c:v>
                </c:pt>
                <c:pt idx="1707">
                  <c:v>-13.745611</c:v>
                </c:pt>
                <c:pt idx="1708">
                  <c:v>-13.748939</c:v>
                </c:pt>
                <c:pt idx="1709">
                  <c:v>-13.752271</c:v>
                </c:pt>
                <c:pt idx="1710">
                  <c:v>-13.755602</c:v>
                </c:pt>
                <c:pt idx="1711">
                  <c:v>-13.758936</c:v>
                </c:pt>
                <c:pt idx="1712">
                  <c:v>-13.762269999999999</c:v>
                </c:pt>
                <c:pt idx="1713">
                  <c:v>-13.765606999999999</c:v>
                </c:pt>
                <c:pt idx="1714">
                  <c:v>-13.768943</c:v>
                </c:pt>
                <c:pt idx="1715">
                  <c:v>-13.772281</c:v>
                </c:pt>
                <c:pt idx="1716">
                  <c:v>-13.775619000000001</c:v>
                </c:pt>
                <c:pt idx="1717">
                  <c:v>-13.77896</c:v>
                </c:pt>
                <c:pt idx="1718">
                  <c:v>-13.782302</c:v>
                </c:pt>
                <c:pt idx="1719">
                  <c:v>-13.785647000000001</c:v>
                </c:pt>
                <c:pt idx="1720">
                  <c:v>-13.788992</c:v>
                </c:pt>
                <c:pt idx="1721">
                  <c:v>-13.792338000000001</c:v>
                </c:pt>
                <c:pt idx="1722">
                  <c:v>-13.795685000000001</c:v>
                </c:pt>
                <c:pt idx="1723">
                  <c:v>-13.799034000000001</c:v>
                </c:pt>
                <c:pt idx="1724">
                  <c:v>-13.802384</c:v>
                </c:pt>
                <c:pt idx="1725">
                  <c:v>-13.805733999999999</c:v>
                </c:pt>
                <c:pt idx="1726">
                  <c:v>-13.809087</c:v>
                </c:pt>
                <c:pt idx="1727">
                  <c:v>-13.81244</c:v>
                </c:pt>
                <c:pt idx="1728">
                  <c:v>-13.815796000000001</c:v>
                </c:pt>
                <c:pt idx="1729">
                  <c:v>-13.819152000000001</c:v>
                </c:pt>
                <c:pt idx="1730">
                  <c:v>-13.822511</c:v>
                </c:pt>
                <c:pt idx="1731">
                  <c:v>-13.825869000000001</c:v>
                </c:pt>
                <c:pt idx="1732">
                  <c:v>-13.829230000000001</c:v>
                </c:pt>
                <c:pt idx="1733">
                  <c:v>-13.832592</c:v>
                </c:pt>
                <c:pt idx="1734">
                  <c:v>-13.835953999999999</c:v>
                </c:pt>
                <c:pt idx="1735">
                  <c:v>-13.839320000000001</c:v>
                </c:pt>
                <c:pt idx="1736">
                  <c:v>-13.842684</c:v>
                </c:pt>
                <c:pt idx="1737">
                  <c:v>-13.84605</c:v>
                </c:pt>
                <c:pt idx="1738">
                  <c:v>-13.84942</c:v>
                </c:pt>
                <c:pt idx="1739">
                  <c:v>-13.852790000000001</c:v>
                </c:pt>
                <c:pt idx="1740">
                  <c:v>-13.856159999999999</c:v>
                </c:pt>
                <c:pt idx="1741">
                  <c:v>-13.859533000000001</c:v>
                </c:pt>
                <c:pt idx="1742">
                  <c:v>-13.862906000000001</c:v>
                </c:pt>
                <c:pt idx="1743">
                  <c:v>-13.866281000000001</c:v>
                </c:pt>
                <c:pt idx="1744">
                  <c:v>-13.869657</c:v>
                </c:pt>
                <c:pt idx="1745">
                  <c:v>-13.873035</c:v>
                </c:pt>
                <c:pt idx="1746">
                  <c:v>-13.876414</c:v>
                </c:pt>
                <c:pt idx="1747">
                  <c:v>-13.879792999999999</c:v>
                </c:pt>
                <c:pt idx="1748">
                  <c:v>-13.883175</c:v>
                </c:pt>
                <c:pt idx="1749">
                  <c:v>-13.886558000000001</c:v>
                </c:pt>
                <c:pt idx="1750">
                  <c:v>-13.889943000000001</c:v>
                </c:pt>
                <c:pt idx="1751">
                  <c:v>-13.893328</c:v>
                </c:pt>
                <c:pt idx="1752">
                  <c:v>-13.896715</c:v>
                </c:pt>
                <c:pt idx="1753">
                  <c:v>-13.900103</c:v>
                </c:pt>
                <c:pt idx="1754">
                  <c:v>-13.903492</c:v>
                </c:pt>
                <c:pt idx="1755">
                  <c:v>-13.906883000000001</c:v>
                </c:pt>
                <c:pt idx="1756">
                  <c:v>-13.910275</c:v>
                </c:pt>
                <c:pt idx="1757">
                  <c:v>-13.913669000000001</c:v>
                </c:pt>
                <c:pt idx="1758">
                  <c:v>-13.917064</c:v>
                </c:pt>
                <c:pt idx="1759">
                  <c:v>-13.920458999999999</c:v>
                </c:pt>
                <c:pt idx="1760">
                  <c:v>-13.923857999999999</c:v>
                </c:pt>
                <c:pt idx="1761">
                  <c:v>-13.927256</c:v>
                </c:pt>
                <c:pt idx="1762">
                  <c:v>-13.930656000000001</c:v>
                </c:pt>
                <c:pt idx="1763">
                  <c:v>-13.934059</c:v>
                </c:pt>
                <c:pt idx="1764">
                  <c:v>-13.937459</c:v>
                </c:pt>
                <c:pt idx="1765">
                  <c:v>-13.940865000000001</c:v>
                </c:pt>
                <c:pt idx="1766">
                  <c:v>-13.944271000000001</c:v>
                </c:pt>
                <c:pt idx="1767">
                  <c:v>-13.947677000000001</c:v>
                </c:pt>
                <c:pt idx="1768">
                  <c:v>-13.951086</c:v>
                </c:pt>
                <c:pt idx="1769">
                  <c:v>-13.954497</c:v>
                </c:pt>
                <c:pt idx="1770">
                  <c:v>-13.957905999999999</c:v>
                </c:pt>
                <c:pt idx="1771">
                  <c:v>-13.961319</c:v>
                </c:pt>
                <c:pt idx="1772">
                  <c:v>-13.964732</c:v>
                </c:pt>
                <c:pt idx="1773">
                  <c:v>-13.968147999999999</c:v>
                </c:pt>
                <c:pt idx="1774">
                  <c:v>-13.971565</c:v>
                </c:pt>
                <c:pt idx="1775">
                  <c:v>-13.974982000000001</c:v>
                </c:pt>
                <c:pt idx="1776">
                  <c:v>-13.978403</c:v>
                </c:pt>
                <c:pt idx="1777">
                  <c:v>-13.981823</c:v>
                </c:pt>
                <c:pt idx="1778">
                  <c:v>-13.985244</c:v>
                </c:pt>
                <c:pt idx="1779">
                  <c:v>-13.988666</c:v>
                </c:pt>
                <c:pt idx="1780">
                  <c:v>-13.992091</c:v>
                </c:pt>
                <c:pt idx="1781">
                  <c:v>-13.995517</c:v>
                </c:pt>
                <c:pt idx="1782">
                  <c:v>-13.998945000000001</c:v>
                </c:pt>
                <c:pt idx="1783">
                  <c:v>-14.002374</c:v>
                </c:pt>
                <c:pt idx="1784">
                  <c:v>-14.005803</c:v>
                </c:pt>
                <c:pt idx="1785">
                  <c:v>-14.009233999999999</c:v>
                </c:pt>
                <c:pt idx="1786">
                  <c:v>-14.012667</c:v>
                </c:pt>
                <c:pt idx="1787">
                  <c:v>-14.016102</c:v>
                </c:pt>
                <c:pt idx="1788">
                  <c:v>-14.019537</c:v>
                </c:pt>
                <c:pt idx="1789">
                  <c:v>-14.022974</c:v>
                </c:pt>
                <c:pt idx="1790">
                  <c:v>-14.026412000000001</c:v>
                </c:pt>
                <c:pt idx="1791">
                  <c:v>-14.029852</c:v>
                </c:pt>
                <c:pt idx="1792">
                  <c:v>-14.033293</c:v>
                </c:pt>
                <c:pt idx="1793">
                  <c:v>-14.036735999999999</c:v>
                </c:pt>
                <c:pt idx="1794">
                  <c:v>-14.040179</c:v>
                </c:pt>
                <c:pt idx="1795">
                  <c:v>-14.043623999999999</c:v>
                </c:pt>
                <c:pt idx="1796">
                  <c:v>-14.04707</c:v>
                </c:pt>
                <c:pt idx="1797">
                  <c:v>-14.050519</c:v>
                </c:pt>
                <c:pt idx="1798">
                  <c:v>-14.053967</c:v>
                </c:pt>
                <c:pt idx="1799">
                  <c:v>-14.057418</c:v>
                </c:pt>
                <c:pt idx="1800">
                  <c:v>-14.060871000000001</c:v>
                </c:pt>
                <c:pt idx="1801">
                  <c:v>-14.064325</c:v>
                </c:pt>
                <c:pt idx="1802">
                  <c:v>-14.067779</c:v>
                </c:pt>
                <c:pt idx="1803">
                  <c:v>-14.071236000000001</c:v>
                </c:pt>
                <c:pt idx="1804">
                  <c:v>-14.074693</c:v>
                </c:pt>
                <c:pt idx="1805">
                  <c:v>-14.078151999999999</c:v>
                </c:pt>
                <c:pt idx="1806">
                  <c:v>-14.081612</c:v>
                </c:pt>
                <c:pt idx="1807">
                  <c:v>-14.085074000000001</c:v>
                </c:pt>
                <c:pt idx="1808">
                  <c:v>-14.088538</c:v>
                </c:pt>
                <c:pt idx="1809">
                  <c:v>-14.092002000000001</c:v>
                </c:pt>
                <c:pt idx="1810">
                  <c:v>-14.095468</c:v>
                </c:pt>
                <c:pt idx="1811">
                  <c:v>-14.098936</c:v>
                </c:pt>
                <c:pt idx="1812">
                  <c:v>-14.102404</c:v>
                </c:pt>
                <c:pt idx="1813">
                  <c:v>-14.105874</c:v>
                </c:pt>
                <c:pt idx="1814">
                  <c:v>-14.109346</c:v>
                </c:pt>
                <c:pt idx="1815">
                  <c:v>-14.112818000000001</c:v>
                </c:pt>
                <c:pt idx="1816">
                  <c:v>-14.116293000000001</c:v>
                </c:pt>
                <c:pt idx="1817">
                  <c:v>-14.119769</c:v>
                </c:pt>
                <c:pt idx="1818">
                  <c:v>-14.123246</c:v>
                </c:pt>
                <c:pt idx="1819">
                  <c:v>-14.126725</c:v>
                </c:pt>
                <c:pt idx="1820">
                  <c:v>-14.130205</c:v>
                </c:pt>
                <c:pt idx="1821">
                  <c:v>-14.133686000000001</c:v>
                </c:pt>
                <c:pt idx="1822">
                  <c:v>-14.137169</c:v>
                </c:pt>
                <c:pt idx="1823">
                  <c:v>-14.140654</c:v>
                </c:pt>
                <c:pt idx="1824">
                  <c:v>-14.14414</c:v>
                </c:pt>
                <c:pt idx="1825">
                  <c:v>-14.147626000000001</c:v>
                </c:pt>
                <c:pt idx="1826">
                  <c:v>-14.151115000000001</c:v>
                </c:pt>
                <c:pt idx="1827">
                  <c:v>-14.154605</c:v>
                </c:pt>
                <c:pt idx="1828">
                  <c:v>-14.158096</c:v>
                </c:pt>
                <c:pt idx="1829">
                  <c:v>-14.161588999999999</c:v>
                </c:pt>
                <c:pt idx="1830">
                  <c:v>-14.165082</c:v>
                </c:pt>
                <c:pt idx="1831">
                  <c:v>-14.168577000000001</c:v>
                </c:pt>
                <c:pt idx="1832">
                  <c:v>-14.172076000000001</c:v>
                </c:pt>
                <c:pt idx="1833">
                  <c:v>-14.175573999999999</c:v>
                </c:pt>
                <c:pt idx="1834">
                  <c:v>-14.179074</c:v>
                </c:pt>
                <c:pt idx="1835">
                  <c:v>-14.182575</c:v>
                </c:pt>
                <c:pt idx="1836">
                  <c:v>-14.186078999999999</c:v>
                </c:pt>
                <c:pt idx="1837">
                  <c:v>-14.189583000000001</c:v>
                </c:pt>
                <c:pt idx="1838">
                  <c:v>-14.193087999999999</c:v>
                </c:pt>
                <c:pt idx="1839">
                  <c:v>-14.196596</c:v>
                </c:pt>
                <c:pt idx="1840">
                  <c:v>-14.200104</c:v>
                </c:pt>
                <c:pt idx="1841">
                  <c:v>-14.203614</c:v>
                </c:pt>
                <c:pt idx="1842">
                  <c:v>-14.207125</c:v>
                </c:pt>
                <c:pt idx="1843">
                  <c:v>-14.210637999999999</c:v>
                </c:pt>
                <c:pt idx="1844">
                  <c:v>-14.214150999999999</c:v>
                </c:pt>
                <c:pt idx="1845">
                  <c:v>-14.217667</c:v>
                </c:pt>
                <c:pt idx="1846">
                  <c:v>-14.221183999999999</c:v>
                </c:pt>
                <c:pt idx="1847">
                  <c:v>-14.224703999999999</c:v>
                </c:pt>
                <c:pt idx="1848">
                  <c:v>-14.228222000000001</c:v>
                </c:pt>
                <c:pt idx="1849">
                  <c:v>-14.231743</c:v>
                </c:pt>
                <c:pt idx="1850">
                  <c:v>-14.235268</c:v>
                </c:pt>
                <c:pt idx="1851">
                  <c:v>-14.238791000000001</c:v>
                </c:pt>
                <c:pt idx="1852">
                  <c:v>-14.242317</c:v>
                </c:pt>
                <c:pt idx="1853">
                  <c:v>-14.245844999999999</c:v>
                </c:pt>
                <c:pt idx="1854">
                  <c:v>-14.249373</c:v>
                </c:pt>
                <c:pt idx="1855">
                  <c:v>-14.252903999999999</c:v>
                </c:pt>
                <c:pt idx="1856">
                  <c:v>-14.256434</c:v>
                </c:pt>
                <c:pt idx="1857">
                  <c:v>-14.259967</c:v>
                </c:pt>
                <c:pt idx="1858">
                  <c:v>-14.263503</c:v>
                </c:pt>
                <c:pt idx="1859">
                  <c:v>-14.267037</c:v>
                </c:pt>
                <c:pt idx="1860">
                  <c:v>-14.270576</c:v>
                </c:pt>
                <c:pt idx="1861">
                  <c:v>-14.274115</c:v>
                </c:pt>
                <c:pt idx="1862">
                  <c:v>-14.277654</c:v>
                </c:pt>
                <c:pt idx="1863">
                  <c:v>-14.281196</c:v>
                </c:pt>
                <c:pt idx="1864">
                  <c:v>-14.284739</c:v>
                </c:pt>
                <c:pt idx="1865">
                  <c:v>-14.288284000000001</c:v>
                </c:pt>
                <c:pt idx="1866">
                  <c:v>-14.291831</c:v>
                </c:pt>
                <c:pt idx="1867">
                  <c:v>-14.295377999999999</c:v>
                </c:pt>
                <c:pt idx="1868">
                  <c:v>-14.298927000000001</c:v>
                </c:pt>
                <c:pt idx="1869">
                  <c:v>-14.302477</c:v>
                </c:pt>
                <c:pt idx="1870">
                  <c:v>-14.306029000000001</c:v>
                </c:pt>
                <c:pt idx="1871">
                  <c:v>-14.309583</c:v>
                </c:pt>
                <c:pt idx="1872">
                  <c:v>-14.313138</c:v>
                </c:pt>
                <c:pt idx="1873">
                  <c:v>-14.316694</c:v>
                </c:pt>
                <c:pt idx="1874">
                  <c:v>-14.320252999999999</c:v>
                </c:pt>
                <c:pt idx="1875">
                  <c:v>-14.323810999999999</c:v>
                </c:pt>
                <c:pt idx="1876">
                  <c:v>-14.327373</c:v>
                </c:pt>
                <c:pt idx="1877">
                  <c:v>-14.330935</c:v>
                </c:pt>
                <c:pt idx="1878">
                  <c:v>-14.334498</c:v>
                </c:pt>
                <c:pt idx="1879">
                  <c:v>-14.338063</c:v>
                </c:pt>
                <c:pt idx="1880">
                  <c:v>-14.341631</c:v>
                </c:pt>
                <c:pt idx="1881">
                  <c:v>-14.345198999999999</c:v>
                </c:pt>
                <c:pt idx="1882">
                  <c:v>-14.348769000000001</c:v>
                </c:pt>
                <c:pt idx="1883">
                  <c:v>-14.35234</c:v>
                </c:pt>
                <c:pt idx="1884">
                  <c:v>-14.355912999999999</c:v>
                </c:pt>
                <c:pt idx="1885">
                  <c:v>-14.359486</c:v>
                </c:pt>
                <c:pt idx="1886">
                  <c:v>-14.363063</c:v>
                </c:pt>
                <c:pt idx="1887">
                  <c:v>-14.36664</c:v>
                </c:pt>
                <c:pt idx="1888">
                  <c:v>-14.370217999999999</c:v>
                </c:pt>
                <c:pt idx="1889">
                  <c:v>-14.373799999999999</c:v>
                </c:pt>
                <c:pt idx="1890">
                  <c:v>-14.37738</c:v>
                </c:pt>
                <c:pt idx="1891">
                  <c:v>-14.380962999999999</c:v>
                </c:pt>
                <c:pt idx="1892">
                  <c:v>-14.384547</c:v>
                </c:pt>
                <c:pt idx="1893">
                  <c:v>-14.388135</c:v>
                </c:pt>
                <c:pt idx="1894">
                  <c:v>-14.391722</c:v>
                </c:pt>
                <c:pt idx="1895">
                  <c:v>-14.395311</c:v>
                </c:pt>
                <c:pt idx="1896">
                  <c:v>-14.398901</c:v>
                </c:pt>
                <c:pt idx="1897">
                  <c:v>-14.402494000000001</c:v>
                </c:pt>
                <c:pt idx="1898">
                  <c:v>-14.406086999999999</c:v>
                </c:pt>
                <c:pt idx="1899">
                  <c:v>-14.409682</c:v>
                </c:pt>
                <c:pt idx="1900">
                  <c:v>-14.413278999999999</c:v>
                </c:pt>
                <c:pt idx="1901">
                  <c:v>-14.416878000000001</c:v>
                </c:pt>
                <c:pt idx="1902">
                  <c:v>-14.420477</c:v>
                </c:pt>
                <c:pt idx="1903">
                  <c:v>-14.424077</c:v>
                </c:pt>
                <c:pt idx="1904">
                  <c:v>-14.427681</c:v>
                </c:pt>
                <c:pt idx="1905">
                  <c:v>-14.431285000000001</c:v>
                </c:pt>
                <c:pt idx="1906">
                  <c:v>-14.434891</c:v>
                </c:pt>
                <c:pt idx="1907">
                  <c:v>-14.438499</c:v>
                </c:pt>
                <c:pt idx="1908">
                  <c:v>-14.442107</c:v>
                </c:pt>
                <c:pt idx="1909">
                  <c:v>-14.445717999999999</c:v>
                </c:pt>
                <c:pt idx="1910">
                  <c:v>-14.44933</c:v>
                </c:pt>
                <c:pt idx="1911">
                  <c:v>-14.452942999999999</c:v>
                </c:pt>
                <c:pt idx="1912">
                  <c:v>-14.456557</c:v>
                </c:pt>
                <c:pt idx="1913">
                  <c:v>-14.460174</c:v>
                </c:pt>
                <c:pt idx="1914">
                  <c:v>-14.463792</c:v>
                </c:pt>
                <c:pt idx="1915">
                  <c:v>-14.467411</c:v>
                </c:pt>
                <c:pt idx="1916">
                  <c:v>-14.471031999999999</c:v>
                </c:pt>
                <c:pt idx="1917">
                  <c:v>-14.474653999999999</c:v>
                </c:pt>
                <c:pt idx="1918">
                  <c:v>-14.478278</c:v>
                </c:pt>
                <c:pt idx="1919">
                  <c:v>-14.481904999999999</c:v>
                </c:pt>
                <c:pt idx="1920">
                  <c:v>-14.485531</c:v>
                </c:pt>
                <c:pt idx="1921">
                  <c:v>-14.48916</c:v>
                </c:pt>
                <c:pt idx="1922">
                  <c:v>-14.492789999999999</c:v>
                </c:pt>
                <c:pt idx="1923">
                  <c:v>-14.496421</c:v>
                </c:pt>
                <c:pt idx="1924">
                  <c:v>-14.500055</c:v>
                </c:pt>
                <c:pt idx="1925">
                  <c:v>-14.503689</c:v>
                </c:pt>
                <c:pt idx="1926">
                  <c:v>-14.507327</c:v>
                </c:pt>
                <c:pt idx="1927">
                  <c:v>-14.510964</c:v>
                </c:pt>
                <c:pt idx="1928">
                  <c:v>-14.514602999999999</c:v>
                </c:pt>
                <c:pt idx="1929">
                  <c:v>-14.518243999999999</c:v>
                </c:pt>
                <c:pt idx="1930">
                  <c:v>-14.521887</c:v>
                </c:pt>
                <c:pt idx="1931">
                  <c:v>-14.525531000000001</c:v>
                </c:pt>
                <c:pt idx="1932">
                  <c:v>-14.529177000000001</c:v>
                </c:pt>
                <c:pt idx="1933">
                  <c:v>-14.532823</c:v>
                </c:pt>
                <c:pt idx="1934">
                  <c:v>-14.536471000000001</c:v>
                </c:pt>
                <c:pt idx="1935">
                  <c:v>-14.540122</c:v>
                </c:pt>
                <c:pt idx="1936">
                  <c:v>-14.543775</c:v>
                </c:pt>
                <c:pt idx="1937">
                  <c:v>-14.547428</c:v>
                </c:pt>
                <c:pt idx="1938">
                  <c:v>-14.551081999999999</c:v>
                </c:pt>
                <c:pt idx="1939">
                  <c:v>-14.554740000000001</c:v>
                </c:pt>
                <c:pt idx="1940">
                  <c:v>-14.558396999999999</c:v>
                </c:pt>
                <c:pt idx="1941">
                  <c:v>-14.562056999999999</c:v>
                </c:pt>
                <c:pt idx="1942">
                  <c:v>-14.565718</c:v>
                </c:pt>
                <c:pt idx="1943">
                  <c:v>-14.569380000000001</c:v>
                </c:pt>
                <c:pt idx="1944">
                  <c:v>-14.573045</c:v>
                </c:pt>
                <c:pt idx="1945">
                  <c:v>-14.576711</c:v>
                </c:pt>
                <c:pt idx="1946">
                  <c:v>-14.580378</c:v>
                </c:pt>
                <c:pt idx="1947">
                  <c:v>-14.584047999999999</c:v>
                </c:pt>
                <c:pt idx="1948">
                  <c:v>-14.587717</c:v>
                </c:pt>
                <c:pt idx="1949">
                  <c:v>-14.591390000000001</c:v>
                </c:pt>
                <c:pt idx="1950">
                  <c:v>-14.595063</c:v>
                </c:pt>
                <c:pt idx="1951">
                  <c:v>-14.598739</c:v>
                </c:pt>
                <c:pt idx="1952">
                  <c:v>-14.602416</c:v>
                </c:pt>
                <c:pt idx="1953">
                  <c:v>-14.606095</c:v>
                </c:pt>
                <c:pt idx="1954">
                  <c:v>-14.609774</c:v>
                </c:pt>
                <c:pt idx="1955">
                  <c:v>-14.613455999999999</c:v>
                </c:pt>
                <c:pt idx="1956">
                  <c:v>-14.617139999999999</c:v>
                </c:pt>
                <c:pt idx="1957">
                  <c:v>-14.620825</c:v>
                </c:pt>
                <c:pt idx="1958">
                  <c:v>-14.624510000000001</c:v>
                </c:pt>
                <c:pt idx="1959">
                  <c:v>-14.628199</c:v>
                </c:pt>
                <c:pt idx="1960">
                  <c:v>-14.631888999999999</c:v>
                </c:pt>
                <c:pt idx="1961">
                  <c:v>-14.635579999999999</c:v>
                </c:pt>
                <c:pt idx="1962">
                  <c:v>-14.639272</c:v>
                </c:pt>
                <c:pt idx="1963">
                  <c:v>-14.642965999999999</c:v>
                </c:pt>
                <c:pt idx="1964">
                  <c:v>-14.646663</c:v>
                </c:pt>
                <c:pt idx="1965">
                  <c:v>-14.650359</c:v>
                </c:pt>
                <c:pt idx="1966">
                  <c:v>-14.654059999999999</c:v>
                </c:pt>
                <c:pt idx="1967">
                  <c:v>-14.65776</c:v>
                </c:pt>
                <c:pt idx="1968">
                  <c:v>-14.661462</c:v>
                </c:pt>
                <c:pt idx="1969">
                  <c:v>-14.665165999999999</c:v>
                </c:pt>
                <c:pt idx="1970">
                  <c:v>-14.668872</c:v>
                </c:pt>
                <c:pt idx="1971">
                  <c:v>-14.672578</c:v>
                </c:pt>
                <c:pt idx="1972">
                  <c:v>-14.676287</c:v>
                </c:pt>
                <c:pt idx="1973">
                  <c:v>-14.679997999999999</c:v>
                </c:pt>
                <c:pt idx="1974">
                  <c:v>-14.68371</c:v>
                </c:pt>
                <c:pt idx="1975">
                  <c:v>-14.687422</c:v>
                </c:pt>
                <c:pt idx="1976">
                  <c:v>-14.691138</c:v>
                </c:pt>
                <c:pt idx="1977">
                  <c:v>-14.694853999999999</c:v>
                </c:pt>
                <c:pt idx="1978">
                  <c:v>-14.698573</c:v>
                </c:pt>
                <c:pt idx="1979">
                  <c:v>-14.702292999999999</c:v>
                </c:pt>
                <c:pt idx="1980">
                  <c:v>-14.706015000000001</c:v>
                </c:pt>
                <c:pt idx="1981">
                  <c:v>-14.709738</c:v>
                </c:pt>
                <c:pt idx="1982">
                  <c:v>-14.713464</c:v>
                </c:pt>
                <c:pt idx="1983">
                  <c:v>-14.717191</c:v>
                </c:pt>
                <c:pt idx="1984">
                  <c:v>-14.720917999999999</c:v>
                </c:pt>
                <c:pt idx="1985">
                  <c:v>-14.724648</c:v>
                </c:pt>
                <c:pt idx="1986">
                  <c:v>-14.72838</c:v>
                </c:pt>
                <c:pt idx="1987">
                  <c:v>-14.732112000000001</c:v>
                </c:pt>
                <c:pt idx="1988">
                  <c:v>-14.735847</c:v>
                </c:pt>
                <c:pt idx="1989">
                  <c:v>-14.739582</c:v>
                </c:pt>
                <c:pt idx="1990">
                  <c:v>-14.743321</c:v>
                </c:pt>
                <c:pt idx="1991">
                  <c:v>-14.747061</c:v>
                </c:pt>
                <c:pt idx="1992">
                  <c:v>-14.750800999999999</c:v>
                </c:pt>
                <c:pt idx="1993">
                  <c:v>-14.754543999999999</c:v>
                </c:pt>
                <c:pt idx="1994">
                  <c:v>-14.758289</c:v>
                </c:pt>
                <c:pt idx="1995">
                  <c:v>-14.762034</c:v>
                </c:pt>
                <c:pt idx="1996">
                  <c:v>-14.765782</c:v>
                </c:pt>
                <c:pt idx="1997">
                  <c:v>-14.769531000000001</c:v>
                </c:pt>
                <c:pt idx="1998">
                  <c:v>-14.773282</c:v>
                </c:pt>
                <c:pt idx="1999">
                  <c:v>-14.777035</c:v>
                </c:pt>
                <c:pt idx="2000">
                  <c:v>-14.780789</c:v>
                </c:pt>
                <c:pt idx="2001">
                  <c:v>-14.784546000000001</c:v>
                </c:pt>
                <c:pt idx="2002">
                  <c:v>-14.788304</c:v>
                </c:pt>
                <c:pt idx="2003">
                  <c:v>-14.792062</c:v>
                </c:pt>
                <c:pt idx="2004">
                  <c:v>-14.795823</c:v>
                </c:pt>
                <c:pt idx="2005">
                  <c:v>-14.799585</c:v>
                </c:pt>
                <c:pt idx="2006">
                  <c:v>-14.803349000000001</c:v>
                </c:pt>
                <c:pt idx="2007">
                  <c:v>-14.807116000000001</c:v>
                </c:pt>
                <c:pt idx="2008">
                  <c:v>-14.810883</c:v>
                </c:pt>
                <c:pt idx="2009">
                  <c:v>-14.814652000000001</c:v>
                </c:pt>
                <c:pt idx="2010">
                  <c:v>-14.818422999999999</c:v>
                </c:pt>
                <c:pt idx="2011">
                  <c:v>-14.822195000000001</c:v>
                </c:pt>
                <c:pt idx="2012">
                  <c:v>-14.825969000000001</c:v>
                </c:pt>
                <c:pt idx="2013">
                  <c:v>-14.829744</c:v>
                </c:pt>
                <c:pt idx="2014">
                  <c:v>-14.833523</c:v>
                </c:pt>
                <c:pt idx="2015">
                  <c:v>-14.837301999999999</c:v>
                </c:pt>
                <c:pt idx="2016">
                  <c:v>-14.841084</c:v>
                </c:pt>
                <c:pt idx="2017">
                  <c:v>-14.844866</c:v>
                </c:pt>
                <c:pt idx="2018">
                  <c:v>-14.848649</c:v>
                </c:pt>
                <c:pt idx="2019">
                  <c:v>-14.852436000000001</c:v>
                </c:pt>
                <c:pt idx="2020">
                  <c:v>-14.856222000000001</c:v>
                </c:pt>
                <c:pt idx="2021">
                  <c:v>-14.860011999999999</c:v>
                </c:pt>
                <c:pt idx="2022">
                  <c:v>-14.863802</c:v>
                </c:pt>
                <c:pt idx="2023">
                  <c:v>-14.867596000000001</c:v>
                </c:pt>
                <c:pt idx="2024">
                  <c:v>-14.87139</c:v>
                </c:pt>
                <c:pt idx="2025">
                  <c:v>-14.875185999999999</c:v>
                </c:pt>
                <c:pt idx="2026">
                  <c:v>-14.878983</c:v>
                </c:pt>
                <c:pt idx="2027">
                  <c:v>-14.882782000000001</c:v>
                </c:pt>
                <c:pt idx="2028">
                  <c:v>-14.886585</c:v>
                </c:pt>
                <c:pt idx="2029">
                  <c:v>-14.890385</c:v>
                </c:pt>
                <c:pt idx="2030">
                  <c:v>-14.894190999999999</c:v>
                </c:pt>
                <c:pt idx="2031">
                  <c:v>-14.897995999999999</c:v>
                </c:pt>
                <c:pt idx="2032">
                  <c:v>-14.901804</c:v>
                </c:pt>
                <c:pt idx="2033">
                  <c:v>-14.905613000000001</c:v>
                </c:pt>
                <c:pt idx="2034">
                  <c:v>-14.909424</c:v>
                </c:pt>
                <c:pt idx="2035">
                  <c:v>-14.913237000000001</c:v>
                </c:pt>
                <c:pt idx="2036">
                  <c:v>-14.917052</c:v>
                </c:pt>
                <c:pt idx="2037">
                  <c:v>-14.920868</c:v>
                </c:pt>
                <c:pt idx="2038">
                  <c:v>-14.924685999999999</c:v>
                </c:pt>
                <c:pt idx="2039">
                  <c:v>-14.928504999999999</c:v>
                </c:pt>
                <c:pt idx="2040">
                  <c:v>-14.932326</c:v>
                </c:pt>
                <c:pt idx="2041">
                  <c:v>-14.936149</c:v>
                </c:pt>
                <c:pt idx="2042">
                  <c:v>-14.939973999999999</c:v>
                </c:pt>
                <c:pt idx="2043">
                  <c:v>-14.943801000000001</c:v>
                </c:pt>
                <c:pt idx="2044">
                  <c:v>-14.947628999999999</c:v>
                </c:pt>
                <c:pt idx="2045">
                  <c:v>-14.951459</c:v>
                </c:pt>
                <c:pt idx="2046">
                  <c:v>-14.95529</c:v>
                </c:pt>
                <c:pt idx="2047">
                  <c:v>-14.959123999999999</c:v>
                </c:pt>
                <c:pt idx="2048">
                  <c:v>-14.962958</c:v>
                </c:pt>
                <c:pt idx="2049">
                  <c:v>-14.966796</c:v>
                </c:pt>
                <c:pt idx="2050">
                  <c:v>-14.970634</c:v>
                </c:pt>
                <c:pt idx="2051">
                  <c:v>-14.974474000000001</c:v>
                </c:pt>
                <c:pt idx="2052">
                  <c:v>-14.978316</c:v>
                </c:pt>
                <c:pt idx="2053">
                  <c:v>-14.982161</c:v>
                </c:pt>
                <c:pt idx="2054">
                  <c:v>-14.986006</c:v>
                </c:pt>
                <c:pt idx="2055">
                  <c:v>-14.989853</c:v>
                </c:pt>
                <c:pt idx="2056">
                  <c:v>-14.993701</c:v>
                </c:pt>
                <c:pt idx="2057">
                  <c:v>-14.997553</c:v>
                </c:pt>
                <c:pt idx="2058">
                  <c:v>-15.001405</c:v>
                </c:pt>
                <c:pt idx="2059">
                  <c:v>-15.005259000000001</c:v>
                </c:pt>
                <c:pt idx="2060">
                  <c:v>-15.009115</c:v>
                </c:pt>
                <c:pt idx="2061">
                  <c:v>-15.012973000000001</c:v>
                </c:pt>
                <c:pt idx="2062">
                  <c:v>-15.016832000000001</c:v>
                </c:pt>
                <c:pt idx="2063">
                  <c:v>-15.020692</c:v>
                </c:pt>
                <c:pt idx="2064">
                  <c:v>-15.024554999999999</c:v>
                </c:pt>
                <c:pt idx="2065">
                  <c:v>-15.028420000000001</c:v>
                </c:pt>
                <c:pt idx="2066">
                  <c:v>-15.032285999999999</c:v>
                </c:pt>
                <c:pt idx="2067">
                  <c:v>-15.036154</c:v>
                </c:pt>
                <c:pt idx="2068">
                  <c:v>-15.040023</c:v>
                </c:pt>
                <c:pt idx="2069">
                  <c:v>-15.043894</c:v>
                </c:pt>
                <c:pt idx="2070">
                  <c:v>-15.047768</c:v>
                </c:pt>
                <c:pt idx="2071">
                  <c:v>-15.051644</c:v>
                </c:pt>
                <c:pt idx="2072">
                  <c:v>-15.05552</c:v>
                </c:pt>
                <c:pt idx="2073">
                  <c:v>-15.059399000000001</c:v>
                </c:pt>
                <c:pt idx="2074">
                  <c:v>-15.063278</c:v>
                </c:pt>
                <c:pt idx="2075">
                  <c:v>-15.067161</c:v>
                </c:pt>
                <c:pt idx="2076">
                  <c:v>-15.071045</c:v>
                </c:pt>
                <c:pt idx="2077">
                  <c:v>-15.074930999999999</c:v>
                </c:pt>
                <c:pt idx="2078">
                  <c:v>-15.078818</c:v>
                </c:pt>
                <c:pt idx="2079">
                  <c:v>-15.082708</c:v>
                </c:pt>
                <c:pt idx="2080">
                  <c:v>-15.086598</c:v>
                </c:pt>
                <c:pt idx="2081">
                  <c:v>-15.090491</c:v>
                </c:pt>
                <c:pt idx="2082">
                  <c:v>-15.094385000000001</c:v>
                </c:pt>
                <c:pt idx="2083">
                  <c:v>-15.098281</c:v>
                </c:pt>
                <c:pt idx="2084">
                  <c:v>-15.102179</c:v>
                </c:pt>
                <c:pt idx="2085">
                  <c:v>-15.106078999999999</c:v>
                </c:pt>
                <c:pt idx="2086">
                  <c:v>-15.109982</c:v>
                </c:pt>
                <c:pt idx="2087">
                  <c:v>-15.113884000000001</c:v>
                </c:pt>
                <c:pt idx="2088">
                  <c:v>-15.117789</c:v>
                </c:pt>
                <c:pt idx="2089">
                  <c:v>-15.121696</c:v>
                </c:pt>
                <c:pt idx="2090">
                  <c:v>-15.125605</c:v>
                </c:pt>
                <c:pt idx="2091">
                  <c:v>-15.129515</c:v>
                </c:pt>
                <c:pt idx="2092">
                  <c:v>-15.133428</c:v>
                </c:pt>
                <c:pt idx="2093">
                  <c:v>-15.137340999999999</c:v>
                </c:pt>
                <c:pt idx="2094">
                  <c:v>-15.141258000000001</c:v>
                </c:pt>
                <c:pt idx="2095">
                  <c:v>-15.145174000000001</c:v>
                </c:pt>
                <c:pt idx="2096">
                  <c:v>-15.149095000000001</c:v>
                </c:pt>
                <c:pt idx="2097">
                  <c:v>-15.153015</c:v>
                </c:pt>
                <c:pt idx="2098">
                  <c:v>-15.156938</c:v>
                </c:pt>
                <c:pt idx="2099">
                  <c:v>-15.160864</c:v>
                </c:pt>
                <c:pt idx="2100">
                  <c:v>-15.164790999999999</c:v>
                </c:pt>
                <c:pt idx="2101">
                  <c:v>-15.168718999999999</c:v>
                </c:pt>
                <c:pt idx="2102">
                  <c:v>-15.172650000000001</c:v>
                </c:pt>
                <c:pt idx="2103">
                  <c:v>-15.176582</c:v>
                </c:pt>
                <c:pt idx="2104">
                  <c:v>-15.180515</c:v>
                </c:pt>
                <c:pt idx="2105">
                  <c:v>-15.18445</c:v>
                </c:pt>
                <c:pt idx="2106">
                  <c:v>-15.188388</c:v>
                </c:pt>
                <c:pt idx="2107">
                  <c:v>-15.192327000000001</c:v>
                </c:pt>
                <c:pt idx="2108">
                  <c:v>-15.196268999999999</c:v>
                </c:pt>
                <c:pt idx="2109">
                  <c:v>-15.200212000000001</c:v>
                </c:pt>
                <c:pt idx="2110">
                  <c:v>-15.204155999999999</c:v>
                </c:pt>
                <c:pt idx="2111">
                  <c:v>-15.208102999999999</c:v>
                </c:pt>
                <c:pt idx="2112">
                  <c:v>-15.212051000000001</c:v>
                </c:pt>
                <c:pt idx="2113">
                  <c:v>-15.216003000000001</c:v>
                </c:pt>
                <c:pt idx="2114">
                  <c:v>-15.219953</c:v>
                </c:pt>
                <c:pt idx="2115">
                  <c:v>-15.223908</c:v>
                </c:pt>
                <c:pt idx="2116">
                  <c:v>-15.227864</c:v>
                </c:pt>
                <c:pt idx="2117">
                  <c:v>-15.231821</c:v>
                </c:pt>
                <c:pt idx="2118">
                  <c:v>-15.235780999999999</c:v>
                </c:pt>
                <c:pt idx="2119">
                  <c:v>-15.239741</c:v>
                </c:pt>
                <c:pt idx="2120">
                  <c:v>-15.243705</c:v>
                </c:pt>
                <c:pt idx="2121">
                  <c:v>-15.247669999999999</c:v>
                </c:pt>
                <c:pt idx="2122">
                  <c:v>-15.251636</c:v>
                </c:pt>
                <c:pt idx="2123">
                  <c:v>-15.255606</c:v>
                </c:pt>
                <c:pt idx="2124">
                  <c:v>-15.259575999999999</c:v>
                </c:pt>
                <c:pt idx="2125">
                  <c:v>-15.263548</c:v>
                </c:pt>
                <c:pt idx="2126">
                  <c:v>-15.267521</c:v>
                </c:pt>
                <c:pt idx="2127">
                  <c:v>-15.271497999999999</c:v>
                </c:pt>
                <c:pt idx="2128">
                  <c:v>-15.275475999999999</c:v>
                </c:pt>
                <c:pt idx="2129">
                  <c:v>-15.279455</c:v>
                </c:pt>
                <c:pt idx="2130">
                  <c:v>-15.283438</c:v>
                </c:pt>
                <c:pt idx="2131">
                  <c:v>-15.287419999999999</c:v>
                </c:pt>
                <c:pt idx="2132">
                  <c:v>-15.291406</c:v>
                </c:pt>
                <c:pt idx="2133">
                  <c:v>-15.295393000000001</c:v>
                </c:pt>
                <c:pt idx="2134">
                  <c:v>-15.299383000000001</c:v>
                </c:pt>
                <c:pt idx="2135">
                  <c:v>-15.303373000000001</c:v>
                </c:pt>
                <c:pt idx="2136">
                  <c:v>-15.307366</c:v>
                </c:pt>
                <c:pt idx="2137">
                  <c:v>-15.311361</c:v>
                </c:pt>
                <c:pt idx="2138">
                  <c:v>-15.315357000000001</c:v>
                </c:pt>
                <c:pt idx="2139">
                  <c:v>-15.319356000000001</c:v>
                </c:pt>
                <c:pt idx="2140">
                  <c:v>-15.323356</c:v>
                </c:pt>
                <c:pt idx="2141">
                  <c:v>-15.327358</c:v>
                </c:pt>
                <c:pt idx="2142">
                  <c:v>-15.331362</c:v>
                </c:pt>
                <c:pt idx="2143">
                  <c:v>-15.335367</c:v>
                </c:pt>
                <c:pt idx="2144">
                  <c:v>-15.339373999999999</c:v>
                </c:pt>
                <c:pt idx="2145">
                  <c:v>-15.343385</c:v>
                </c:pt>
                <c:pt idx="2146">
                  <c:v>-15.347396</c:v>
                </c:pt>
                <c:pt idx="2147">
                  <c:v>-15.35141</c:v>
                </c:pt>
                <c:pt idx="2148">
                  <c:v>-15.355423999999999</c:v>
                </c:pt>
                <c:pt idx="2149">
                  <c:v>-15.359441</c:v>
                </c:pt>
                <c:pt idx="2150">
                  <c:v>-15.36346</c:v>
                </c:pt>
                <c:pt idx="2151">
                  <c:v>-15.367482000000001</c:v>
                </c:pt>
                <c:pt idx="2152">
                  <c:v>-15.371505000000001</c:v>
                </c:pt>
                <c:pt idx="2153">
                  <c:v>-15.375529</c:v>
                </c:pt>
                <c:pt idx="2154">
                  <c:v>-15.379555999999999</c:v>
                </c:pt>
                <c:pt idx="2155">
                  <c:v>-15.383585</c:v>
                </c:pt>
                <c:pt idx="2156">
                  <c:v>-15.387613999999999</c:v>
                </c:pt>
                <c:pt idx="2157">
                  <c:v>-15.391646</c:v>
                </c:pt>
                <c:pt idx="2158">
                  <c:v>-15.395681</c:v>
                </c:pt>
                <c:pt idx="2159">
                  <c:v>-15.399717000000001</c:v>
                </c:pt>
                <c:pt idx="2160">
                  <c:v>-15.403756</c:v>
                </c:pt>
                <c:pt idx="2161">
                  <c:v>-15.407798</c:v>
                </c:pt>
                <c:pt idx="2162">
                  <c:v>-15.411837</c:v>
                </c:pt>
                <c:pt idx="2163">
                  <c:v>-15.415882</c:v>
                </c:pt>
                <c:pt idx="2164">
                  <c:v>-15.419928000000001</c:v>
                </c:pt>
                <c:pt idx="2165">
                  <c:v>-15.423975</c:v>
                </c:pt>
                <c:pt idx="2166">
                  <c:v>-15.428024000000001</c:v>
                </c:pt>
                <c:pt idx="2167">
                  <c:v>-15.432076</c:v>
                </c:pt>
                <c:pt idx="2168">
                  <c:v>-15.436128999999999</c:v>
                </c:pt>
                <c:pt idx="2169">
                  <c:v>-15.440184</c:v>
                </c:pt>
                <c:pt idx="2170">
                  <c:v>-15.444243</c:v>
                </c:pt>
                <c:pt idx="2171">
                  <c:v>-15.448301000000001</c:v>
                </c:pt>
                <c:pt idx="2172">
                  <c:v>-15.452363</c:v>
                </c:pt>
                <c:pt idx="2173">
                  <c:v>-15.456427</c:v>
                </c:pt>
                <c:pt idx="2174">
                  <c:v>-15.46049</c:v>
                </c:pt>
                <c:pt idx="2175">
                  <c:v>-15.464558</c:v>
                </c:pt>
                <c:pt idx="2176">
                  <c:v>-15.468626</c:v>
                </c:pt>
                <c:pt idx="2177">
                  <c:v>-15.472697</c:v>
                </c:pt>
                <c:pt idx="2178">
                  <c:v>-15.47677</c:v>
                </c:pt>
                <c:pt idx="2179">
                  <c:v>-15.480843999999999</c:v>
                </c:pt>
                <c:pt idx="2180">
                  <c:v>-15.484921</c:v>
                </c:pt>
                <c:pt idx="2181">
                  <c:v>-15.489001</c:v>
                </c:pt>
                <c:pt idx="2182">
                  <c:v>-15.493081</c:v>
                </c:pt>
                <c:pt idx="2183">
                  <c:v>-15.497164</c:v>
                </c:pt>
                <c:pt idx="2184">
                  <c:v>-15.501248</c:v>
                </c:pt>
                <c:pt idx="2185">
                  <c:v>-15.505334</c:v>
                </c:pt>
                <c:pt idx="2186">
                  <c:v>-15.509423</c:v>
                </c:pt>
                <c:pt idx="2187">
                  <c:v>-15.513512</c:v>
                </c:pt>
                <c:pt idx="2188">
                  <c:v>-15.517604</c:v>
                </c:pt>
                <c:pt idx="2189">
                  <c:v>-15.521699</c:v>
                </c:pt>
                <c:pt idx="2190">
                  <c:v>-15.525796</c:v>
                </c:pt>
                <c:pt idx="2191">
                  <c:v>-15.529894000000001</c:v>
                </c:pt>
                <c:pt idx="2192">
                  <c:v>-15.533993000000001</c:v>
                </c:pt>
                <c:pt idx="2193">
                  <c:v>-15.538095999999999</c:v>
                </c:pt>
                <c:pt idx="2194">
                  <c:v>-15.542199999999999</c:v>
                </c:pt>
                <c:pt idx="2195">
                  <c:v>-15.546307000000001</c:v>
                </c:pt>
                <c:pt idx="2196">
                  <c:v>-15.550414</c:v>
                </c:pt>
                <c:pt idx="2197">
                  <c:v>-15.554525</c:v>
                </c:pt>
                <c:pt idx="2198">
                  <c:v>-15.558636999999999</c:v>
                </c:pt>
                <c:pt idx="2199">
                  <c:v>-15.562749999999999</c:v>
                </c:pt>
                <c:pt idx="2200">
                  <c:v>-15.566865999999999</c:v>
                </c:pt>
                <c:pt idx="2201">
                  <c:v>-15.570983999999999</c:v>
                </c:pt>
                <c:pt idx="2202">
                  <c:v>-15.575105000000001</c:v>
                </c:pt>
                <c:pt idx="2203">
                  <c:v>-15.579226999999999</c:v>
                </c:pt>
                <c:pt idx="2204">
                  <c:v>-15.583349999999999</c:v>
                </c:pt>
                <c:pt idx="2205">
                  <c:v>-15.587476000000001</c:v>
                </c:pt>
                <c:pt idx="2206">
                  <c:v>-15.591604</c:v>
                </c:pt>
                <c:pt idx="2207">
                  <c:v>-15.595734</c:v>
                </c:pt>
                <c:pt idx="2208">
                  <c:v>-15.599864999999999</c:v>
                </c:pt>
                <c:pt idx="2209">
                  <c:v>-15.603999999999999</c:v>
                </c:pt>
                <c:pt idx="2210">
                  <c:v>-15.608135000000001</c:v>
                </c:pt>
                <c:pt idx="2211">
                  <c:v>-15.612273</c:v>
                </c:pt>
                <c:pt idx="2212">
                  <c:v>-15.616413</c:v>
                </c:pt>
                <c:pt idx="2213">
                  <c:v>-15.620556000000001</c:v>
                </c:pt>
                <c:pt idx="2214">
                  <c:v>-15.624700000000001</c:v>
                </c:pt>
                <c:pt idx="2215">
                  <c:v>-15.628845</c:v>
                </c:pt>
                <c:pt idx="2216">
                  <c:v>-15.632994</c:v>
                </c:pt>
                <c:pt idx="2217">
                  <c:v>-15.637143</c:v>
                </c:pt>
                <c:pt idx="2218">
                  <c:v>-15.641297</c:v>
                </c:pt>
                <c:pt idx="2219">
                  <c:v>-15.645448999999999</c:v>
                </c:pt>
                <c:pt idx="2220">
                  <c:v>-15.649607</c:v>
                </c:pt>
                <c:pt idx="2221">
                  <c:v>-15.653763</c:v>
                </c:pt>
                <c:pt idx="2222">
                  <c:v>-15.657925000000001</c:v>
                </c:pt>
                <c:pt idx="2223">
                  <c:v>-15.662086</c:v>
                </c:pt>
                <c:pt idx="2224">
                  <c:v>-15.666251000000001</c:v>
                </c:pt>
                <c:pt idx="2225">
                  <c:v>-15.670417</c:v>
                </c:pt>
                <c:pt idx="2226">
                  <c:v>-15.674585</c:v>
                </c:pt>
                <c:pt idx="2227">
                  <c:v>-15.678756</c:v>
                </c:pt>
                <c:pt idx="2228">
                  <c:v>-15.682928</c:v>
                </c:pt>
                <c:pt idx="2229">
                  <c:v>-15.687103</c:v>
                </c:pt>
                <c:pt idx="2230">
                  <c:v>-15.691279</c:v>
                </c:pt>
                <c:pt idx="2231">
                  <c:v>-15.695458</c:v>
                </c:pt>
                <c:pt idx="2232">
                  <c:v>-15.699636999999999</c:v>
                </c:pt>
                <c:pt idx="2233">
                  <c:v>-15.703821</c:v>
                </c:pt>
                <c:pt idx="2234">
                  <c:v>-15.708005</c:v>
                </c:pt>
                <c:pt idx="2235">
                  <c:v>-15.712192999999999</c:v>
                </c:pt>
                <c:pt idx="2236">
                  <c:v>-15.716381</c:v>
                </c:pt>
                <c:pt idx="2237">
                  <c:v>-15.720572000000001</c:v>
                </c:pt>
                <c:pt idx="2238">
                  <c:v>-15.724765</c:v>
                </c:pt>
                <c:pt idx="2239">
                  <c:v>-15.728960000000001</c:v>
                </c:pt>
                <c:pt idx="2240">
                  <c:v>-15.733157</c:v>
                </c:pt>
                <c:pt idx="2241">
                  <c:v>-15.737356</c:v>
                </c:pt>
                <c:pt idx="2242">
                  <c:v>-15.741557</c:v>
                </c:pt>
                <c:pt idx="2243">
                  <c:v>-15.745759</c:v>
                </c:pt>
                <c:pt idx="2244">
                  <c:v>-15.749965</c:v>
                </c:pt>
                <c:pt idx="2245">
                  <c:v>-15.754172000000001</c:v>
                </c:pt>
                <c:pt idx="2246">
                  <c:v>-15.758381</c:v>
                </c:pt>
                <c:pt idx="2247">
                  <c:v>-15.762593000000001</c:v>
                </c:pt>
                <c:pt idx="2248">
                  <c:v>-15.766807999999999</c:v>
                </c:pt>
                <c:pt idx="2249">
                  <c:v>-15.771023</c:v>
                </c:pt>
                <c:pt idx="2250">
                  <c:v>-15.775242</c:v>
                </c:pt>
                <c:pt idx="2251">
                  <c:v>-15.779461</c:v>
                </c:pt>
                <c:pt idx="2252">
                  <c:v>-15.783683</c:v>
                </c:pt>
                <c:pt idx="2253">
                  <c:v>-15.787908</c:v>
                </c:pt>
                <c:pt idx="2254">
                  <c:v>-15.792133</c:v>
                </c:pt>
                <c:pt idx="2255">
                  <c:v>-15.796360999999999</c:v>
                </c:pt>
                <c:pt idx="2256">
                  <c:v>-15.800592</c:v>
                </c:pt>
                <c:pt idx="2257">
                  <c:v>-15.804826</c:v>
                </c:pt>
                <c:pt idx="2258">
                  <c:v>-15.809058</c:v>
                </c:pt>
                <c:pt idx="2259">
                  <c:v>-15.813295</c:v>
                </c:pt>
                <c:pt idx="2260">
                  <c:v>-15.817534</c:v>
                </c:pt>
                <c:pt idx="2261">
                  <c:v>-15.821774</c:v>
                </c:pt>
                <c:pt idx="2262">
                  <c:v>-15.826019000000001</c:v>
                </c:pt>
                <c:pt idx="2263">
                  <c:v>-15.830263</c:v>
                </c:pt>
                <c:pt idx="2264">
                  <c:v>-15.83451</c:v>
                </c:pt>
                <c:pt idx="2265">
                  <c:v>-15.838760000000001</c:v>
                </c:pt>
                <c:pt idx="2266">
                  <c:v>-15.843012999999999</c:v>
                </c:pt>
                <c:pt idx="2267">
                  <c:v>-15.847265999999999</c:v>
                </c:pt>
                <c:pt idx="2268">
                  <c:v>-15.851521</c:v>
                </c:pt>
                <c:pt idx="2269">
                  <c:v>-15.855779</c:v>
                </c:pt>
                <c:pt idx="2270">
                  <c:v>-15.860039</c:v>
                </c:pt>
                <c:pt idx="2271">
                  <c:v>-15.8643</c:v>
                </c:pt>
                <c:pt idx="2272">
                  <c:v>-15.868563999999999</c:v>
                </c:pt>
                <c:pt idx="2273">
                  <c:v>-15.87283</c:v>
                </c:pt>
                <c:pt idx="2274">
                  <c:v>-15.8771</c:v>
                </c:pt>
                <c:pt idx="2275">
                  <c:v>-15.88137</c:v>
                </c:pt>
                <c:pt idx="2276">
                  <c:v>-15.885643</c:v>
                </c:pt>
                <c:pt idx="2277">
                  <c:v>-15.889918</c:v>
                </c:pt>
                <c:pt idx="2278">
                  <c:v>-15.894194000000001</c:v>
                </c:pt>
                <c:pt idx="2279">
                  <c:v>-15.898474999999999</c:v>
                </c:pt>
                <c:pt idx="2280">
                  <c:v>-15.902755000000001</c:v>
                </c:pt>
                <c:pt idx="2281">
                  <c:v>-15.907038999999999</c:v>
                </c:pt>
                <c:pt idx="2282">
                  <c:v>-15.911324</c:v>
                </c:pt>
                <c:pt idx="2283">
                  <c:v>-15.915613</c:v>
                </c:pt>
                <c:pt idx="2284">
                  <c:v>-15.919904000000001</c:v>
                </c:pt>
                <c:pt idx="2285">
                  <c:v>-15.924194999999999</c:v>
                </c:pt>
                <c:pt idx="2286">
                  <c:v>-15.928489000000001</c:v>
                </c:pt>
                <c:pt idx="2287">
                  <c:v>-15.932786999999999</c:v>
                </c:pt>
                <c:pt idx="2288">
                  <c:v>-15.937084</c:v>
                </c:pt>
                <c:pt idx="2289">
                  <c:v>-15.941387000000001</c:v>
                </c:pt>
                <c:pt idx="2290">
                  <c:v>-15.945688000000001</c:v>
                </c:pt>
                <c:pt idx="2291">
                  <c:v>-15.949992999999999</c:v>
                </c:pt>
                <c:pt idx="2292">
                  <c:v>-15.954300999999999</c:v>
                </c:pt>
                <c:pt idx="2293">
                  <c:v>-15.95861</c:v>
                </c:pt>
                <c:pt idx="2294">
                  <c:v>-15.962923</c:v>
                </c:pt>
                <c:pt idx="2295">
                  <c:v>-15.967236</c:v>
                </c:pt>
                <c:pt idx="2296">
                  <c:v>-15.971551</c:v>
                </c:pt>
                <c:pt idx="2297">
                  <c:v>-15.975871</c:v>
                </c:pt>
                <c:pt idx="2298">
                  <c:v>-15.980191</c:v>
                </c:pt>
                <c:pt idx="2299">
                  <c:v>-15.984513</c:v>
                </c:pt>
                <c:pt idx="2300">
                  <c:v>-15.988837999999999</c:v>
                </c:pt>
                <c:pt idx="2301">
                  <c:v>-15.993166</c:v>
                </c:pt>
                <c:pt idx="2302">
                  <c:v>-15.997495000000001</c:v>
                </c:pt>
                <c:pt idx="2303">
                  <c:v>-16.001826000000001</c:v>
                </c:pt>
                <c:pt idx="2304">
                  <c:v>-16.006160000000001</c:v>
                </c:pt>
                <c:pt idx="2305">
                  <c:v>-16.010494999999999</c:v>
                </c:pt>
                <c:pt idx="2306">
                  <c:v>-16.014834</c:v>
                </c:pt>
                <c:pt idx="2307">
                  <c:v>-16.019175000000001</c:v>
                </c:pt>
                <c:pt idx="2308">
                  <c:v>-16.023516000000001</c:v>
                </c:pt>
                <c:pt idx="2309">
                  <c:v>-16.02786</c:v>
                </c:pt>
                <c:pt idx="2310">
                  <c:v>-16.032208000000001</c:v>
                </c:pt>
                <c:pt idx="2311">
                  <c:v>-16.036556999999998</c:v>
                </c:pt>
                <c:pt idx="2312">
                  <c:v>-16.040908000000002</c:v>
                </c:pt>
                <c:pt idx="2313">
                  <c:v>-16.045262000000001</c:v>
                </c:pt>
                <c:pt idx="2314">
                  <c:v>-16.049617999999999</c:v>
                </c:pt>
                <c:pt idx="2315">
                  <c:v>-16.053977</c:v>
                </c:pt>
                <c:pt idx="2316">
                  <c:v>-16.058337000000002</c:v>
                </c:pt>
                <c:pt idx="2317">
                  <c:v>-16.062698999999999</c:v>
                </c:pt>
                <c:pt idx="2318">
                  <c:v>-16.067064999999999</c:v>
                </c:pt>
                <c:pt idx="2319">
                  <c:v>-16.071429999999999</c:v>
                </c:pt>
                <c:pt idx="2320">
                  <c:v>-16.075800000000001</c:v>
                </c:pt>
                <c:pt idx="2321">
                  <c:v>-16.080171</c:v>
                </c:pt>
                <c:pt idx="2322">
                  <c:v>-16.084544999999999</c:v>
                </c:pt>
                <c:pt idx="2323">
                  <c:v>-16.088920000000002</c:v>
                </c:pt>
                <c:pt idx="2324">
                  <c:v>-16.093298999999998</c:v>
                </c:pt>
                <c:pt idx="2325">
                  <c:v>-16.09768</c:v>
                </c:pt>
                <c:pt idx="2326">
                  <c:v>-16.102063000000001</c:v>
                </c:pt>
                <c:pt idx="2327">
                  <c:v>-16.106448</c:v>
                </c:pt>
                <c:pt idx="2328">
                  <c:v>-16.110835000000002</c:v>
                </c:pt>
                <c:pt idx="2329">
                  <c:v>-16.115224999999999</c:v>
                </c:pt>
                <c:pt idx="2330">
                  <c:v>-16.119617000000002</c:v>
                </c:pt>
                <c:pt idx="2331">
                  <c:v>-16.124010999999999</c:v>
                </c:pt>
                <c:pt idx="2332">
                  <c:v>-16.128406999999999</c:v>
                </c:pt>
                <c:pt idx="2333">
                  <c:v>-16.132805000000001</c:v>
                </c:pt>
                <c:pt idx="2334">
                  <c:v>-16.137207</c:v>
                </c:pt>
                <c:pt idx="2335">
                  <c:v>-16.141608000000002</c:v>
                </c:pt>
                <c:pt idx="2336">
                  <c:v>-16.146014000000001</c:v>
                </c:pt>
                <c:pt idx="2337">
                  <c:v>-16.150421999999999</c:v>
                </c:pt>
                <c:pt idx="2338">
                  <c:v>-16.154831999999999</c:v>
                </c:pt>
                <c:pt idx="2339">
                  <c:v>-16.159244999999999</c:v>
                </c:pt>
                <c:pt idx="2340">
                  <c:v>-16.163658999999999</c:v>
                </c:pt>
                <c:pt idx="2341">
                  <c:v>-16.168075999999999</c:v>
                </c:pt>
                <c:pt idx="2342">
                  <c:v>-16.172495000000001</c:v>
                </c:pt>
                <c:pt idx="2343">
                  <c:v>-16.176915999999999</c:v>
                </c:pt>
                <c:pt idx="2344">
                  <c:v>-16.181339999999999</c:v>
                </c:pt>
                <c:pt idx="2345">
                  <c:v>-16.185766000000001</c:v>
                </c:pt>
                <c:pt idx="2346">
                  <c:v>-16.190194000000002</c:v>
                </c:pt>
                <c:pt idx="2347">
                  <c:v>-16.194624999999998</c:v>
                </c:pt>
                <c:pt idx="2348">
                  <c:v>-16.199057</c:v>
                </c:pt>
                <c:pt idx="2349">
                  <c:v>-16.203492000000001</c:v>
                </c:pt>
                <c:pt idx="2350">
                  <c:v>-16.207930999999999</c:v>
                </c:pt>
                <c:pt idx="2351">
                  <c:v>-16.212371999999998</c:v>
                </c:pt>
                <c:pt idx="2352">
                  <c:v>-16.216812000000001</c:v>
                </c:pt>
                <c:pt idx="2353">
                  <c:v>-16.221257999999999</c:v>
                </c:pt>
                <c:pt idx="2354">
                  <c:v>-16.225702999999999</c:v>
                </c:pt>
                <c:pt idx="2355">
                  <c:v>-16.230153000000001</c:v>
                </c:pt>
                <c:pt idx="2356">
                  <c:v>-16.234604000000001</c:v>
                </c:pt>
                <c:pt idx="2357">
                  <c:v>-16.239059000000001</c:v>
                </c:pt>
                <c:pt idx="2358">
                  <c:v>-16.243514999999999</c:v>
                </c:pt>
                <c:pt idx="2359">
                  <c:v>-16.247973000000002</c:v>
                </c:pt>
                <c:pt idx="2360">
                  <c:v>-16.252434999999998</c:v>
                </c:pt>
                <c:pt idx="2361">
                  <c:v>-16.256896999999999</c:v>
                </c:pt>
                <c:pt idx="2362">
                  <c:v>-16.261361999999998</c:v>
                </c:pt>
                <c:pt idx="2363">
                  <c:v>-16.265830999999999</c:v>
                </c:pt>
                <c:pt idx="2364">
                  <c:v>-16.270301</c:v>
                </c:pt>
                <c:pt idx="2365">
                  <c:v>-16.274773</c:v>
                </c:pt>
                <c:pt idx="2366">
                  <c:v>-16.279249</c:v>
                </c:pt>
                <c:pt idx="2367">
                  <c:v>-16.283723999999999</c:v>
                </c:pt>
                <c:pt idx="2368">
                  <c:v>-16.288205000000001</c:v>
                </c:pt>
                <c:pt idx="2369">
                  <c:v>-16.292686</c:v>
                </c:pt>
                <c:pt idx="2370">
                  <c:v>-16.297170999999999</c:v>
                </c:pt>
                <c:pt idx="2371">
                  <c:v>-16.301659000000001</c:v>
                </c:pt>
                <c:pt idx="2372">
                  <c:v>-16.306146999999999</c:v>
                </c:pt>
                <c:pt idx="2373">
                  <c:v>-16.310638999999998</c:v>
                </c:pt>
                <c:pt idx="2374">
                  <c:v>-16.315131000000001</c:v>
                </c:pt>
                <c:pt idx="2375">
                  <c:v>-16.319628999999999</c:v>
                </c:pt>
                <c:pt idx="2376">
                  <c:v>-16.324127000000001</c:v>
                </c:pt>
                <c:pt idx="2377">
                  <c:v>-16.328627999999998</c:v>
                </c:pt>
                <c:pt idx="2378">
                  <c:v>-16.333131000000002</c:v>
                </c:pt>
                <c:pt idx="2379">
                  <c:v>-16.337637000000001</c:v>
                </c:pt>
                <c:pt idx="2380">
                  <c:v>-16.342144999999999</c:v>
                </c:pt>
                <c:pt idx="2381">
                  <c:v>-16.346654999999998</c:v>
                </c:pt>
                <c:pt idx="2382">
                  <c:v>-16.351168000000001</c:v>
                </c:pt>
                <c:pt idx="2383">
                  <c:v>-16.355684</c:v>
                </c:pt>
                <c:pt idx="2384">
                  <c:v>-16.360201</c:v>
                </c:pt>
                <c:pt idx="2385">
                  <c:v>-16.364722</c:v>
                </c:pt>
                <c:pt idx="2386">
                  <c:v>-16.369243000000001</c:v>
                </c:pt>
                <c:pt idx="2387">
                  <c:v>-16.373768999999999</c:v>
                </c:pt>
                <c:pt idx="2388">
                  <c:v>-16.378295999999999</c:v>
                </c:pt>
                <c:pt idx="2389">
                  <c:v>-16.382826000000001</c:v>
                </c:pt>
                <c:pt idx="2390">
                  <c:v>-16.387357999999999</c:v>
                </c:pt>
                <c:pt idx="2391">
                  <c:v>-16.391891999999999</c:v>
                </c:pt>
                <c:pt idx="2392">
                  <c:v>-16.396428</c:v>
                </c:pt>
                <c:pt idx="2393">
                  <c:v>-16.400967999999999</c:v>
                </c:pt>
                <c:pt idx="2394">
                  <c:v>-16.405511000000001</c:v>
                </c:pt>
                <c:pt idx="2395">
                  <c:v>-16.410053999999999</c:v>
                </c:pt>
                <c:pt idx="2396">
                  <c:v>-16.414601000000001</c:v>
                </c:pt>
                <c:pt idx="2397">
                  <c:v>-16.419149999999998</c:v>
                </c:pt>
                <c:pt idx="2398">
                  <c:v>-16.423703</c:v>
                </c:pt>
                <c:pt idx="2399">
                  <c:v>-16.428255</c:v>
                </c:pt>
                <c:pt idx="2400">
                  <c:v>-16.432811999999998</c:v>
                </c:pt>
                <c:pt idx="2401">
                  <c:v>-16.437370999999999</c:v>
                </c:pt>
                <c:pt idx="2402">
                  <c:v>-16.441932000000001</c:v>
                </c:pt>
                <c:pt idx="2403">
                  <c:v>-16.446496</c:v>
                </c:pt>
                <c:pt idx="2404">
                  <c:v>-16.451063000000001</c:v>
                </c:pt>
                <c:pt idx="2405">
                  <c:v>-16.455629999999999</c:v>
                </c:pt>
                <c:pt idx="2406">
                  <c:v>-16.460201999999999</c:v>
                </c:pt>
                <c:pt idx="2407">
                  <c:v>-16.464776000000001</c:v>
                </c:pt>
                <c:pt idx="2408">
                  <c:v>-16.469351</c:v>
                </c:pt>
                <c:pt idx="2409">
                  <c:v>-16.473929999999999</c:v>
                </c:pt>
                <c:pt idx="2410">
                  <c:v>-16.47851</c:v>
                </c:pt>
                <c:pt idx="2411">
                  <c:v>-16.483093</c:v>
                </c:pt>
                <c:pt idx="2412">
                  <c:v>-16.487680000000001</c:v>
                </c:pt>
                <c:pt idx="2413">
                  <c:v>-16.492266999999998</c:v>
                </c:pt>
                <c:pt idx="2414">
                  <c:v>-16.496859000000001</c:v>
                </c:pt>
                <c:pt idx="2415">
                  <c:v>-16.501449999999998</c:v>
                </c:pt>
                <c:pt idx="2416">
                  <c:v>-16.506048</c:v>
                </c:pt>
                <c:pt idx="2417">
                  <c:v>-16.510646000000001</c:v>
                </c:pt>
                <c:pt idx="2418">
                  <c:v>-16.515246999999999</c:v>
                </c:pt>
                <c:pt idx="2419">
                  <c:v>-16.519849000000001</c:v>
                </c:pt>
                <c:pt idx="2420">
                  <c:v>-16.524456000000001</c:v>
                </c:pt>
                <c:pt idx="2421">
                  <c:v>-16.529064000000002</c:v>
                </c:pt>
                <c:pt idx="2422">
                  <c:v>-16.533674000000001</c:v>
                </c:pt>
                <c:pt idx="2423">
                  <c:v>-16.538287</c:v>
                </c:pt>
                <c:pt idx="2424">
                  <c:v>-16.542902999999999</c:v>
                </c:pt>
                <c:pt idx="2425">
                  <c:v>-16.547519999999999</c:v>
                </c:pt>
                <c:pt idx="2426">
                  <c:v>-16.552142</c:v>
                </c:pt>
                <c:pt idx="2427">
                  <c:v>-16.556764999999999</c:v>
                </c:pt>
                <c:pt idx="2428">
                  <c:v>-16.561392000000001</c:v>
                </c:pt>
                <c:pt idx="2429">
                  <c:v>-16.566019000000001</c:v>
                </c:pt>
                <c:pt idx="2430">
                  <c:v>-16.570651000000002</c:v>
                </c:pt>
                <c:pt idx="2431">
                  <c:v>-16.575282999999999</c:v>
                </c:pt>
                <c:pt idx="2432">
                  <c:v>-16.579920000000001</c:v>
                </c:pt>
                <c:pt idx="2433">
                  <c:v>-16.584558000000001</c:v>
                </c:pt>
                <c:pt idx="2434">
                  <c:v>-16.589199000000001</c:v>
                </c:pt>
                <c:pt idx="2435">
                  <c:v>-16.593841999999999</c:v>
                </c:pt>
                <c:pt idx="2436">
                  <c:v>-16.598489000000001</c:v>
                </c:pt>
                <c:pt idx="2437">
                  <c:v>-16.603137</c:v>
                </c:pt>
                <c:pt idx="2438">
                  <c:v>-16.607786999999998</c:v>
                </c:pt>
                <c:pt idx="2439">
                  <c:v>-16.612442000000001</c:v>
                </c:pt>
                <c:pt idx="2440">
                  <c:v>-16.617097000000001</c:v>
                </c:pt>
                <c:pt idx="2441">
                  <c:v>-16.621758</c:v>
                </c:pt>
                <c:pt idx="2442">
                  <c:v>-16.626417</c:v>
                </c:pt>
                <c:pt idx="2443">
                  <c:v>-16.631083</c:v>
                </c:pt>
                <c:pt idx="2444">
                  <c:v>-16.635749000000001</c:v>
                </c:pt>
                <c:pt idx="2445">
                  <c:v>-16.640416999999999</c:v>
                </c:pt>
                <c:pt idx="2446">
                  <c:v>-16.645088999999999</c:v>
                </c:pt>
                <c:pt idx="2447">
                  <c:v>-16.649761999999999</c:v>
                </c:pt>
                <c:pt idx="2448">
                  <c:v>-16.654439</c:v>
                </c:pt>
                <c:pt idx="2449">
                  <c:v>-16.659117999999999</c:v>
                </c:pt>
                <c:pt idx="2450">
                  <c:v>-16.663800999999999</c:v>
                </c:pt>
                <c:pt idx="2451">
                  <c:v>-16.668483999999999</c:v>
                </c:pt>
                <c:pt idx="2452">
                  <c:v>-16.673172999999998</c:v>
                </c:pt>
                <c:pt idx="2453">
                  <c:v>-16.677861</c:v>
                </c:pt>
                <c:pt idx="2454">
                  <c:v>-16.682552999999999</c:v>
                </c:pt>
                <c:pt idx="2455">
                  <c:v>-16.687249000000001</c:v>
                </c:pt>
                <c:pt idx="2456">
                  <c:v>-16.691945</c:v>
                </c:pt>
                <c:pt idx="2457">
                  <c:v>-16.696646000000001</c:v>
                </c:pt>
                <c:pt idx="2458">
                  <c:v>-16.701347999999999</c:v>
                </c:pt>
                <c:pt idx="2459">
                  <c:v>-16.706053000000001</c:v>
                </c:pt>
                <c:pt idx="2460">
                  <c:v>-16.710760000000001</c:v>
                </c:pt>
                <c:pt idx="2461">
                  <c:v>-16.715471000000001</c:v>
                </c:pt>
                <c:pt idx="2462">
                  <c:v>-16.720182999999999</c:v>
                </c:pt>
                <c:pt idx="2463">
                  <c:v>-16.724899000000001</c:v>
                </c:pt>
                <c:pt idx="2464">
                  <c:v>-16.729619</c:v>
                </c:pt>
                <c:pt idx="2465">
                  <c:v>-16.734338000000001</c:v>
                </c:pt>
                <c:pt idx="2466">
                  <c:v>-16.739061</c:v>
                </c:pt>
                <c:pt idx="2467">
                  <c:v>-16.743787999999999</c:v>
                </c:pt>
                <c:pt idx="2468">
                  <c:v>-16.748517</c:v>
                </c:pt>
                <c:pt idx="2469">
                  <c:v>-16.753247999999999</c:v>
                </c:pt>
                <c:pt idx="2470">
                  <c:v>-16.757981000000001</c:v>
                </c:pt>
                <c:pt idx="2471">
                  <c:v>-16.762719000000001</c:v>
                </c:pt>
                <c:pt idx="2472">
                  <c:v>-16.767457</c:v>
                </c:pt>
                <c:pt idx="2473">
                  <c:v>-16.772199000000001</c:v>
                </c:pt>
                <c:pt idx="2474">
                  <c:v>-16.776944</c:v>
                </c:pt>
                <c:pt idx="2475">
                  <c:v>-16.781692</c:v>
                </c:pt>
                <c:pt idx="2476">
                  <c:v>-16.786439999999999</c:v>
                </c:pt>
                <c:pt idx="2477">
                  <c:v>-16.791191999999999</c:v>
                </c:pt>
                <c:pt idx="2478">
                  <c:v>-16.795947999999999</c:v>
                </c:pt>
                <c:pt idx="2479">
                  <c:v>-16.800706000000002</c:v>
                </c:pt>
                <c:pt idx="2480">
                  <c:v>-16.805465999999999</c:v>
                </c:pt>
                <c:pt idx="2481">
                  <c:v>-16.810229</c:v>
                </c:pt>
                <c:pt idx="2482">
                  <c:v>-16.814996000000001</c:v>
                </c:pt>
                <c:pt idx="2483">
                  <c:v>-16.819763999999999</c:v>
                </c:pt>
                <c:pt idx="2484">
                  <c:v>-16.824535000000001</c:v>
                </c:pt>
                <c:pt idx="2485">
                  <c:v>-16.829308999999999</c:v>
                </c:pt>
                <c:pt idx="2486">
                  <c:v>-16.834085000000002</c:v>
                </c:pt>
                <c:pt idx="2487">
                  <c:v>-16.838864999999998</c:v>
                </c:pt>
                <c:pt idx="2488">
                  <c:v>-16.843647000000001</c:v>
                </c:pt>
                <c:pt idx="2489">
                  <c:v>-16.848431000000001</c:v>
                </c:pt>
                <c:pt idx="2490">
                  <c:v>-16.853217999999998</c:v>
                </c:pt>
                <c:pt idx="2491">
                  <c:v>-16.858006</c:v>
                </c:pt>
                <c:pt idx="2492">
                  <c:v>-16.862801000000001</c:v>
                </c:pt>
                <c:pt idx="2493">
                  <c:v>-16.867595000000001</c:v>
                </c:pt>
                <c:pt idx="2494">
                  <c:v>-16.872394</c:v>
                </c:pt>
                <c:pt idx="2495">
                  <c:v>-16.877193999999999</c:v>
                </c:pt>
                <c:pt idx="2496">
                  <c:v>-16.881999</c:v>
                </c:pt>
                <c:pt idx="2497">
                  <c:v>-16.886806</c:v>
                </c:pt>
                <c:pt idx="2498">
                  <c:v>-16.891614000000001</c:v>
                </c:pt>
                <c:pt idx="2499">
                  <c:v>-16.896425000000001</c:v>
                </c:pt>
                <c:pt idx="2500">
                  <c:v>-16.901240000000001</c:v>
                </c:pt>
                <c:pt idx="2501">
                  <c:v>-16.906057000000001</c:v>
                </c:pt>
                <c:pt idx="2502">
                  <c:v>-16.910875999999998</c:v>
                </c:pt>
                <c:pt idx="2503">
                  <c:v>-16.915699</c:v>
                </c:pt>
                <c:pt idx="2504">
                  <c:v>-16.920525999999999</c:v>
                </c:pt>
                <c:pt idx="2505">
                  <c:v>-16.925353000000001</c:v>
                </c:pt>
                <c:pt idx="2506">
                  <c:v>-16.930184000000001</c:v>
                </c:pt>
                <c:pt idx="2507">
                  <c:v>-16.935016999999998</c:v>
                </c:pt>
                <c:pt idx="2508">
                  <c:v>-16.939854</c:v>
                </c:pt>
                <c:pt idx="2509">
                  <c:v>-16.944690999999999</c:v>
                </c:pt>
                <c:pt idx="2510">
                  <c:v>-16.949532999999999</c:v>
                </c:pt>
                <c:pt idx="2511">
                  <c:v>-16.954378999999999</c:v>
                </c:pt>
                <c:pt idx="2512">
                  <c:v>-16.959223999999999</c:v>
                </c:pt>
                <c:pt idx="2513">
                  <c:v>-16.964075999999999</c:v>
                </c:pt>
                <c:pt idx="2514">
                  <c:v>-16.968928999999999</c:v>
                </c:pt>
                <c:pt idx="2515">
                  <c:v>-16.973784999999999</c:v>
                </c:pt>
                <c:pt idx="2516">
                  <c:v>-16.978642000000001</c:v>
                </c:pt>
                <c:pt idx="2517">
                  <c:v>-16.983505000000001</c:v>
                </c:pt>
                <c:pt idx="2518">
                  <c:v>-16.988368999999999</c:v>
                </c:pt>
                <c:pt idx="2519">
                  <c:v>-16.993234999999999</c:v>
                </c:pt>
                <c:pt idx="2520">
                  <c:v>-16.998104999999999</c:v>
                </c:pt>
                <c:pt idx="2521">
                  <c:v>-17.002977000000001</c:v>
                </c:pt>
                <c:pt idx="2522">
                  <c:v>-17.007852</c:v>
                </c:pt>
                <c:pt idx="2523">
                  <c:v>-17.012730000000001</c:v>
                </c:pt>
                <c:pt idx="2524">
                  <c:v>-17.017610999999999</c:v>
                </c:pt>
                <c:pt idx="2525">
                  <c:v>-17.022493999999998</c:v>
                </c:pt>
                <c:pt idx="2526">
                  <c:v>-17.027380000000001</c:v>
                </c:pt>
                <c:pt idx="2527">
                  <c:v>-17.03227</c:v>
                </c:pt>
                <c:pt idx="2528">
                  <c:v>-17.037161999999999</c:v>
                </c:pt>
                <c:pt idx="2529">
                  <c:v>-17.042055999999999</c:v>
                </c:pt>
                <c:pt idx="2530">
                  <c:v>-17.046953999999999</c:v>
                </c:pt>
                <c:pt idx="2531">
                  <c:v>-17.051853999999999</c:v>
                </c:pt>
                <c:pt idx="2532">
                  <c:v>-17.056757000000001</c:v>
                </c:pt>
                <c:pt idx="2533">
                  <c:v>-17.061664</c:v>
                </c:pt>
                <c:pt idx="2534">
                  <c:v>-17.066572000000001</c:v>
                </c:pt>
                <c:pt idx="2535">
                  <c:v>-17.071484999999999</c:v>
                </c:pt>
                <c:pt idx="2536">
                  <c:v>-17.076401000000001</c:v>
                </c:pt>
                <c:pt idx="2537">
                  <c:v>-17.081318</c:v>
                </c:pt>
                <c:pt idx="2538">
                  <c:v>-17.086238000000002</c:v>
                </c:pt>
                <c:pt idx="2539">
                  <c:v>-17.091161</c:v>
                </c:pt>
                <c:pt idx="2540">
                  <c:v>-17.096087000000001</c:v>
                </c:pt>
                <c:pt idx="2541">
                  <c:v>-17.101016000000001</c:v>
                </c:pt>
                <c:pt idx="2542">
                  <c:v>-17.105947</c:v>
                </c:pt>
                <c:pt idx="2543">
                  <c:v>-17.110882</c:v>
                </c:pt>
                <c:pt idx="2544">
                  <c:v>-17.115821</c:v>
                </c:pt>
                <c:pt idx="2545">
                  <c:v>-17.120759</c:v>
                </c:pt>
                <c:pt idx="2546">
                  <c:v>-17.125703000000001</c:v>
                </c:pt>
                <c:pt idx="2547">
                  <c:v>-17.130648000000001</c:v>
                </c:pt>
                <c:pt idx="2548">
                  <c:v>-17.135598000000002</c:v>
                </c:pt>
                <c:pt idx="2549">
                  <c:v>-17.140549</c:v>
                </c:pt>
                <c:pt idx="2550">
                  <c:v>-17.145503999999999</c:v>
                </c:pt>
                <c:pt idx="2551">
                  <c:v>-17.150462000000001</c:v>
                </c:pt>
                <c:pt idx="2552">
                  <c:v>-17.155422999999999</c:v>
                </c:pt>
                <c:pt idx="2553">
                  <c:v>-17.160387</c:v>
                </c:pt>
                <c:pt idx="2554">
                  <c:v>-17.165351999999999</c:v>
                </c:pt>
                <c:pt idx="2555">
                  <c:v>-17.170323</c:v>
                </c:pt>
                <c:pt idx="2556">
                  <c:v>-17.175294999999998</c:v>
                </c:pt>
                <c:pt idx="2557">
                  <c:v>-17.180271000000001</c:v>
                </c:pt>
                <c:pt idx="2558">
                  <c:v>-17.185245999999999</c:v>
                </c:pt>
                <c:pt idx="2559">
                  <c:v>-17.190228000000001</c:v>
                </c:pt>
                <c:pt idx="2560">
                  <c:v>-17.195212000000001</c:v>
                </c:pt>
                <c:pt idx="2561">
                  <c:v>-17.200199000000001</c:v>
                </c:pt>
                <c:pt idx="2562">
                  <c:v>-17.205188</c:v>
                </c:pt>
                <c:pt idx="2563">
                  <c:v>-17.210182</c:v>
                </c:pt>
                <c:pt idx="2564">
                  <c:v>-17.215176</c:v>
                </c:pt>
                <c:pt idx="2565">
                  <c:v>-17.220175999999999</c:v>
                </c:pt>
                <c:pt idx="2566">
                  <c:v>-17.225176999999999</c:v>
                </c:pt>
                <c:pt idx="2567">
                  <c:v>-17.230179</c:v>
                </c:pt>
                <c:pt idx="2568">
                  <c:v>-17.235187</c:v>
                </c:pt>
                <c:pt idx="2569">
                  <c:v>-17.240199</c:v>
                </c:pt>
                <c:pt idx="2570">
                  <c:v>-17.245211999999999</c:v>
                </c:pt>
                <c:pt idx="2571">
                  <c:v>-17.250228</c:v>
                </c:pt>
                <c:pt idx="2572">
                  <c:v>-17.255247000000001</c:v>
                </c:pt>
                <c:pt idx="2573">
                  <c:v>-17.260269999999998</c:v>
                </c:pt>
                <c:pt idx="2574">
                  <c:v>-17.265294000000001</c:v>
                </c:pt>
                <c:pt idx="2575">
                  <c:v>-17.270323000000001</c:v>
                </c:pt>
                <c:pt idx="2576">
                  <c:v>-17.275354</c:v>
                </c:pt>
                <c:pt idx="2577">
                  <c:v>-17.280387000000001</c:v>
                </c:pt>
                <c:pt idx="2578">
                  <c:v>-17.285426000000001</c:v>
                </c:pt>
                <c:pt idx="2579">
                  <c:v>-17.290465000000001</c:v>
                </c:pt>
                <c:pt idx="2580">
                  <c:v>-17.295507000000001</c:v>
                </c:pt>
                <c:pt idx="2581">
                  <c:v>-17.300554000000002</c:v>
                </c:pt>
                <c:pt idx="2582">
                  <c:v>-17.305602</c:v>
                </c:pt>
                <c:pt idx="2583">
                  <c:v>-17.310654</c:v>
                </c:pt>
                <c:pt idx="2584">
                  <c:v>-17.315709999999999</c:v>
                </c:pt>
                <c:pt idx="2585">
                  <c:v>-17.320768000000001</c:v>
                </c:pt>
                <c:pt idx="2586">
                  <c:v>-17.325828999999999</c:v>
                </c:pt>
                <c:pt idx="2587">
                  <c:v>-17.330891999999999</c:v>
                </c:pt>
                <c:pt idx="2588">
                  <c:v>-17.335961000000001</c:v>
                </c:pt>
                <c:pt idx="2589">
                  <c:v>-17.341031000000001</c:v>
                </c:pt>
                <c:pt idx="2590">
                  <c:v>-17.346104</c:v>
                </c:pt>
                <c:pt idx="2591">
                  <c:v>-17.351179999999999</c:v>
                </c:pt>
                <c:pt idx="2592">
                  <c:v>-17.356258</c:v>
                </c:pt>
                <c:pt idx="2593">
                  <c:v>-17.361339999999998</c:v>
                </c:pt>
                <c:pt idx="2594">
                  <c:v>-17.366426000000001</c:v>
                </c:pt>
                <c:pt idx="2595">
                  <c:v>-17.371514999999999</c:v>
                </c:pt>
                <c:pt idx="2596">
                  <c:v>-17.376605999999999</c:v>
                </c:pt>
                <c:pt idx="2597">
                  <c:v>-17.381699999999999</c:v>
                </c:pt>
                <c:pt idx="2598">
                  <c:v>-17.386797999999999</c:v>
                </c:pt>
                <c:pt idx="2599">
                  <c:v>-17.391898999999999</c:v>
                </c:pt>
                <c:pt idx="2600">
                  <c:v>-17.397003999999999</c:v>
                </c:pt>
                <c:pt idx="2601">
                  <c:v>-17.402108999999999</c:v>
                </c:pt>
                <c:pt idx="2602">
                  <c:v>-17.407219000000001</c:v>
                </c:pt>
                <c:pt idx="2603">
                  <c:v>-17.412330999999998</c:v>
                </c:pt>
                <c:pt idx="2604">
                  <c:v>-17.417446999999999</c:v>
                </c:pt>
                <c:pt idx="2605">
                  <c:v>-17.422567999999998</c:v>
                </c:pt>
                <c:pt idx="2606">
                  <c:v>-17.427689000000001</c:v>
                </c:pt>
                <c:pt idx="2607">
                  <c:v>-17.432815000000002</c:v>
                </c:pt>
                <c:pt idx="2608">
                  <c:v>-17.437942</c:v>
                </c:pt>
                <c:pt idx="2609">
                  <c:v>-17.443072999999998</c:v>
                </c:pt>
                <c:pt idx="2610">
                  <c:v>-17.448208999999999</c:v>
                </c:pt>
                <c:pt idx="2611">
                  <c:v>-17.453346</c:v>
                </c:pt>
                <c:pt idx="2612">
                  <c:v>-17.458487000000002</c:v>
                </c:pt>
                <c:pt idx="2613">
                  <c:v>-17.463630999999999</c:v>
                </c:pt>
                <c:pt idx="2614">
                  <c:v>-17.468778</c:v>
                </c:pt>
                <c:pt idx="2615">
                  <c:v>-17.473928000000001</c:v>
                </c:pt>
                <c:pt idx="2616">
                  <c:v>-17.479081000000001</c:v>
                </c:pt>
                <c:pt idx="2617">
                  <c:v>-17.484237</c:v>
                </c:pt>
                <c:pt idx="2618">
                  <c:v>-17.489395999999999</c:v>
                </c:pt>
                <c:pt idx="2619">
                  <c:v>-17.494558999999999</c:v>
                </c:pt>
                <c:pt idx="2620">
                  <c:v>-17.499724000000001</c:v>
                </c:pt>
                <c:pt idx="2621">
                  <c:v>-17.504894</c:v>
                </c:pt>
                <c:pt idx="2622">
                  <c:v>-17.510065000000001</c:v>
                </c:pt>
                <c:pt idx="2623">
                  <c:v>-17.515242000000001</c:v>
                </c:pt>
                <c:pt idx="2624">
                  <c:v>-17.520419</c:v>
                </c:pt>
                <c:pt idx="2625">
                  <c:v>-17.525601000000002</c:v>
                </c:pt>
                <c:pt idx="2626">
                  <c:v>-17.530785999999999</c:v>
                </c:pt>
                <c:pt idx="2627">
                  <c:v>-17.535972999999998</c:v>
                </c:pt>
                <c:pt idx="2628">
                  <c:v>-17.541163999999998</c:v>
                </c:pt>
                <c:pt idx="2629">
                  <c:v>-17.546358000000001</c:v>
                </c:pt>
                <c:pt idx="2630">
                  <c:v>-17.551556000000001</c:v>
                </c:pt>
                <c:pt idx="2631">
                  <c:v>-17.556754999999999</c:v>
                </c:pt>
                <c:pt idx="2632">
                  <c:v>-17.561959999999999</c:v>
                </c:pt>
                <c:pt idx="2633">
                  <c:v>-17.567166</c:v>
                </c:pt>
                <c:pt idx="2634">
                  <c:v>-17.572376999999999</c:v>
                </c:pt>
                <c:pt idx="2635">
                  <c:v>-17.577590000000001</c:v>
                </c:pt>
                <c:pt idx="2636">
                  <c:v>-17.582806999999999</c:v>
                </c:pt>
                <c:pt idx="2637">
                  <c:v>-17.588028000000001</c:v>
                </c:pt>
                <c:pt idx="2638">
                  <c:v>-17.593250000000001</c:v>
                </c:pt>
                <c:pt idx="2639">
                  <c:v>-17.598475000000001</c:v>
                </c:pt>
                <c:pt idx="2640">
                  <c:v>-17.603705000000001</c:v>
                </c:pt>
                <c:pt idx="2641">
                  <c:v>-17.608937999999998</c:v>
                </c:pt>
                <c:pt idx="2642">
                  <c:v>-17.614173999999998</c:v>
                </c:pt>
                <c:pt idx="2643">
                  <c:v>-17.619413000000002</c:v>
                </c:pt>
                <c:pt idx="2644">
                  <c:v>-17.624655000000001</c:v>
                </c:pt>
                <c:pt idx="2645">
                  <c:v>-17.629901</c:v>
                </c:pt>
                <c:pt idx="2646">
                  <c:v>-17.635149999999999</c:v>
                </c:pt>
                <c:pt idx="2647">
                  <c:v>-17.640401000000001</c:v>
                </c:pt>
                <c:pt idx="2648">
                  <c:v>-17.645657</c:v>
                </c:pt>
                <c:pt idx="2649">
                  <c:v>-17.650914</c:v>
                </c:pt>
                <c:pt idx="2650">
                  <c:v>-17.656175999999999</c:v>
                </c:pt>
                <c:pt idx="2651">
                  <c:v>-17.661442000000001</c:v>
                </c:pt>
                <c:pt idx="2652">
                  <c:v>-17.666709999999998</c:v>
                </c:pt>
                <c:pt idx="2653">
                  <c:v>-17.671980000000001</c:v>
                </c:pt>
                <c:pt idx="2654">
                  <c:v>-17.677256</c:v>
                </c:pt>
                <c:pt idx="2655">
                  <c:v>-17.682534</c:v>
                </c:pt>
                <c:pt idx="2656">
                  <c:v>-17.687816000000002</c:v>
                </c:pt>
                <c:pt idx="2657">
                  <c:v>-17.693100999999999</c:v>
                </c:pt>
                <c:pt idx="2658">
                  <c:v>-17.698388999999999</c:v>
                </c:pt>
                <c:pt idx="2659">
                  <c:v>-17.703679999999999</c:v>
                </c:pt>
                <c:pt idx="2660">
                  <c:v>-17.708974999999999</c:v>
                </c:pt>
                <c:pt idx="2661">
                  <c:v>-17.714272000000001</c:v>
                </c:pt>
                <c:pt idx="2662">
                  <c:v>-17.719573</c:v>
                </c:pt>
                <c:pt idx="2663">
                  <c:v>-17.724879000000001</c:v>
                </c:pt>
                <c:pt idx="2664">
                  <c:v>-17.730184999999999</c:v>
                </c:pt>
                <c:pt idx="2665">
                  <c:v>-17.735498</c:v>
                </c:pt>
                <c:pt idx="2666">
                  <c:v>-17.740811999999998</c:v>
                </c:pt>
                <c:pt idx="2667">
                  <c:v>-17.746129</c:v>
                </c:pt>
                <c:pt idx="2668">
                  <c:v>-17.751452</c:v>
                </c:pt>
                <c:pt idx="2669">
                  <c:v>-17.756775999999999</c:v>
                </c:pt>
                <c:pt idx="2670">
                  <c:v>-17.762101999999999</c:v>
                </c:pt>
                <c:pt idx="2671">
                  <c:v>-17.767434000000002</c:v>
                </c:pt>
                <c:pt idx="2672">
                  <c:v>-17.772769</c:v>
                </c:pt>
                <c:pt idx="2673">
                  <c:v>-17.778106999999999</c:v>
                </c:pt>
                <c:pt idx="2674">
                  <c:v>-17.783448</c:v>
                </c:pt>
                <c:pt idx="2675">
                  <c:v>-17.788793999999999</c:v>
                </c:pt>
                <c:pt idx="2676">
                  <c:v>-17.794141</c:v>
                </c:pt>
                <c:pt idx="2677">
                  <c:v>-17.799492000000001</c:v>
                </c:pt>
                <c:pt idx="2678">
                  <c:v>-17.804846999999999</c:v>
                </c:pt>
                <c:pt idx="2679">
                  <c:v>-17.810205</c:v>
                </c:pt>
                <c:pt idx="2680">
                  <c:v>-17.815567000000001</c:v>
                </c:pt>
                <c:pt idx="2681">
                  <c:v>-17.820931000000002</c:v>
                </c:pt>
                <c:pt idx="2682">
                  <c:v>-17.8263</c:v>
                </c:pt>
                <c:pt idx="2683">
                  <c:v>-17.831672000000001</c:v>
                </c:pt>
                <c:pt idx="2684">
                  <c:v>-17.837046999999998</c:v>
                </c:pt>
                <c:pt idx="2685">
                  <c:v>-17.842424999999999</c:v>
                </c:pt>
                <c:pt idx="2686">
                  <c:v>-17.847807</c:v>
                </c:pt>
                <c:pt idx="2687">
                  <c:v>-17.853192</c:v>
                </c:pt>
                <c:pt idx="2688">
                  <c:v>-17.85858</c:v>
                </c:pt>
                <c:pt idx="2689">
                  <c:v>-17.863973000000001</c:v>
                </c:pt>
                <c:pt idx="2690">
                  <c:v>-17.869368000000001</c:v>
                </c:pt>
                <c:pt idx="2691">
                  <c:v>-17.874768</c:v>
                </c:pt>
                <c:pt idx="2692">
                  <c:v>-17.880171000000001</c:v>
                </c:pt>
                <c:pt idx="2693">
                  <c:v>-17.885576</c:v>
                </c:pt>
                <c:pt idx="2694">
                  <c:v>-17.890986999999999</c:v>
                </c:pt>
                <c:pt idx="2695">
                  <c:v>-17.896398999999999</c:v>
                </c:pt>
                <c:pt idx="2696">
                  <c:v>-17.901814999999999</c:v>
                </c:pt>
                <c:pt idx="2697">
                  <c:v>-17.907233999999999</c:v>
                </c:pt>
                <c:pt idx="2698">
                  <c:v>-17.912656999999999</c:v>
                </c:pt>
                <c:pt idx="2699">
                  <c:v>-17.918085000000001</c:v>
                </c:pt>
                <c:pt idx="2700">
                  <c:v>-17.923513</c:v>
                </c:pt>
                <c:pt idx="2701">
                  <c:v>-17.928947000000001</c:v>
                </c:pt>
                <c:pt idx="2702">
                  <c:v>-17.934386</c:v>
                </c:pt>
                <c:pt idx="2703">
                  <c:v>-17.939824999999999</c:v>
                </c:pt>
                <c:pt idx="2704">
                  <c:v>-17.945270000000001</c:v>
                </c:pt>
                <c:pt idx="2705">
                  <c:v>-17.950717000000001</c:v>
                </c:pt>
                <c:pt idx="2706">
                  <c:v>-17.956168000000002</c:v>
                </c:pt>
                <c:pt idx="2707">
                  <c:v>-17.961622999999999</c:v>
                </c:pt>
                <c:pt idx="2708">
                  <c:v>-17.967081</c:v>
                </c:pt>
                <c:pt idx="2709">
                  <c:v>-17.972542000000001</c:v>
                </c:pt>
                <c:pt idx="2710">
                  <c:v>-17.978007000000002</c:v>
                </c:pt>
                <c:pt idx="2711">
                  <c:v>-17.983474999999999</c:v>
                </c:pt>
                <c:pt idx="2712">
                  <c:v>-17.988947</c:v>
                </c:pt>
                <c:pt idx="2713">
                  <c:v>-17.994423999999999</c:v>
                </c:pt>
                <c:pt idx="2714">
                  <c:v>-17.999903</c:v>
                </c:pt>
                <c:pt idx="2715">
                  <c:v>-18.005385</c:v>
                </c:pt>
                <c:pt idx="2716">
                  <c:v>-18.010871999999999</c:v>
                </c:pt>
                <c:pt idx="2717">
                  <c:v>-18.016362999999998</c:v>
                </c:pt>
                <c:pt idx="2718">
                  <c:v>-18.021854999999999</c:v>
                </c:pt>
                <c:pt idx="2719">
                  <c:v>-18.027350999999999</c:v>
                </c:pt>
                <c:pt idx="2720">
                  <c:v>-18.032852999999999</c:v>
                </c:pt>
                <c:pt idx="2721">
                  <c:v>-18.038356</c:v>
                </c:pt>
                <c:pt idx="2722">
                  <c:v>-18.043865</c:v>
                </c:pt>
                <c:pt idx="2723">
                  <c:v>-18.049375000000001</c:v>
                </c:pt>
                <c:pt idx="2724">
                  <c:v>-18.054888999999999</c:v>
                </c:pt>
                <c:pt idx="2725">
                  <c:v>-18.060407999999999</c:v>
                </c:pt>
                <c:pt idx="2726">
                  <c:v>-18.065929000000001</c:v>
                </c:pt>
                <c:pt idx="2727">
                  <c:v>-18.071456000000001</c:v>
                </c:pt>
                <c:pt idx="2728">
                  <c:v>-18.076985000000001</c:v>
                </c:pt>
                <c:pt idx="2729">
                  <c:v>-18.082516999999999</c:v>
                </c:pt>
                <c:pt idx="2730">
                  <c:v>-18.088052999999999</c:v>
                </c:pt>
                <c:pt idx="2731">
                  <c:v>-18.093595000000001</c:v>
                </c:pt>
                <c:pt idx="2732">
                  <c:v>-18.099136999999999</c:v>
                </c:pt>
                <c:pt idx="2733">
                  <c:v>-18.104683999999999</c:v>
                </c:pt>
                <c:pt idx="2734">
                  <c:v>-18.110236</c:v>
                </c:pt>
                <c:pt idx="2735">
                  <c:v>-18.115790000000001</c:v>
                </c:pt>
                <c:pt idx="2736">
                  <c:v>-18.121348000000001</c:v>
                </c:pt>
                <c:pt idx="2737">
                  <c:v>-18.126909999999999</c:v>
                </c:pt>
                <c:pt idx="2738">
                  <c:v>-18.132474999999999</c:v>
                </c:pt>
                <c:pt idx="2739">
                  <c:v>-18.138045000000002</c:v>
                </c:pt>
                <c:pt idx="2740">
                  <c:v>-18.143616999999999</c:v>
                </c:pt>
                <c:pt idx="2741">
                  <c:v>-18.149194000000001</c:v>
                </c:pt>
                <c:pt idx="2742">
                  <c:v>-18.154774</c:v>
                </c:pt>
                <c:pt idx="2743">
                  <c:v>-18.160357999999999</c:v>
                </c:pt>
                <c:pt idx="2744">
                  <c:v>-18.165945000000001</c:v>
                </c:pt>
                <c:pt idx="2745">
                  <c:v>-18.171537000000001</c:v>
                </c:pt>
                <c:pt idx="2746">
                  <c:v>-18.177129999999998</c:v>
                </c:pt>
                <c:pt idx="2747">
                  <c:v>-18.182729999999999</c:v>
                </c:pt>
                <c:pt idx="2748">
                  <c:v>-18.188331000000002</c:v>
                </c:pt>
                <c:pt idx="2749">
                  <c:v>-18.193937999999999</c:v>
                </c:pt>
                <c:pt idx="2750">
                  <c:v>-18.199546999999999</c:v>
                </c:pt>
                <c:pt idx="2751">
                  <c:v>-18.205159999999999</c:v>
                </c:pt>
                <c:pt idx="2752">
                  <c:v>-18.210778000000001</c:v>
                </c:pt>
                <c:pt idx="2753">
                  <c:v>-18.216398000000002</c:v>
                </c:pt>
                <c:pt idx="2754">
                  <c:v>-18.222021999999999</c:v>
                </c:pt>
                <c:pt idx="2755">
                  <c:v>-18.227650000000001</c:v>
                </c:pt>
                <c:pt idx="2756">
                  <c:v>-18.233283</c:v>
                </c:pt>
                <c:pt idx="2757">
                  <c:v>-18.238918000000002</c:v>
                </c:pt>
                <c:pt idx="2758">
                  <c:v>-18.244558000000001</c:v>
                </c:pt>
                <c:pt idx="2759">
                  <c:v>-18.2502</c:v>
                </c:pt>
                <c:pt idx="2760">
                  <c:v>-18.255848</c:v>
                </c:pt>
                <c:pt idx="2761">
                  <c:v>-18.261499000000001</c:v>
                </c:pt>
                <c:pt idx="2762">
                  <c:v>-18.267151999999999</c:v>
                </c:pt>
                <c:pt idx="2763">
                  <c:v>-18.272811000000001</c:v>
                </c:pt>
                <c:pt idx="2764">
                  <c:v>-18.278473999999999</c:v>
                </c:pt>
                <c:pt idx="2765">
                  <c:v>-18.284139</c:v>
                </c:pt>
                <c:pt idx="2766">
                  <c:v>-18.289809000000002</c:v>
                </c:pt>
                <c:pt idx="2767">
                  <c:v>-18.295482</c:v>
                </c:pt>
                <c:pt idx="2768">
                  <c:v>-18.301159999999999</c:v>
                </c:pt>
                <c:pt idx="2769">
                  <c:v>-18.306839</c:v>
                </c:pt>
                <c:pt idx="2770">
                  <c:v>-18.312525000000001</c:v>
                </c:pt>
                <c:pt idx="2771">
                  <c:v>-18.318214000000001</c:v>
                </c:pt>
                <c:pt idx="2772">
                  <c:v>-18.323906000000001</c:v>
                </c:pt>
                <c:pt idx="2773">
                  <c:v>-18.329602999999999</c:v>
                </c:pt>
                <c:pt idx="2774">
                  <c:v>-18.335301999999999</c:v>
                </c:pt>
                <c:pt idx="2775">
                  <c:v>-18.341006</c:v>
                </c:pt>
                <c:pt idx="2776">
                  <c:v>-18.346713999999999</c:v>
                </c:pt>
                <c:pt idx="2777">
                  <c:v>-18.352426000000001</c:v>
                </c:pt>
                <c:pt idx="2778">
                  <c:v>-18.358139999999999</c:v>
                </c:pt>
                <c:pt idx="2779">
                  <c:v>-18.363859000000001</c:v>
                </c:pt>
                <c:pt idx="2780">
                  <c:v>-18.369582000000001</c:v>
                </c:pt>
                <c:pt idx="2781">
                  <c:v>-18.375309000000001</c:v>
                </c:pt>
                <c:pt idx="2782">
                  <c:v>-18.381039999999999</c:v>
                </c:pt>
                <c:pt idx="2783">
                  <c:v>-18.386775</c:v>
                </c:pt>
                <c:pt idx="2784">
                  <c:v>-18.392513000000001</c:v>
                </c:pt>
                <c:pt idx="2785">
                  <c:v>-18.398257000000001</c:v>
                </c:pt>
                <c:pt idx="2786">
                  <c:v>-18.404001999999998</c:v>
                </c:pt>
                <c:pt idx="2787">
                  <c:v>-18.409754</c:v>
                </c:pt>
                <c:pt idx="2788">
                  <c:v>-18.415507000000002</c:v>
                </c:pt>
                <c:pt idx="2789">
                  <c:v>-18.421264999999998</c:v>
                </c:pt>
                <c:pt idx="2790">
                  <c:v>-18.427028</c:v>
                </c:pt>
                <c:pt idx="2791">
                  <c:v>-18.432793</c:v>
                </c:pt>
                <c:pt idx="2792">
                  <c:v>-18.438562000000001</c:v>
                </c:pt>
                <c:pt idx="2793">
                  <c:v>-18.444337000000001</c:v>
                </c:pt>
                <c:pt idx="2794">
                  <c:v>-18.450115</c:v>
                </c:pt>
                <c:pt idx="2795">
                  <c:v>-18.455895999999999</c:v>
                </c:pt>
                <c:pt idx="2796">
                  <c:v>-18.461680999999999</c:v>
                </c:pt>
                <c:pt idx="2797">
                  <c:v>-18.467471</c:v>
                </c:pt>
                <c:pt idx="2798">
                  <c:v>-18.473262999999999</c:v>
                </c:pt>
                <c:pt idx="2799">
                  <c:v>-18.479061000000002</c:v>
                </c:pt>
                <c:pt idx="2800">
                  <c:v>-18.484862</c:v>
                </c:pt>
                <c:pt idx="2801">
                  <c:v>-18.490669</c:v>
                </c:pt>
                <c:pt idx="2802">
                  <c:v>-18.496478</c:v>
                </c:pt>
                <c:pt idx="2803">
                  <c:v>-18.502289999999999</c:v>
                </c:pt>
                <c:pt idx="2804">
                  <c:v>-18.508108</c:v>
                </c:pt>
                <c:pt idx="2805">
                  <c:v>-18.513929000000001</c:v>
                </c:pt>
                <c:pt idx="2806">
                  <c:v>-18.519753999999999</c:v>
                </c:pt>
                <c:pt idx="2807">
                  <c:v>-18.525583000000001</c:v>
                </c:pt>
                <c:pt idx="2808">
                  <c:v>-18.531417000000001</c:v>
                </c:pt>
                <c:pt idx="2809">
                  <c:v>-18.537254000000001</c:v>
                </c:pt>
                <c:pt idx="2810">
                  <c:v>-18.543095999999998</c:v>
                </c:pt>
                <c:pt idx="2811">
                  <c:v>-18.548940999999999</c:v>
                </c:pt>
                <c:pt idx="2812">
                  <c:v>-18.554790000000001</c:v>
                </c:pt>
                <c:pt idx="2813">
                  <c:v>-18.560644</c:v>
                </c:pt>
                <c:pt idx="2814">
                  <c:v>-18.566500999999999</c:v>
                </c:pt>
                <c:pt idx="2815">
                  <c:v>-18.572361999999998</c:v>
                </c:pt>
                <c:pt idx="2816">
                  <c:v>-18.578227999999999</c:v>
                </c:pt>
                <c:pt idx="2817">
                  <c:v>-18.584097</c:v>
                </c:pt>
                <c:pt idx="2818">
                  <c:v>-18.589970999999998</c:v>
                </c:pt>
                <c:pt idx="2819">
                  <c:v>-18.595849000000001</c:v>
                </c:pt>
                <c:pt idx="2820">
                  <c:v>-18.601731000000001</c:v>
                </c:pt>
                <c:pt idx="2821">
                  <c:v>-18.607616</c:v>
                </c:pt>
                <c:pt idx="2822">
                  <c:v>-18.613506999999998</c:v>
                </c:pt>
                <c:pt idx="2823">
                  <c:v>-18.619401</c:v>
                </c:pt>
                <c:pt idx="2824">
                  <c:v>-18.625298999999998</c:v>
                </c:pt>
                <c:pt idx="2825">
                  <c:v>-18.631201999999998</c:v>
                </c:pt>
                <c:pt idx="2826">
                  <c:v>-18.637105999999999</c:v>
                </c:pt>
                <c:pt idx="2827">
                  <c:v>-18.643018000000001</c:v>
                </c:pt>
                <c:pt idx="2828">
                  <c:v>-18.648933</c:v>
                </c:pt>
                <c:pt idx="2829">
                  <c:v>-18.654852000000002</c:v>
                </c:pt>
                <c:pt idx="2830">
                  <c:v>-18.660775000000001</c:v>
                </c:pt>
                <c:pt idx="2831">
                  <c:v>-18.666701</c:v>
                </c:pt>
                <c:pt idx="2832">
                  <c:v>-18.672630999999999</c:v>
                </c:pt>
                <c:pt idx="2833">
                  <c:v>-18.678567999999999</c:v>
                </c:pt>
                <c:pt idx="2834">
                  <c:v>-18.684505999999999</c:v>
                </c:pt>
                <c:pt idx="2835">
                  <c:v>-18.690450999999999</c:v>
                </c:pt>
                <c:pt idx="2836">
                  <c:v>-18.696399</c:v>
                </c:pt>
                <c:pt idx="2837">
                  <c:v>-18.702351</c:v>
                </c:pt>
                <c:pt idx="2838">
                  <c:v>-18.708306</c:v>
                </c:pt>
                <c:pt idx="2839">
                  <c:v>-18.714267</c:v>
                </c:pt>
                <c:pt idx="2840">
                  <c:v>-18.720231999999999</c:v>
                </c:pt>
                <c:pt idx="2841">
                  <c:v>-18.726201</c:v>
                </c:pt>
                <c:pt idx="2842">
                  <c:v>-18.732173</c:v>
                </c:pt>
                <c:pt idx="2843">
                  <c:v>-18.738150000000001</c:v>
                </c:pt>
                <c:pt idx="2844">
                  <c:v>-18.744130999999999</c:v>
                </c:pt>
                <c:pt idx="2845">
                  <c:v>-18.750116999999999</c:v>
                </c:pt>
                <c:pt idx="2846">
                  <c:v>-18.756107</c:v>
                </c:pt>
                <c:pt idx="2847">
                  <c:v>-18.762101999999999</c:v>
                </c:pt>
                <c:pt idx="2848">
                  <c:v>-18.768098999999999</c:v>
                </c:pt>
                <c:pt idx="2849">
                  <c:v>-18.774100000000001</c:v>
                </c:pt>
                <c:pt idx="2850">
                  <c:v>-18.780107999999998</c:v>
                </c:pt>
                <c:pt idx="2851">
                  <c:v>-18.78612</c:v>
                </c:pt>
                <c:pt idx="2852">
                  <c:v>-18.792134999999998</c:v>
                </c:pt>
                <c:pt idx="2853">
                  <c:v>-18.798155000000001</c:v>
                </c:pt>
                <c:pt idx="2854">
                  <c:v>-18.804176999999999</c:v>
                </c:pt>
                <c:pt idx="2855">
                  <c:v>-18.810206000000001</c:v>
                </c:pt>
                <c:pt idx="2856">
                  <c:v>-18.816238999999999</c:v>
                </c:pt>
                <c:pt idx="2857">
                  <c:v>-18.822275000000001</c:v>
                </c:pt>
                <c:pt idx="2858">
                  <c:v>-18.828316000000001</c:v>
                </c:pt>
                <c:pt idx="2859">
                  <c:v>-18.834361000000001</c:v>
                </c:pt>
                <c:pt idx="2860">
                  <c:v>-18.840409999999999</c:v>
                </c:pt>
                <c:pt idx="2861">
                  <c:v>-18.846464000000001</c:v>
                </c:pt>
                <c:pt idx="2862">
                  <c:v>-18.852523999999999</c:v>
                </c:pt>
                <c:pt idx="2863">
                  <c:v>-18.858585000000001</c:v>
                </c:pt>
                <c:pt idx="2864">
                  <c:v>-18.864653000000001</c:v>
                </c:pt>
                <c:pt idx="2865">
                  <c:v>-18.870723000000002</c:v>
                </c:pt>
                <c:pt idx="2866">
                  <c:v>-18.876799999999999</c:v>
                </c:pt>
                <c:pt idx="2867">
                  <c:v>-18.882878999999999</c:v>
                </c:pt>
                <c:pt idx="2868">
                  <c:v>-18.888963</c:v>
                </c:pt>
                <c:pt idx="2869">
                  <c:v>-18.895052</c:v>
                </c:pt>
                <c:pt idx="2870">
                  <c:v>-18.901143000000001</c:v>
                </c:pt>
                <c:pt idx="2871">
                  <c:v>-18.907242</c:v>
                </c:pt>
                <c:pt idx="2872">
                  <c:v>-18.913345</c:v>
                </c:pt>
                <c:pt idx="2873">
                  <c:v>-18.919450000000001</c:v>
                </c:pt>
                <c:pt idx="2874">
                  <c:v>-18.925561999999999</c:v>
                </c:pt>
                <c:pt idx="2875">
                  <c:v>-18.931676</c:v>
                </c:pt>
                <c:pt idx="2876">
                  <c:v>-18.937795000000001</c:v>
                </c:pt>
                <c:pt idx="2877">
                  <c:v>-18.943919999999999</c:v>
                </c:pt>
                <c:pt idx="2878">
                  <c:v>-18.950047000000001</c:v>
                </c:pt>
                <c:pt idx="2879">
                  <c:v>-18.956181000000001</c:v>
                </c:pt>
                <c:pt idx="2880">
                  <c:v>-18.962316999999999</c:v>
                </c:pt>
                <c:pt idx="2881">
                  <c:v>-18.968458999999999</c:v>
                </c:pt>
                <c:pt idx="2882">
                  <c:v>-18.974603999999999</c:v>
                </c:pt>
                <c:pt idx="2883">
                  <c:v>-18.980754999999998</c:v>
                </c:pt>
                <c:pt idx="2884">
                  <c:v>-18.986910999999999</c:v>
                </c:pt>
                <c:pt idx="2885">
                  <c:v>-18.993068999999998</c:v>
                </c:pt>
                <c:pt idx="2886">
                  <c:v>-18.999234000000001</c:v>
                </c:pt>
                <c:pt idx="2887">
                  <c:v>-19.005400999999999</c:v>
                </c:pt>
                <c:pt idx="2888">
                  <c:v>-19.011574</c:v>
                </c:pt>
                <c:pt idx="2889">
                  <c:v>-19.017752000000002</c:v>
                </c:pt>
                <c:pt idx="2890">
                  <c:v>-19.023933</c:v>
                </c:pt>
                <c:pt idx="2891">
                  <c:v>-19.030118999999999</c:v>
                </c:pt>
                <c:pt idx="2892">
                  <c:v>-19.03631</c:v>
                </c:pt>
                <c:pt idx="2893">
                  <c:v>-19.042505999999999</c:v>
                </c:pt>
                <c:pt idx="2894">
                  <c:v>-19.048705999999999</c:v>
                </c:pt>
                <c:pt idx="2895">
                  <c:v>-19.054911000000001</c:v>
                </c:pt>
                <c:pt idx="2896">
                  <c:v>-19.061119000000001</c:v>
                </c:pt>
                <c:pt idx="2897">
                  <c:v>-19.067333000000001</c:v>
                </c:pt>
                <c:pt idx="2898">
                  <c:v>-19.073550999999998</c:v>
                </c:pt>
                <c:pt idx="2899">
                  <c:v>-19.079774</c:v>
                </c:pt>
                <c:pt idx="2900">
                  <c:v>-19.086001</c:v>
                </c:pt>
                <c:pt idx="2901">
                  <c:v>-19.092231999999999</c:v>
                </c:pt>
                <c:pt idx="2902">
                  <c:v>-19.098469000000001</c:v>
                </c:pt>
                <c:pt idx="2903">
                  <c:v>-19.104709</c:v>
                </c:pt>
                <c:pt idx="2904">
                  <c:v>-19.110956000000002</c:v>
                </c:pt>
                <c:pt idx="2905">
                  <c:v>-19.117205999999999</c:v>
                </c:pt>
                <c:pt idx="2906">
                  <c:v>-19.123460999999999</c:v>
                </c:pt>
                <c:pt idx="2907">
                  <c:v>-19.129719999999999</c:v>
                </c:pt>
                <c:pt idx="2908">
                  <c:v>-19.135984000000001</c:v>
                </c:pt>
                <c:pt idx="2909">
                  <c:v>-19.142253</c:v>
                </c:pt>
                <c:pt idx="2910">
                  <c:v>-19.148526</c:v>
                </c:pt>
                <c:pt idx="2911">
                  <c:v>-19.154803000000001</c:v>
                </c:pt>
                <c:pt idx="2912">
                  <c:v>-19.161086000000001</c:v>
                </c:pt>
                <c:pt idx="2913">
                  <c:v>-19.167373000000001</c:v>
                </c:pt>
                <c:pt idx="2914">
                  <c:v>-19.173666000000001</c:v>
                </c:pt>
                <c:pt idx="2915">
                  <c:v>-19.179962</c:v>
                </c:pt>
                <c:pt idx="2916">
                  <c:v>-19.186261999999999</c:v>
                </c:pt>
                <c:pt idx="2917">
                  <c:v>-19.192568000000001</c:v>
                </c:pt>
                <c:pt idx="2918">
                  <c:v>-19.198879999999999</c:v>
                </c:pt>
                <c:pt idx="2919">
                  <c:v>-19.205196000000001</c:v>
                </c:pt>
                <c:pt idx="2920">
                  <c:v>-19.211514000000001</c:v>
                </c:pt>
                <c:pt idx="2921">
                  <c:v>-19.217839999999999</c:v>
                </c:pt>
                <c:pt idx="2922">
                  <c:v>-19.224167999999999</c:v>
                </c:pt>
                <c:pt idx="2923">
                  <c:v>-19.230502000000001</c:v>
                </c:pt>
                <c:pt idx="2924">
                  <c:v>-19.236840999999998</c:v>
                </c:pt>
                <c:pt idx="2925">
                  <c:v>-19.243186000000001</c:v>
                </c:pt>
                <c:pt idx="2926">
                  <c:v>-19.249534000000001</c:v>
                </c:pt>
                <c:pt idx="2927">
                  <c:v>-19.255886</c:v>
                </c:pt>
                <c:pt idx="2928">
                  <c:v>-19.262243999999999</c:v>
                </c:pt>
                <c:pt idx="2929">
                  <c:v>-19.268606999999999</c:v>
                </c:pt>
                <c:pt idx="2930">
                  <c:v>-19.274974</c:v>
                </c:pt>
                <c:pt idx="2931">
                  <c:v>-19.281345000000002</c:v>
                </c:pt>
                <c:pt idx="2932">
                  <c:v>-19.287724000000001</c:v>
                </c:pt>
                <c:pt idx="2933">
                  <c:v>-19.294104000000001</c:v>
                </c:pt>
                <c:pt idx="2934">
                  <c:v>-19.300492999999999</c:v>
                </c:pt>
                <c:pt idx="2935">
                  <c:v>-19.306882999999999</c:v>
                </c:pt>
                <c:pt idx="2936">
                  <c:v>-19.313279999999999</c:v>
                </c:pt>
                <c:pt idx="2937">
                  <c:v>-19.319680999999999</c:v>
                </c:pt>
                <c:pt idx="2938">
                  <c:v>-19.326087000000001</c:v>
                </c:pt>
                <c:pt idx="2939">
                  <c:v>-19.332498000000001</c:v>
                </c:pt>
                <c:pt idx="2940">
                  <c:v>-19.338913000000002</c:v>
                </c:pt>
                <c:pt idx="2941">
                  <c:v>-19.345334000000001</c:v>
                </c:pt>
                <c:pt idx="2942">
                  <c:v>-19.351759999999999</c:v>
                </c:pt>
                <c:pt idx="2943">
                  <c:v>-19.358187999999998</c:v>
                </c:pt>
                <c:pt idx="2944">
                  <c:v>-19.364623999999999</c:v>
                </c:pt>
                <c:pt idx="2945">
                  <c:v>-19.371064000000001</c:v>
                </c:pt>
                <c:pt idx="2946">
                  <c:v>-19.377509</c:v>
                </c:pt>
                <c:pt idx="2947">
                  <c:v>-19.383958</c:v>
                </c:pt>
                <c:pt idx="2948">
                  <c:v>-19.390412999999999</c:v>
                </c:pt>
                <c:pt idx="2949">
                  <c:v>-19.396872999999999</c:v>
                </c:pt>
                <c:pt idx="2950">
                  <c:v>-19.403337000000001</c:v>
                </c:pt>
                <c:pt idx="2951">
                  <c:v>-19.409807000000001</c:v>
                </c:pt>
                <c:pt idx="2952">
                  <c:v>-19.416281000000001</c:v>
                </c:pt>
                <c:pt idx="2953">
                  <c:v>-19.422761000000001</c:v>
                </c:pt>
                <c:pt idx="2954">
                  <c:v>-19.429244000000001</c:v>
                </c:pt>
                <c:pt idx="2955">
                  <c:v>-19.435734</c:v>
                </c:pt>
                <c:pt idx="2956">
                  <c:v>-19.442226999999999</c:v>
                </c:pt>
                <c:pt idx="2957">
                  <c:v>-19.448726000000001</c:v>
                </c:pt>
                <c:pt idx="2958">
                  <c:v>-19.455231000000001</c:v>
                </c:pt>
                <c:pt idx="2959">
                  <c:v>-19.461739000000001</c:v>
                </c:pt>
                <c:pt idx="2960">
                  <c:v>-19.468254999999999</c:v>
                </c:pt>
                <c:pt idx="2961">
                  <c:v>-19.474772999999999</c:v>
                </c:pt>
                <c:pt idx="2962">
                  <c:v>-19.481299</c:v>
                </c:pt>
                <c:pt idx="2963">
                  <c:v>-19.487826999999999</c:v>
                </c:pt>
                <c:pt idx="2964">
                  <c:v>-19.49436</c:v>
                </c:pt>
                <c:pt idx="2965">
                  <c:v>-19.500899</c:v>
                </c:pt>
                <c:pt idx="2966">
                  <c:v>-19.507444</c:v>
                </c:pt>
                <c:pt idx="2967">
                  <c:v>-19.513992999999999</c:v>
                </c:pt>
                <c:pt idx="2968">
                  <c:v>-19.520547000000001</c:v>
                </c:pt>
                <c:pt idx="2969">
                  <c:v>-19.527107000000001</c:v>
                </c:pt>
                <c:pt idx="2970">
                  <c:v>-19.533670999999998</c:v>
                </c:pt>
                <c:pt idx="2971">
                  <c:v>-19.540241000000002</c:v>
                </c:pt>
                <c:pt idx="2972">
                  <c:v>-19.546817000000001</c:v>
                </c:pt>
                <c:pt idx="2973">
                  <c:v>-19.553395999999999</c:v>
                </c:pt>
                <c:pt idx="2974">
                  <c:v>-19.559979999999999</c:v>
                </c:pt>
                <c:pt idx="2975">
                  <c:v>-19.566569999999999</c:v>
                </c:pt>
                <c:pt idx="2976">
                  <c:v>-19.573164999999999</c:v>
                </c:pt>
                <c:pt idx="2977">
                  <c:v>-19.579765999999999</c:v>
                </c:pt>
                <c:pt idx="2978">
                  <c:v>-19.586369999999999</c:v>
                </c:pt>
                <c:pt idx="2979">
                  <c:v>-19.592981000000002</c:v>
                </c:pt>
                <c:pt idx="2980">
                  <c:v>-19.599596999999999</c:v>
                </c:pt>
                <c:pt idx="2981">
                  <c:v>-19.606217999999998</c:v>
                </c:pt>
                <c:pt idx="2982">
                  <c:v>-19.612845</c:v>
                </c:pt>
                <c:pt idx="2983">
                  <c:v>-19.619475000000001</c:v>
                </c:pt>
                <c:pt idx="2984">
                  <c:v>-19.626111000000002</c:v>
                </c:pt>
                <c:pt idx="2985">
                  <c:v>-19.632753999999998</c:v>
                </c:pt>
                <c:pt idx="2986">
                  <c:v>-19.639400999999999</c:v>
                </c:pt>
                <c:pt idx="2987">
                  <c:v>-19.646052000000001</c:v>
                </c:pt>
                <c:pt idx="2988">
                  <c:v>-19.652709000000002</c:v>
                </c:pt>
                <c:pt idx="2989">
                  <c:v>-19.659372000000001</c:v>
                </c:pt>
                <c:pt idx="2990">
                  <c:v>-19.666039999999999</c:v>
                </c:pt>
                <c:pt idx="2991">
                  <c:v>-19.672713000000002</c:v>
                </c:pt>
                <c:pt idx="2992">
                  <c:v>-19.679390000000001</c:v>
                </c:pt>
                <c:pt idx="2993">
                  <c:v>-19.686074000000001</c:v>
                </c:pt>
                <c:pt idx="2994">
                  <c:v>-19.692762999999999</c:v>
                </c:pt>
                <c:pt idx="2995">
                  <c:v>-19.699456999999999</c:v>
                </c:pt>
                <c:pt idx="2996">
                  <c:v>-19.706157000000001</c:v>
                </c:pt>
                <c:pt idx="2997">
                  <c:v>-19.712859999999999</c:v>
                </c:pt>
                <c:pt idx="2998">
                  <c:v>-19.719570999999998</c:v>
                </c:pt>
                <c:pt idx="2999">
                  <c:v>-19.726286000000002</c:v>
                </c:pt>
                <c:pt idx="3000">
                  <c:v>-19.733006</c:v>
                </c:pt>
                <c:pt idx="3001">
                  <c:v>-19.739732</c:v>
                </c:pt>
                <c:pt idx="3002">
                  <c:v>-19.746464</c:v>
                </c:pt>
                <c:pt idx="3003">
                  <c:v>-19.7532</c:v>
                </c:pt>
                <c:pt idx="3004">
                  <c:v>-19.759941000000001</c:v>
                </c:pt>
                <c:pt idx="3005">
                  <c:v>-19.766687999999998</c:v>
                </c:pt>
                <c:pt idx="3006">
                  <c:v>-19.773440000000001</c:v>
                </c:pt>
                <c:pt idx="3007">
                  <c:v>-19.780200000000001</c:v>
                </c:pt>
                <c:pt idx="3008">
                  <c:v>-19.786961999999999</c:v>
                </c:pt>
                <c:pt idx="3009">
                  <c:v>-19.793731999999999</c:v>
                </c:pt>
                <c:pt idx="3010">
                  <c:v>-19.800505000000001</c:v>
                </c:pt>
                <c:pt idx="3011">
                  <c:v>-19.807286000000001</c:v>
                </c:pt>
                <c:pt idx="3012">
                  <c:v>-19.814069</c:v>
                </c:pt>
                <c:pt idx="3013">
                  <c:v>-19.82086</c:v>
                </c:pt>
                <c:pt idx="3014">
                  <c:v>-19.827656999999999</c:v>
                </c:pt>
                <c:pt idx="3015">
                  <c:v>-19.834457</c:v>
                </c:pt>
                <c:pt idx="3016">
                  <c:v>-19.841263999999999</c:v>
                </c:pt>
                <c:pt idx="3017">
                  <c:v>-19.848075999999999</c:v>
                </c:pt>
                <c:pt idx="3018">
                  <c:v>-19.854894000000002</c:v>
                </c:pt>
                <c:pt idx="3019">
                  <c:v>-19.861716999999999</c:v>
                </c:pt>
                <c:pt idx="3020">
                  <c:v>-19.868545000000001</c:v>
                </c:pt>
                <c:pt idx="3021">
                  <c:v>-19.87538</c:v>
                </c:pt>
                <c:pt idx="3022">
                  <c:v>-19.88222</c:v>
                </c:pt>
                <c:pt idx="3023">
                  <c:v>-19.889064999999999</c:v>
                </c:pt>
                <c:pt idx="3024">
                  <c:v>-19.895914999999999</c:v>
                </c:pt>
                <c:pt idx="3025">
                  <c:v>-19.902774000000001</c:v>
                </c:pt>
                <c:pt idx="3026">
                  <c:v>-19.909634</c:v>
                </c:pt>
                <c:pt idx="3027">
                  <c:v>-19.916499999999999</c:v>
                </c:pt>
                <c:pt idx="3028">
                  <c:v>-19.923373999999999</c:v>
                </c:pt>
                <c:pt idx="3029">
                  <c:v>-19.930253</c:v>
                </c:pt>
                <c:pt idx="3030">
                  <c:v>-19.937137</c:v>
                </c:pt>
                <c:pt idx="3031">
                  <c:v>-19.944026000000001</c:v>
                </c:pt>
                <c:pt idx="3032">
                  <c:v>-19.950921000000001</c:v>
                </c:pt>
                <c:pt idx="3033">
                  <c:v>-19.957822</c:v>
                </c:pt>
                <c:pt idx="3034">
                  <c:v>-19.964727</c:v>
                </c:pt>
                <c:pt idx="3035">
                  <c:v>-19.971641000000002</c:v>
                </c:pt>
                <c:pt idx="3036">
                  <c:v>-19.978558</c:v>
                </c:pt>
                <c:pt idx="3037">
                  <c:v>-19.985481</c:v>
                </c:pt>
                <c:pt idx="3038">
                  <c:v>-19.992412000000002</c:v>
                </c:pt>
                <c:pt idx="3039">
                  <c:v>-19.999345000000002</c:v>
                </c:pt>
                <c:pt idx="3040">
                  <c:v>-20.006284999999998</c:v>
                </c:pt>
                <c:pt idx="3041">
                  <c:v>-20.013233</c:v>
                </c:pt>
                <c:pt idx="3042">
                  <c:v>-20.020182999999999</c:v>
                </c:pt>
                <c:pt idx="3043">
                  <c:v>-20.027141</c:v>
                </c:pt>
                <c:pt idx="3044">
                  <c:v>-20.034103999999999</c:v>
                </c:pt>
                <c:pt idx="3045">
                  <c:v>-20.041072</c:v>
                </c:pt>
                <c:pt idx="3046">
                  <c:v>-20.048048000000001</c:v>
                </c:pt>
                <c:pt idx="3047">
                  <c:v>-20.055026999999999</c:v>
                </c:pt>
                <c:pt idx="3048">
                  <c:v>-20.062014000000001</c:v>
                </c:pt>
                <c:pt idx="3049">
                  <c:v>-20.069006999999999</c:v>
                </c:pt>
                <c:pt idx="3050">
                  <c:v>-20.076001999999999</c:v>
                </c:pt>
                <c:pt idx="3051">
                  <c:v>-20.083006000000001</c:v>
                </c:pt>
                <c:pt idx="3052">
                  <c:v>-20.090015999999999</c:v>
                </c:pt>
                <c:pt idx="3053">
                  <c:v>-20.09703</c:v>
                </c:pt>
                <c:pt idx="3054">
                  <c:v>-20.104050999999998</c:v>
                </c:pt>
                <c:pt idx="3055">
                  <c:v>-20.111079</c:v>
                </c:pt>
                <c:pt idx="3056">
                  <c:v>-20.118110999999999</c:v>
                </c:pt>
                <c:pt idx="3057">
                  <c:v>-20.125149</c:v>
                </c:pt>
                <c:pt idx="3058">
                  <c:v>-20.132192</c:v>
                </c:pt>
                <c:pt idx="3059">
                  <c:v>-20.139243</c:v>
                </c:pt>
                <c:pt idx="3060">
                  <c:v>-20.146298000000002</c:v>
                </c:pt>
                <c:pt idx="3061">
                  <c:v>-20.153361</c:v>
                </c:pt>
                <c:pt idx="3062">
                  <c:v>-20.160426999999999</c:v>
                </c:pt>
                <c:pt idx="3063">
                  <c:v>-20.167501999999999</c:v>
                </c:pt>
                <c:pt idx="3064">
                  <c:v>-20.174579999999999</c:v>
                </c:pt>
                <c:pt idx="3065">
                  <c:v>-20.181666</c:v>
                </c:pt>
                <c:pt idx="3066">
                  <c:v>-20.188756000000001</c:v>
                </c:pt>
                <c:pt idx="3067">
                  <c:v>-20.195855000000002</c:v>
                </c:pt>
                <c:pt idx="3068">
                  <c:v>-20.202956</c:v>
                </c:pt>
                <c:pt idx="3069">
                  <c:v>-20.210066000000001</c:v>
                </c:pt>
                <c:pt idx="3070">
                  <c:v>-20.217181</c:v>
                </c:pt>
                <c:pt idx="3071">
                  <c:v>-20.224301000000001</c:v>
                </c:pt>
                <c:pt idx="3072">
                  <c:v>-20.231428999999999</c:v>
                </c:pt>
                <c:pt idx="3073">
                  <c:v>-20.238561000000001</c:v>
                </c:pt>
                <c:pt idx="3074">
                  <c:v>-20.245699999999999</c:v>
                </c:pt>
                <c:pt idx="3075">
                  <c:v>-20.252845000000001</c:v>
                </c:pt>
                <c:pt idx="3076">
                  <c:v>-20.259996999999998</c:v>
                </c:pt>
                <c:pt idx="3077">
                  <c:v>-20.267153</c:v>
                </c:pt>
                <c:pt idx="3078">
                  <c:v>-20.274317</c:v>
                </c:pt>
                <c:pt idx="3079">
                  <c:v>-20.281485</c:v>
                </c:pt>
                <c:pt idx="3080">
                  <c:v>-20.288658999999999</c:v>
                </c:pt>
                <c:pt idx="3081">
                  <c:v>-20.295840999999999</c:v>
                </c:pt>
                <c:pt idx="3082">
                  <c:v>-20.303028999999999</c:v>
                </c:pt>
                <c:pt idx="3083">
                  <c:v>-20.310222</c:v>
                </c:pt>
                <c:pt idx="3084">
                  <c:v>-20.317421</c:v>
                </c:pt>
                <c:pt idx="3085">
                  <c:v>-20.324627</c:v>
                </c:pt>
                <c:pt idx="3086">
                  <c:v>-20.331838000000001</c:v>
                </c:pt>
                <c:pt idx="3087">
                  <c:v>-20.339057</c:v>
                </c:pt>
                <c:pt idx="3088">
                  <c:v>-20.346278999999999</c:v>
                </c:pt>
                <c:pt idx="3089">
                  <c:v>-20.35351</c:v>
                </c:pt>
                <c:pt idx="3090">
                  <c:v>-20.360747</c:v>
                </c:pt>
                <c:pt idx="3091">
                  <c:v>-20.367989000000001</c:v>
                </c:pt>
                <c:pt idx="3092">
                  <c:v>-20.375239000000001</c:v>
                </c:pt>
                <c:pt idx="3093">
                  <c:v>-20.382493</c:v>
                </c:pt>
                <c:pt idx="3094">
                  <c:v>-20.389754</c:v>
                </c:pt>
                <c:pt idx="3095">
                  <c:v>-20.397020000000001</c:v>
                </c:pt>
                <c:pt idx="3096">
                  <c:v>-20.404294</c:v>
                </c:pt>
                <c:pt idx="3097">
                  <c:v>-20.411573000000001</c:v>
                </c:pt>
                <c:pt idx="3098">
                  <c:v>-20.418859999999999</c:v>
                </c:pt>
                <c:pt idx="3099">
                  <c:v>-20.426151000000001</c:v>
                </c:pt>
                <c:pt idx="3100">
                  <c:v>-20.433450000000001</c:v>
                </c:pt>
                <c:pt idx="3101">
                  <c:v>-20.440754999999999</c:v>
                </c:pt>
                <c:pt idx="3102">
                  <c:v>-20.448066000000001</c:v>
                </c:pt>
                <c:pt idx="3103">
                  <c:v>-20.455383000000001</c:v>
                </c:pt>
                <c:pt idx="3104">
                  <c:v>-20.462707999999999</c:v>
                </c:pt>
                <c:pt idx="3105">
                  <c:v>-20.470037999999999</c:v>
                </c:pt>
                <c:pt idx="3106">
                  <c:v>-20.477374000000001</c:v>
                </c:pt>
                <c:pt idx="3107">
                  <c:v>-20.484715000000001</c:v>
                </c:pt>
                <c:pt idx="3108">
                  <c:v>-20.492065</c:v>
                </c:pt>
                <c:pt idx="3109">
                  <c:v>-20.499421000000002</c:v>
                </c:pt>
                <c:pt idx="3110">
                  <c:v>-20.506782999999999</c:v>
                </c:pt>
                <c:pt idx="3111">
                  <c:v>-20.514150999999998</c:v>
                </c:pt>
                <c:pt idx="3112">
                  <c:v>-20.521525</c:v>
                </c:pt>
                <c:pt idx="3113">
                  <c:v>-20.528905999999999</c:v>
                </c:pt>
                <c:pt idx="3114">
                  <c:v>-20.536293000000001</c:v>
                </c:pt>
                <c:pt idx="3115">
                  <c:v>-20.543686999999998</c:v>
                </c:pt>
                <c:pt idx="3116">
                  <c:v>-20.551086999999999</c:v>
                </c:pt>
                <c:pt idx="3117">
                  <c:v>-20.558492999999999</c:v>
                </c:pt>
                <c:pt idx="3118">
                  <c:v>-20.565906999999999</c:v>
                </c:pt>
                <c:pt idx="3119">
                  <c:v>-20.573326000000002</c:v>
                </c:pt>
                <c:pt idx="3120">
                  <c:v>-20.580753999999999</c:v>
                </c:pt>
                <c:pt idx="3121">
                  <c:v>-20.588184999999999</c:v>
                </c:pt>
                <c:pt idx="3122">
                  <c:v>-20.595624999999998</c:v>
                </c:pt>
                <c:pt idx="3123">
                  <c:v>-20.603071</c:v>
                </c:pt>
                <c:pt idx="3124">
                  <c:v>-20.610523000000001</c:v>
                </c:pt>
                <c:pt idx="3125">
                  <c:v>-20.617982000000001</c:v>
                </c:pt>
                <c:pt idx="3126">
                  <c:v>-20.625447000000001</c:v>
                </c:pt>
                <c:pt idx="3127">
                  <c:v>-20.632919999999999</c:v>
                </c:pt>
                <c:pt idx="3128">
                  <c:v>-20.640395999999999</c:v>
                </c:pt>
                <c:pt idx="3129">
                  <c:v>-20.647883</c:v>
                </c:pt>
                <c:pt idx="3130">
                  <c:v>-20.655374999999999</c:v>
                </c:pt>
                <c:pt idx="3131">
                  <c:v>-20.662872</c:v>
                </c:pt>
                <c:pt idx="3132">
                  <c:v>-20.670376999999998</c:v>
                </c:pt>
                <c:pt idx="3133">
                  <c:v>-20.677889</c:v>
                </c:pt>
                <c:pt idx="3134">
                  <c:v>-20.685407999999999</c:v>
                </c:pt>
                <c:pt idx="3135">
                  <c:v>-20.692931999999999</c:v>
                </c:pt>
                <c:pt idx="3136">
                  <c:v>-20.700464</c:v>
                </c:pt>
                <c:pt idx="3137">
                  <c:v>-20.708002</c:v>
                </c:pt>
                <c:pt idx="3138">
                  <c:v>-20.715546</c:v>
                </c:pt>
                <c:pt idx="3139">
                  <c:v>-20.723099000000001</c:v>
                </c:pt>
                <c:pt idx="3140">
                  <c:v>-20.730657999999998</c:v>
                </c:pt>
                <c:pt idx="3141">
                  <c:v>-20.738223000000001</c:v>
                </c:pt>
                <c:pt idx="3142">
                  <c:v>-20.745794</c:v>
                </c:pt>
                <c:pt idx="3143">
                  <c:v>-20.753373</c:v>
                </c:pt>
                <c:pt idx="3144">
                  <c:v>-20.760957999999999</c:v>
                </c:pt>
                <c:pt idx="3145">
                  <c:v>-20.768552</c:v>
                </c:pt>
                <c:pt idx="3146">
                  <c:v>-20.776149</c:v>
                </c:pt>
                <c:pt idx="3147">
                  <c:v>-20.783756</c:v>
                </c:pt>
                <c:pt idx="3148">
                  <c:v>-20.791367999999999</c:v>
                </c:pt>
                <c:pt idx="3149">
                  <c:v>-20.798988999999999</c:v>
                </c:pt>
                <c:pt idx="3150">
                  <c:v>-20.806615000000001</c:v>
                </c:pt>
                <c:pt idx="3151">
                  <c:v>-20.814247000000002</c:v>
                </c:pt>
                <c:pt idx="3152">
                  <c:v>-20.821887</c:v>
                </c:pt>
                <c:pt idx="3153">
                  <c:v>-20.829533000000001</c:v>
                </c:pt>
                <c:pt idx="3154">
                  <c:v>-20.837188000000001</c:v>
                </c:pt>
                <c:pt idx="3155">
                  <c:v>-20.844847999999999</c:v>
                </c:pt>
                <c:pt idx="3156">
                  <c:v>-20.852515</c:v>
                </c:pt>
                <c:pt idx="3157">
                  <c:v>-20.860189999999999</c:v>
                </c:pt>
                <c:pt idx="3158">
                  <c:v>-20.867871999999998</c:v>
                </c:pt>
                <c:pt idx="3159">
                  <c:v>-20.875558999999999</c:v>
                </c:pt>
                <c:pt idx="3160">
                  <c:v>-20.883255999999999</c:v>
                </c:pt>
                <c:pt idx="3161">
                  <c:v>-20.890958999999999</c:v>
                </c:pt>
                <c:pt idx="3162">
                  <c:v>-20.898667</c:v>
                </c:pt>
                <c:pt idx="3163">
                  <c:v>-20.906383999999999</c:v>
                </c:pt>
                <c:pt idx="3164">
                  <c:v>-20.914107000000001</c:v>
                </c:pt>
                <c:pt idx="3165">
                  <c:v>-20.921838000000001</c:v>
                </c:pt>
                <c:pt idx="3166">
                  <c:v>-20.929576000000001</c:v>
                </c:pt>
                <c:pt idx="3167">
                  <c:v>-20.937318999999999</c:v>
                </c:pt>
                <c:pt idx="3168">
                  <c:v>-20.945070999999999</c:v>
                </c:pt>
                <c:pt idx="3169">
                  <c:v>-20.952829999999999</c:v>
                </c:pt>
                <c:pt idx="3170">
                  <c:v>-20.960595999999999</c:v>
                </c:pt>
                <c:pt idx="3171">
                  <c:v>-20.968368999999999</c:v>
                </c:pt>
                <c:pt idx="3172">
                  <c:v>-20.976150000000001</c:v>
                </c:pt>
                <c:pt idx="3173">
                  <c:v>-20.983936</c:v>
                </c:pt>
                <c:pt idx="3174">
                  <c:v>-20.99173</c:v>
                </c:pt>
                <c:pt idx="3175">
                  <c:v>-20.999531000000001</c:v>
                </c:pt>
                <c:pt idx="3176">
                  <c:v>-21.007341</c:v>
                </c:pt>
                <c:pt idx="3177">
                  <c:v>-21.015156000000001</c:v>
                </c:pt>
                <c:pt idx="3178">
                  <c:v>-21.02298</c:v>
                </c:pt>
                <c:pt idx="3179">
                  <c:v>-21.030811</c:v>
                </c:pt>
                <c:pt idx="3180">
                  <c:v>-21.038646</c:v>
                </c:pt>
                <c:pt idx="3181">
                  <c:v>-21.046492000000001</c:v>
                </c:pt>
                <c:pt idx="3182">
                  <c:v>-21.054345000000001</c:v>
                </c:pt>
                <c:pt idx="3183">
                  <c:v>-21.062204000000001</c:v>
                </c:pt>
                <c:pt idx="3184">
                  <c:v>-21.070070000000001</c:v>
                </c:pt>
                <c:pt idx="3185">
                  <c:v>-21.077943999999999</c:v>
                </c:pt>
                <c:pt idx="3186">
                  <c:v>-21.085825</c:v>
                </c:pt>
                <c:pt idx="3187">
                  <c:v>-21.093713999999999</c:v>
                </c:pt>
                <c:pt idx="3188">
                  <c:v>-21.101607999999999</c:v>
                </c:pt>
                <c:pt idx="3189">
                  <c:v>-21.109513</c:v>
                </c:pt>
                <c:pt idx="3190">
                  <c:v>-21.117422000000001</c:v>
                </c:pt>
                <c:pt idx="3191">
                  <c:v>-21.125340000000001</c:v>
                </c:pt>
                <c:pt idx="3192">
                  <c:v>-21.133265000000002</c:v>
                </c:pt>
                <c:pt idx="3193">
                  <c:v>-21.141200000000001</c:v>
                </c:pt>
                <c:pt idx="3194">
                  <c:v>-21.149138000000001</c:v>
                </c:pt>
                <c:pt idx="3195">
                  <c:v>-21.157084999999999</c:v>
                </c:pt>
                <c:pt idx="3196">
                  <c:v>-21.165040999999999</c:v>
                </c:pt>
                <c:pt idx="3197">
                  <c:v>-21.173003000000001</c:v>
                </c:pt>
                <c:pt idx="3198">
                  <c:v>-21.180973000000002</c:v>
                </c:pt>
                <c:pt idx="3199">
                  <c:v>-21.188949000000001</c:v>
                </c:pt>
                <c:pt idx="3200">
                  <c:v>-21.196936000000001</c:v>
                </c:pt>
                <c:pt idx="3201">
                  <c:v>-21.204927999999999</c:v>
                </c:pt>
                <c:pt idx="3202">
                  <c:v>-21.212928000000002</c:v>
                </c:pt>
                <c:pt idx="3203">
                  <c:v>-21.220934</c:v>
                </c:pt>
                <c:pt idx="3204">
                  <c:v>-21.228950000000001</c:v>
                </c:pt>
                <c:pt idx="3205">
                  <c:v>-21.236971</c:v>
                </c:pt>
                <c:pt idx="3206">
                  <c:v>-21.245001999999999</c:v>
                </c:pt>
                <c:pt idx="3207">
                  <c:v>-21.253041</c:v>
                </c:pt>
                <c:pt idx="3208">
                  <c:v>-21.261087</c:v>
                </c:pt>
                <c:pt idx="3209">
                  <c:v>-21.269138999999999</c:v>
                </c:pt>
                <c:pt idx="3210">
                  <c:v>-21.277200000000001</c:v>
                </c:pt>
                <c:pt idx="3211">
                  <c:v>-21.285266</c:v>
                </c:pt>
                <c:pt idx="3212">
                  <c:v>-21.293343</c:v>
                </c:pt>
                <c:pt idx="3213">
                  <c:v>-21.301427</c:v>
                </c:pt>
                <c:pt idx="3214">
                  <c:v>-21.309517</c:v>
                </c:pt>
                <c:pt idx="3215">
                  <c:v>-21.317616999999998</c:v>
                </c:pt>
                <c:pt idx="3216">
                  <c:v>-21.325724000000001</c:v>
                </c:pt>
                <c:pt idx="3217">
                  <c:v>-21.333839000000001</c:v>
                </c:pt>
                <c:pt idx="3218">
                  <c:v>-21.341961000000001</c:v>
                </c:pt>
                <c:pt idx="3219">
                  <c:v>-21.350090999999999</c:v>
                </c:pt>
                <c:pt idx="3220">
                  <c:v>-21.358229000000001</c:v>
                </c:pt>
                <c:pt idx="3221">
                  <c:v>-21.366374</c:v>
                </c:pt>
                <c:pt idx="3222">
                  <c:v>-21.374528000000002</c:v>
                </c:pt>
                <c:pt idx="3223">
                  <c:v>-21.38269</c:v>
                </c:pt>
                <c:pt idx="3224">
                  <c:v>-21.390857</c:v>
                </c:pt>
                <c:pt idx="3225">
                  <c:v>-21.399035000000001</c:v>
                </c:pt>
                <c:pt idx="3226">
                  <c:v>-21.407219999999999</c:v>
                </c:pt>
                <c:pt idx="3227">
                  <c:v>-21.415413999999998</c:v>
                </c:pt>
                <c:pt idx="3228">
                  <c:v>-21.423615000000002</c:v>
                </c:pt>
                <c:pt idx="3229">
                  <c:v>-21.431822</c:v>
                </c:pt>
                <c:pt idx="3230">
                  <c:v>-21.440038000000001</c:v>
                </c:pt>
                <c:pt idx="3231">
                  <c:v>-21.448264000000002</c:v>
                </c:pt>
                <c:pt idx="3232">
                  <c:v>-21.456495</c:v>
                </c:pt>
                <c:pt idx="3233">
                  <c:v>-21.464737</c:v>
                </c:pt>
                <c:pt idx="3234">
                  <c:v>-21.472985000000001</c:v>
                </c:pt>
                <c:pt idx="3235">
                  <c:v>-21.48124</c:v>
                </c:pt>
                <c:pt idx="3236">
                  <c:v>-21.489505999999999</c:v>
                </c:pt>
                <c:pt idx="3237">
                  <c:v>-21.497778</c:v>
                </c:pt>
                <c:pt idx="3238">
                  <c:v>-21.506060000000002</c:v>
                </c:pt>
                <c:pt idx="3239">
                  <c:v>-21.514347000000001</c:v>
                </c:pt>
                <c:pt idx="3240">
                  <c:v>-21.522645000000001</c:v>
                </c:pt>
                <c:pt idx="3241">
                  <c:v>-21.530949</c:v>
                </c:pt>
                <c:pt idx="3242">
                  <c:v>-21.539262000000001</c:v>
                </c:pt>
                <c:pt idx="3243">
                  <c:v>-21.547582999999999</c:v>
                </c:pt>
                <c:pt idx="3244">
                  <c:v>-21.555913</c:v>
                </c:pt>
                <c:pt idx="3245">
                  <c:v>-21.564250000000001</c:v>
                </c:pt>
                <c:pt idx="3246">
                  <c:v>-21.572596000000001</c:v>
                </c:pt>
                <c:pt idx="3247">
                  <c:v>-21.580950000000001</c:v>
                </c:pt>
                <c:pt idx="3248">
                  <c:v>-21.589312</c:v>
                </c:pt>
                <c:pt idx="3249">
                  <c:v>-21.597681000000001</c:v>
                </c:pt>
                <c:pt idx="3250">
                  <c:v>-21.606061</c:v>
                </c:pt>
                <c:pt idx="3251">
                  <c:v>-21.614447999999999</c:v>
                </c:pt>
                <c:pt idx="3252">
                  <c:v>-21.622843</c:v>
                </c:pt>
                <c:pt idx="3253">
                  <c:v>-21.631246000000001</c:v>
                </c:pt>
                <c:pt idx="3254">
                  <c:v>-21.639658000000001</c:v>
                </c:pt>
                <c:pt idx="3255">
                  <c:v>-21.648078000000002</c:v>
                </c:pt>
                <c:pt idx="3256">
                  <c:v>-21.656506</c:v>
                </c:pt>
                <c:pt idx="3257">
                  <c:v>-21.664943999999998</c:v>
                </c:pt>
                <c:pt idx="3258">
                  <c:v>-21.673387999999999</c:v>
                </c:pt>
                <c:pt idx="3259">
                  <c:v>-21.681842</c:v>
                </c:pt>
                <c:pt idx="3260">
                  <c:v>-21.690304999999999</c:v>
                </c:pt>
                <c:pt idx="3261">
                  <c:v>-21.698775999999999</c:v>
                </c:pt>
                <c:pt idx="3262">
                  <c:v>-21.707253999999999</c:v>
                </c:pt>
                <c:pt idx="3263">
                  <c:v>-21.715741999999999</c:v>
                </c:pt>
                <c:pt idx="3264">
                  <c:v>-21.724236999999999</c:v>
                </c:pt>
                <c:pt idx="3265">
                  <c:v>-21.732741000000001</c:v>
                </c:pt>
                <c:pt idx="3266">
                  <c:v>-21.741254999999999</c:v>
                </c:pt>
                <c:pt idx="3267">
                  <c:v>-21.749776000000001</c:v>
                </c:pt>
                <c:pt idx="3268">
                  <c:v>-21.758306999999999</c:v>
                </c:pt>
                <c:pt idx="3269">
                  <c:v>-21.766843999999999</c:v>
                </c:pt>
                <c:pt idx="3270">
                  <c:v>-21.775392</c:v>
                </c:pt>
                <c:pt idx="3271">
                  <c:v>-21.783947000000001</c:v>
                </c:pt>
                <c:pt idx="3272">
                  <c:v>-21.792511999999999</c:v>
                </c:pt>
                <c:pt idx="3273">
                  <c:v>-21.801085</c:v>
                </c:pt>
                <c:pt idx="3274">
                  <c:v>-21.809666</c:v>
                </c:pt>
                <c:pt idx="3275">
                  <c:v>-21.818256000000002</c:v>
                </c:pt>
                <c:pt idx="3276">
                  <c:v>-21.826855999999999</c:v>
                </c:pt>
                <c:pt idx="3277">
                  <c:v>-21.835464000000002</c:v>
                </c:pt>
                <c:pt idx="3278">
                  <c:v>-21.844080000000002</c:v>
                </c:pt>
                <c:pt idx="3279">
                  <c:v>-21.852706000000001</c:v>
                </c:pt>
                <c:pt idx="3280">
                  <c:v>-21.861339000000001</c:v>
                </c:pt>
                <c:pt idx="3281">
                  <c:v>-21.869980999999999</c:v>
                </c:pt>
                <c:pt idx="3282">
                  <c:v>-21.878633000000001</c:v>
                </c:pt>
                <c:pt idx="3283">
                  <c:v>-21.887295999999999</c:v>
                </c:pt>
                <c:pt idx="3284">
                  <c:v>-21.895962999999998</c:v>
                </c:pt>
                <c:pt idx="3285">
                  <c:v>-21.904641999999999</c:v>
                </c:pt>
                <c:pt idx="3286">
                  <c:v>-21.913328</c:v>
                </c:pt>
                <c:pt idx="3287">
                  <c:v>-21.922024</c:v>
                </c:pt>
                <c:pt idx="3288">
                  <c:v>-21.930728999999999</c:v>
                </c:pt>
                <c:pt idx="3289">
                  <c:v>-21.939443000000001</c:v>
                </c:pt>
                <c:pt idx="3290">
                  <c:v>-21.948164999999999</c:v>
                </c:pt>
                <c:pt idx="3291">
                  <c:v>-21.956897000000001</c:v>
                </c:pt>
                <c:pt idx="3292">
                  <c:v>-21.965637000000001</c:v>
                </c:pt>
                <c:pt idx="3293">
                  <c:v>-21.974387</c:v>
                </c:pt>
                <c:pt idx="3294">
                  <c:v>-21.983145</c:v>
                </c:pt>
                <c:pt idx="3295">
                  <c:v>-21.991911999999999</c:v>
                </c:pt>
                <c:pt idx="3296">
                  <c:v>-22.000689000000001</c:v>
                </c:pt>
                <c:pt idx="3297">
                  <c:v>-22.009474999999998</c:v>
                </c:pt>
                <c:pt idx="3298">
                  <c:v>-22.018270000000001</c:v>
                </c:pt>
                <c:pt idx="3299">
                  <c:v>-22.027073999999999</c:v>
                </c:pt>
                <c:pt idx="3300">
                  <c:v>-22.035886000000001</c:v>
                </c:pt>
                <c:pt idx="3301">
                  <c:v>-22.044709000000001</c:v>
                </c:pt>
                <c:pt idx="3302">
                  <c:v>-22.053540000000002</c:v>
                </c:pt>
                <c:pt idx="3303">
                  <c:v>-22.062380999999998</c:v>
                </c:pt>
                <c:pt idx="3304">
                  <c:v>-22.071228999999999</c:v>
                </c:pt>
                <c:pt idx="3305">
                  <c:v>-22.080089000000001</c:v>
                </c:pt>
                <c:pt idx="3306">
                  <c:v>-22.088957000000001</c:v>
                </c:pt>
                <c:pt idx="3307">
                  <c:v>-22.097836000000001</c:v>
                </c:pt>
                <c:pt idx="3308">
                  <c:v>-22.106722000000001</c:v>
                </c:pt>
                <c:pt idx="3309">
                  <c:v>-22.115617</c:v>
                </c:pt>
                <c:pt idx="3310">
                  <c:v>-22.124524000000001</c:v>
                </c:pt>
                <c:pt idx="3311">
                  <c:v>-22.133438000000002</c:v>
                </c:pt>
                <c:pt idx="3312">
                  <c:v>-22.142361000000001</c:v>
                </c:pt>
                <c:pt idx="3313">
                  <c:v>-22.151295000000001</c:v>
                </c:pt>
                <c:pt idx="3314">
                  <c:v>-22.160238</c:v>
                </c:pt>
                <c:pt idx="3315">
                  <c:v>-22.16919</c:v>
                </c:pt>
                <c:pt idx="3316">
                  <c:v>-22.178152000000001</c:v>
                </c:pt>
                <c:pt idx="3317">
                  <c:v>-22.187123</c:v>
                </c:pt>
                <c:pt idx="3318">
                  <c:v>-22.196103000000001</c:v>
                </c:pt>
                <c:pt idx="3319">
                  <c:v>-22.205093999999999</c:v>
                </c:pt>
                <c:pt idx="3320">
                  <c:v>-22.214092999999998</c:v>
                </c:pt>
                <c:pt idx="3321">
                  <c:v>-22.223101</c:v>
                </c:pt>
                <c:pt idx="3322">
                  <c:v>-22.232120999999999</c:v>
                </c:pt>
                <c:pt idx="3323">
                  <c:v>-22.241149</c:v>
                </c:pt>
                <c:pt idx="3324">
                  <c:v>-22.250187</c:v>
                </c:pt>
                <c:pt idx="3325">
                  <c:v>-22.259235</c:v>
                </c:pt>
                <c:pt idx="3326">
                  <c:v>-22.268291999999999</c:v>
                </c:pt>
                <c:pt idx="3327">
                  <c:v>-22.277358</c:v>
                </c:pt>
                <c:pt idx="3328">
                  <c:v>-22.286435000000001</c:v>
                </c:pt>
                <c:pt idx="3329">
                  <c:v>-22.295521000000001</c:v>
                </c:pt>
                <c:pt idx="3330">
                  <c:v>-22.304618000000001</c:v>
                </c:pt>
                <c:pt idx="3331">
                  <c:v>-22.313721999999999</c:v>
                </c:pt>
                <c:pt idx="3332">
                  <c:v>-22.322838000000001</c:v>
                </c:pt>
                <c:pt idx="3333">
                  <c:v>-22.331963999999999</c:v>
                </c:pt>
                <c:pt idx="3334">
                  <c:v>-22.341097999999999</c:v>
                </c:pt>
                <c:pt idx="3335">
                  <c:v>-22.350242000000001</c:v>
                </c:pt>
                <c:pt idx="3336">
                  <c:v>-22.359397000000001</c:v>
                </c:pt>
                <c:pt idx="3337">
                  <c:v>-22.368559999999999</c:v>
                </c:pt>
                <c:pt idx="3338">
                  <c:v>-22.377737</c:v>
                </c:pt>
                <c:pt idx="3339">
                  <c:v>-22.38692</c:v>
                </c:pt>
                <c:pt idx="3340">
                  <c:v>-22.396115999999999</c:v>
                </c:pt>
                <c:pt idx="3341">
                  <c:v>-22.405318999999999</c:v>
                </c:pt>
                <c:pt idx="3342">
                  <c:v>-22.414532999999999</c:v>
                </c:pt>
                <c:pt idx="3343">
                  <c:v>-22.423756000000001</c:v>
                </c:pt>
                <c:pt idx="3344">
                  <c:v>-22.432991000000001</c:v>
                </c:pt>
                <c:pt idx="3345">
                  <c:v>-22.442235</c:v>
                </c:pt>
                <c:pt idx="3346">
                  <c:v>-22.45149</c:v>
                </c:pt>
                <c:pt idx="3347">
                  <c:v>-22.460753</c:v>
                </c:pt>
                <c:pt idx="3348">
                  <c:v>-22.470027999999999</c:v>
                </c:pt>
                <c:pt idx="3349">
                  <c:v>-22.479312</c:v>
                </c:pt>
                <c:pt idx="3350">
                  <c:v>-22.488606999999998</c:v>
                </c:pt>
                <c:pt idx="3351">
                  <c:v>-22.497910999999998</c:v>
                </c:pt>
                <c:pt idx="3352">
                  <c:v>-22.507225999999999</c:v>
                </c:pt>
                <c:pt idx="3353">
                  <c:v>-22.516552999999998</c:v>
                </c:pt>
                <c:pt idx="3354">
                  <c:v>-22.525887999999998</c:v>
                </c:pt>
                <c:pt idx="3355">
                  <c:v>-22.535235</c:v>
                </c:pt>
                <c:pt idx="3356">
                  <c:v>-22.544589999999999</c:v>
                </c:pt>
                <c:pt idx="3357">
                  <c:v>-22.553955999999999</c:v>
                </c:pt>
                <c:pt idx="3358">
                  <c:v>-22.563331999999999</c:v>
                </c:pt>
                <c:pt idx="3359">
                  <c:v>-22.57272</c:v>
                </c:pt>
                <c:pt idx="3360">
                  <c:v>-22.582117</c:v>
                </c:pt>
                <c:pt idx="3361">
                  <c:v>-22.591525000000001</c:v>
                </c:pt>
                <c:pt idx="3362">
                  <c:v>-22.600943999999998</c:v>
                </c:pt>
                <c:pt idx="3363">
                  <c:v>-22.610371000000001</c:v>
                </c:pt>
                <c:pt idx="3364">
                  <c:v>-22.619810000000001</c:v>
                </c:pt>
                <c:pt idx="3365">
                  <c:v>-22.629261</c:v>
                </c:pt>
                <c:pt idx="3366">
                  <c:v>-22.638719999999999</c:v>
                </c:pt>
                <c:pt idx="3367">
                  <c:v>-22.648191000000001</c:v>
                </c:pt>
                <c:pt idx="3368">
                  <c:v>-22.657672000000002</c:v>
                </c:pt>
                <c:pt idx="3369">
                  <c:v>-22.667164</c:v>
                </c:pt>
                <c:pt idx="3370">
                  <c:v>-22.676666000000001</c:v>
                </c:pt>
                <c:pt idx="3371">
                  <c:v>-22.68618</c:v>
                </c:pt>
                <c:pt idx="3372">
                  <c:v>-22.695703999999999</c:v>
                </c:pt>
                <c:pt idx="3373">
                  <c:v>-22.705237</c:v>
                </c:pt>
                <c:pt idx="3374">
                  <c:v>-22.714782</c:v>
                </c:pt>
                <c:pt idx="3375">
                  <c:v>-22.724337999999999</c:v>
                </c:pt>
                <c:pt idx="3376">
                  <c:v>-22.733903999999999</c:v>
                </c:pt>
                <c:pt idx="3377">
                  <c:v>-22.743480999999999</c:v>
                </c:pt>
                <c:pt idx="3378">
                  <c:v>-22.753070000000001</c:v>
                </c:pt>
                <c:pt idx="3379">
                  <c:v>-22.762668999999999</c:v>
                </c:pt>
                <c:pt idx="3380">
                  <c:v>-22.772278</c:v>
                </c:pt>
                <c:pt idx="3381">
                  <c:v>-22.781898999999999</c:v>
                </c:pt>
                <c:pt idx="3382">
                  <c:v>-22.791529000000001</c:v>
                </c:pt>
                <c:pt idx="3383">
                  <c:v>-22.801172000000001</c:v>
                </c:pt>
                <c:pt idx="3384">
                  <c:v>-22.810825000000001</c:v>
                </c:pt>
                <c:pt idx="3385">
                  <c:v>-22.820489999999999</c:v>
                </c:pt>
                <c:pt idx="3386">
                  <c:v>-22.830164</c:v>
                </c:pt>
                <c:pt idx="3387">
                  <c:v>-22.839852</c:v>
                </c:pt>
                <c:pt idx="3388">
                  <c:v>-22.849550000000001</c:v>
                </c:pt>
                <c:pt idx="3389">
                  <c:v>-22.859256999999999</c:v>
                </c:pt>
                <c:pt idx="3390">
                  <c:v>-22.868976</c:v>
                </c:pt>
                <c:pt idx="3391">
                  <c:v>-22.878706999999999</c:v>
                </c:pt>
                <c:pt idx="3392">
                  <c:v>-22.888449000000001</c:v>
                </c:pt>
                <c:pt idx="3393">
                  <c:v>-22.898202000000001</c:v>
                </c:pt>
                <c:pt idx="3394">
                  <c:v>-22.907965000000001</c:v>
                </c:pt>
                <c:pt idx="3395">
                  <c:v>-22.917739999999998</c:v>
                </c:pt>
                <c:pt idx="3396">
                  <c:v>-22.927527999999999</c:v>
                </c:pt>
                <c:pt idx="3397">
                  <c:v>-22.937325000000001</c:v>
                </c:pt>
                <c:pt idx="3398">
                  <c:v>-22.947133999999998</c:v>
                </c:pt>
                <c:pt idx="3399">
                  <c:v>-22.956955000000001</c:v>
                </c:pt>
                <c:pt idx="3400">
                  <c:v>-22.966785999999999</c:v>
                </c:pt>
                <c:pt idx="3401">
                  <c:v>-22.97663</c:v>
                </c:pt>
                <c:pt idx="3402">
                  <c:v>-22.986484000000001</c:v>
                </c:pt>
                <c:pt idx="3403">
                  <c:v>-22.996348999999999</c:v>
                </c:pt>
                <c:pt idx="3404">
                  <c:v>-23.006226999999999</c:v>
                </c:pt>
                <c:pt idx="3405">
                  <c:v>-23.016116</c:v>
                </c:pt>
                <c:pt idx="3406">
                  <c:v>-23.026015999999998</c:v>
                </c:pt>
                <c:pt idx="3407">
                  <c:v>-23.035927000000001</c:v>
                </c:pt>
                <c:pt idx="3408">
                  <c:v>-23.045850999999999</c:v>
                </c:pt>
                <c:pt idx="3409">
                  <c:v>-23.055786999999999</c:v>
                </c:pt>
                <c:pt idx="3410">
                  <c:v>-23.065733999999999</c:v>
                </c:pt>
                <c:pt idx="3411">
                  <c:v>-23.075693000000001</c:v>
                </c:pt>
                <c:pt idx="3412">
                  <c:v>-23.085661000000002</c:v>
                </c:pt>
                <c:pt idx="3413">
                  <c:v>-23.095642000000002</c:v>
                </c:pt>
                <c:pt idx="3414">
                  <c:v>-23.105634999999999</c:v>
                </c:pt>
                <c:pt idx="3415">
                  <c:v>-23.115641</c:v>
                </c:pt>
                <c:pt idx="3416">
                  <c:v>-23.125658000000001</c:v>
                </c:pt>
                <c:pt idx="3417">
                  <c:v>-23.135687000000001</c:v>
                </c:pt>
                <c:pt idx="3418">
                  <c:v>-23.145727999999998</c:v>
                </c:pt>
                <c:pt idx="3419">
                  <c:v>-23.155778999999999</c:v>
                </c:pt>
                <c:pt idx="3420">
                  <c:v>-23.165842999999999</c:v>
                </c:pt>
                <c:pt idx="3421">
                  <c:v>-23.175920000000001</c:v>
                </c:pt>
                <c:pt idx="3422">
                  <c:v>-23.186008000000001</c:v>
                </c:pt>
                <c:pt idx="3423">
                  <c:v>-23.196109</c:v>
                </c:pt>
                <c:pt idx="3424">
                  <c:v>-23.206219999999998</c:v>
                </c:pt>
                <c:pt idx="3425">
                  <c:v>-23.216343999999999</c:v>
                </c:pt>
                <c:pt idx="3426">
                  <c:v>-23.226481</c:v>
                </c:pt>
                <c:pt idx="3427">
                  <c:v>-23.236628</c:v>
                </c:pt>
                <c:pt idx="3428">
                  <c:v>-23.246789</c:v>
                </c:pt>
                <c:pt idx="3429">
                  <c:v>-23.256962999999999</c:v>
                </c:pt>
                <c:pt idx="3430">
                  <c:v>-23.267144999999999</c:v>
                </c:pt>
                <c:pt idx="3431">
                  <c:v>-23.277343999999999</c:v>
                </c:pt>
                <c:pt idx="3432">
                  <c:v>-23.287552999999999</c:v>
                </c:pt>
                <c:pt idx="3433">
                  <c:v>-23.297772999999999</c:v>
                </c:pt>
                <c:pt idx="3434">
                  <c:v>-23.308007</c:v>
                </c:pt>
                <c:pt idx="3435">
                  <c:v>-23.318252999999999</c:v>
                </c:pt>
                <c:pt idx="3436">
                  <c:v>-23.328512</c:v>
                </c:pt>
                <c:pt idx="3437">
                  <c:v>-23.338781999999998</c:v>
                </c:pt>
                <c:pt idx="3438">
                  <c:v>-23.349066000000001</c:v>
                </c:pt>
                <c:pt idx="3439">
                  <c:v>-23.359359999999999</c:v>
                </c:pt>
                <c:pt idx="3440">
                  <c:v>-23.369668000000001</c:v>
                </c:pt>
                <c:pt idx="3441">
                  <c:v>-23.379988000000001</c:v>
                </c:pt>
                <c:pt idx="3442">
                  <c:v>-23.390321</c:v>
                </c:pt>
                <c:pt idx="3443">
                  <c:v>-23.400666999999999</c:v>
                </c:pt>
                <c:pt idx="3444">
                  <c:v>-23.411024999999999</c:v>
                </c:pt>
                <c:pt idx="3445">
                  <c:v>-23.421396000000001</c:v>
                </c:pt>
                <c:pt idx="3446">
                  <c:v>-23.43178</c:v>
                </c:pt>
                <c:pt idx="3447">
                  <c:v>-23.442174000000001</c:v>
                </c:pt>
                <c:pt idx="3448">
                  <c:v>-23.452584000000002</c:v>
                </c:pt>
                <c:pt idx="3449">
                  <c:v>-23.463004999999999</c:v>
                </c:pt>
                <c:pt idx="3450">
                  <c:v>-23.47344</c:v>
                </c:pt>
                <c:pt idx="3451">
                  <c:v>-23.483885999999998</c:v>
                </c:pt>
                <c:pt idx="3452">
                  <c:v>-23.494346</c:v>
                </c:pt>
                <c:pt idx="3453">
                  <c:v>-23.504819000000001</c:v>
                </c:pt>
                <c:pt idx="3454">
                  <c:v>-23.515304</c:v>
                </c:pt>
                <c:pt idx="3455">
                  <c:v>-23.525803</c:v>
                </c:pt>
                <c:pt idx="3456">
                  <c:v>-23.536314000000001</c:v>
                </c:pt>
                <c:pt idx="3457">
                  <c:v>-23.546838999999999</c:v>
                </c:pt>
                <c:pt idx="3458">
                  <c:v>-23.557376999999999</c:v>
                </c:pt>
                <c:pt idx="3459">
                  <c:v>-23.567927000000001</c:v>
                </c:pt>
                <c:pt idx="3460">
                  <c:v>-23.578491</c:v>
                </c:pt>
                <c:pt idx="3461">
                  <c:v>-23.589067</c:v>
                </c:pt>
                <c:pt idx="3462">
                  <c:v>-23.599658000000002</c:v>
                </c:pt>
                <c:pt idx="3463">
                  <c:v>-23.610261000000001</c:v>
                </c:pt>
                <c:pt idx="3464">
                  <c:v>-23.620875999999999</c:v>
                </c:pt>
                <c:pt idx="3465">
                  <c:v>-23.631506000000002</c:v>
                </c:pt>
                <c:pt idx="3466">
                  <c:v>-23.642150000000001</c:v>
                </c:pt>
                <c:pt idx="3467">
                  <c:v>-23.652805000000001</c:v>
                </c:pt>
                <c:pt idx="3468">
                  <c:v>-23.663474000000001</c:v>
                </c:pt>
                <c:pt idx="3469">
                  <c:v>-23.674157999999998</c:v>
                </c:pt>
                <c:pt idx="3470">
                  <c:v>-23.684854000000001</c:v>
                </c:pt>
                <c:pt idx="3471">
                  <c:v>-23.695563</c:v>
                </c:pt>
                <c:pt idx="3472">
                  <c:v>-23.706288000000001</c:v>
                </c:pt>
                <c:pt idx="3473">
                  <c:v>-23.717023000000001</c:v>
                </c:pt>
                <c:pt idx="3474">
                  <c:v>-23.727775000000001</c:v>
                </c:pt>
                <c:pt idx="3475">
                  <c:v>-23.738537999999998</c:v>
                </c:pt>
                <c:pt idx="3476">
                  <c:v>-23.749316</c:v>
                </c:pt>
                <c:pt idx="3477">
                  <c:v>-23.760107000000001</c:v>
                </c:pt>
                <c:pt idx="3478">
                  <c:v>-23.770911999999999</c:v>
                </c:pt>
                <c:pt idx="3479">
                  <c:v>-23.78173</c:v>
                </c:pt>
                <c:pt idx="3480">
                  <c:v>-23.792562</c:v>
                </c:pt>
                <c:pt idx="3481">
                  <c:v>-23.803408999999998</c:v>
                </c:pt>
                <c:pt idx="3482">
                  <c:v>-23.814267999999998</c:v>
                </c:pt>
                <c:pt idx="3483">
                  <c:v>-23.825143000000001</c:v>
                </c:pt>
                <c:pt idx="3484">
                  <c:v>-23.836030000000001</c:v>
                </c:pt>
                <c:pt idx="3485">
                  <c:v>-23.846931999999999</c:v>
                </c:pt>
                <c:pt idx="3486">
                  <c:v>-23.857847</c:v>
                </c:pt>
                <c:pt idx="3487">
                  <c:v>-23.868777000000001</c:v>
                </c:pt>
                <c:pt idx="3488">
                  <c:v>-23.879719999999999</c:v>
                </c:pt>
                <c:pt idx="3489">
                  <c:v>-23.890678999999999</c:v>
                </c:pt>
                <c:pt idx="3490">
                  <c:v>-23.901648999999999</c:v>
                </c:pt>
                <c:pt idx="3491">
                  <c:v>-23.912635999999999</c:v>
                </c:pt>
                <c:pt idx="3492">
                  <c:v>-23.923635999999998</c:v>
                </c:pt>
                <c:pt idx="3493">
                  <c:v>-23.934650000000001</c:v>
                </c:pt>
                <c:pt idx="3494">
                  <c:v>-23.945678999999998</c:v>
                </c:pt>
                <c:pt idx="3495">
                  <c:v>-23.956721999999999</c:v>
                </c:pt>
                <c:pt idx="3496">
                  <c:v>-23.967777999999999</c:v>
                </c:pt>
                <c:pt idx="3497">
                  <c:v>-23.978850000000001</c:v>
                </c:pt>
                <c:pt idx="3498">
                  <c:v>-23.989937000000001</c:v>
                </c:pt>
                <c:pt idx="3499">
                  <c:v>-24.001037</c:v>
                </c:pt>
                <c:pt idx="3500">
                  <c:v>-24.012152</c:v>
                </c:pt>
                <c:pt idx="3501">
                  <c:v>-24.023281000000001</c:v>
                </c:pt>
                <c:pt idx="3502">
                  <c:v>-24.034424999999999</c:v>
                </c:pt>
                <c:pt idx="3503">
                  <c:v>-24.045583000000001</c:v>
                </c:pt>
                <c:pt idx="3504">
                  <c:v>-24.056757999999999</c:v>
                </c:pt>
                <c:pt idx="3505">
                  <c:v>-24.067945999999999</c:v>
                </c:pt>
                <c:pt idx="3506">
                  <c:v>-24.079146999999999</c:v>
                </c:pt>
                <c:pt idx="3507">
                  <c:v>-24.090364999999998</c:v>
                </c:pt>
                <c:pt idx="3508">
                  <c:v>-24.101597000000002</c:v>
                </c:pt>
                <c:pt idx="3509">
                  <c:v>-24.112843999999999</c:v>
                </c:pt>
                <c:pt idx="3510">
                  <c:v>-24.124105</c:v>
                </c:pt>
                <c:pt idx="3511">
                  <c:v>-24.135382</c:v>
                </c:pt>
                <c:pt idx="3512">
                  <c:v>-24.146674999999998</c:v>
                </c:pt>
                <c:pt idx="3513">
                  <c:v>-24.157980999999999</c:v>
                </c:pt>
                <c:pt idx="3514">
                  <c:v>-24.169301999999998</c:v>
                </c:pt>
                <c:pt idx="3515">
                  <c:v>-24.180637999999998</c:v>
                </c:pt>
                <c:pt idx="3516">
                  <c:v>-24.191991000000002</c:v>
                </c:pt>
                <c:pt idx="3517">
                  <c:v>-24.203357</c:v>
                </c:pt>
                <c:pt idx="3518">
                  <c:v>-24.214739000000002</c:v>
                </c:pt>
                <c:pt idx="3519">
                  <c:v>-24.226137000000001</c:v>
                </c:pt>
                <c:pt idx="3520">
                  <c:v>-24.237549000000001</c:v>
                </c:pt>
                <c:pt idx="3521">
                  <c:v>-24.248977</c:v>
                </c:pt>
                <c:pt idx="3522">
                  <c:v>-24.26042</c:v>
                </c:pt>
                <c:pt idx="3523">
                  <c:v>-24.271878999999998</c:v>
                </c:pt>
                <c:pt idx="3524">
                  <c:v>-24.283353000000002</c:v>
                </c:pt>
                <c:pt idx="3525">
                  <c:v>-24.294841000000002</c:v>
                </c:pt>
                <c:pt idx="3526">
                  <c:v>-24.306346999999999</c:v>
                </c:pt>
                <c:pt idx="3527">
                  <c:v>-24.317868000000001</c:v>
                </c:pt>
                <c:pt idx="3528">
                  <c:v>-24.329404</c:v>
                </c:pt>
                <c:pt idx="3529">
                  <c:v>-24.340955999999998</c:v>
                </c:pt>
                <c:pt idx="3530">
                  <c:v>-24.352523999999999</c:v>
                </c:pt>
                <c:pt idx="3531">
                  <c:v>-24.364104999999999</c:v>
                </c:pt>
                <c:pt idx="3532">
                  <c:v>-24.375703999999999</c:v>
                </c:pt>
                <c:pt idx="3533">
                  <c:v>-24.387319999999999</c:v>
                </c:pt>
                <c:pt idx="3534">
                  <c:v>-24.398951</c:v>
                </c:pt>
                <c:pt idx="3535">
                  <c:v>-24.410598</c:v>
                </c:pt>
                <c:pt idx="3536">
                  <c:v>-24.422257999999999</c:v>
                </c:pt>
                <c:pt idx="3537">
                  <c:v>-24.433937</c:v>
                </c:pt>
                <c:pt idx="3538">
                  <c:v>-24.445630999999999</c:v>
                </c:pt>
                <c:pt idx="3539">
                  <c:v>-24.457342000000001</c:v>
                </c:pt>
                <c:pt idx="3540">
                  <c:v>-24.469069000000001</c:v>
                </c:pt>
                <c:pt idx="3541">
                  <c:v>-24.480810000000002</c:v>
                </c:pt>
                <c:pt idx="3542">
                  <c:v>-24.492570000000001</c:v>
                </c:pt>
                <c:pt idx="3543">
                  <c:v>-24.504345000000001</c:v>
                </c:pt>
                <c:pt idx="3544">
                  <c:v>-24.516135999999999</c:v>
                </c:pt>
                <c:pt idx="3545">
                  <c:v>-24.527943</c:v>
                </c:pt>
                <c:pt idx="3546">
                  <c:v>-24.539769</c:v>
                </c:pt>
                <c:pt idx="3547">
                  <c:v>-24.551607000000001</c:v>
                </c:pt>
                <c:pt idx="3548">
                  <c:v>-24.563465000000001</c:v>
                </c:pt>
                <c:pt idx="3549">
                  <c:v>-24.575339</c:v>
                </c:pt>
                <c:pt idx="3550">
                  <c:v>-24.587229000000001</c:v>
                </c:pt>
                <c:pt idx="3551">
                  <c:v>-24.599135</c:v>
                </c:pt>
                <c:pt idx="3552">
                  <c:v>-24.611058</c:v>
                </c:pt>
                <c:pt idx="3553">
                  <c:v>-24.622997999999999</c:v>
                </c:pt>
                <c:pt idx="3554">
                  <c:v>-24.634955999999999</c:v>
                </c:pt>
                <c:pt idx="3555">
                  <c:v>-24.646927999999999</c:v>
                </c:pt>
                <c:pt idx="3556">
                  <c:v>-24.658919000000001</c:v>
                </c:pt>
                <c:pt idx="3557">
                  <c:v>-24.670926000000001</c:v>
                </c:pt>
                <c:pt idx="3558">
                  <c:v>-24.682950000000002</c:v>
                </c:pt>
                <c:pt idx="3559">
                  <c:v>-24.694990000000001</c:v>
                </c:pt>
                <c:pt idx="3560">
                  <c:v>-24.707049000000001</c:v>
                </c:pt>
                <c:pt idx="3561">
                  <c:v>-24.719124000000001</c:v>
                </c:pt>
                <c:pt idx="3562">
                  <c:v>-24.731216</c:v>
                </c:pt>
                <c:pt idx="3563">
                  <c:v>-24.743327000000001</c:v>
                </c:pt>
                <c:pt idx="3564">
                  <c:v>-24.755452999999999</c:v>
                </c:pt>
                <c:pt idx="3565">
                  <c:v>-24.767596999999999</c:v>
                </c:pt>
                <c:pt idx="3566">
                  <c:v>-24.779757</c:v>
                </c:pt>
                <c:pt idx="3567">
                  <c:v>-24.791936</c:v>
                </c:pt>
                <c:pt idx="3568">
                  <c:v>-24.804133</c:v>
                </c:pt>
                <c:pt idx="3569">
                  <c:v>-24.816345999999999</c:v>
                </c:pt>
                <c:pt idx="3570">
                  <c:v>-24.828576000000002</c:v>
                </c:pt>
                <c:pt idx="3571">
                  <c:v>-24.840824000000001</c:v>
                </c:pt>
                <c:pt idx="3572">
                  <c:v>-24.853090999999999</c:v>
                </c:pt>
                <c:pt idx="3573">
                  <c:v>-24.865373999999999</c:v>
                </c:pt>
                <c:pt idx="3574">
                  <c:v>-24.877676000000001</c:v>
                </c:pt>
                <c:pt idx="3575">
                  <c:v>-24.889994999999999</c:v>
                </c:pt>
                <c:pt idx="3576">
                  <c:v>-24.902332000000001</c:v>
                </c:pt>
                <c:pt idx="3577">
                  <c:v>-24.914686</c:v>
                </c:pt>
                <c:pt idx="3578">
                  <c:v>-24.927059</c:v>
                </c:pt>
                <c:pt idx="3579">
                  <c:v>-24.939450999999998</c:v>
                </c:pt>
                <c:pt idx="3580">
                  <c:v>-24.95186</c:v>
                </c:pt>
                <c:pt idx="3581">
                  <c:v>-24.964286000000001</c:v>
                </c:pt>
                <c:pt idx="3582">
                  <c:v>-24.976731999999998</c:v>
                </c:pt>
                <c:pt idx="3583">
                  <c:v>-24.989193</c:v>
                </c:pt>
                <c:pt idx="3584">
                  <c:v>-25.001676</c:v>
                </c:pt>
                <c:pt idx="3585">
                  <c:v>-25.014175000000002</c:v>
                </c:pt>
                <c:pt idx="3586">
                  <c:v>-25.026693999999999</c:v>
                </c:pt>
                <c:pt idx="3587">
                  <c:v>-25.03923</c:v>
                </c:pt>
                <c:pt idx="3588">
                  <c:v>-25.051784999999999</c:v>
                </c:pt>
                <c:pt idx="3589">
                  <c:v>-25.064359</c:v>
                </c:pt>
                <c:pt idx="3590">
                  <c:v>-25.07695</c:v>
                </c:pt>
                <c:pt idx="3591">
                  <c:v>-25.089562000000001</c:v>
                </c:pt>
                <c:pt idx="3592">
                  <c:v>-25.102191000000001</c:v>
                </c:pt>
                <c:pt idx="3593">
                  <c:v>-25.114837999999999</c:v>
                </c:pt>
                <c:pt idx="3594">
                  <c:v>-25.127504999999999</c:v>
                </c:pt>
                <c:pt idx="3595">
                  <c:v>-25.14019</c:v>
                </c:pt>
                <c:pt idx="3596">
                  <c:v>-25.152895000000001</c:v>
                </c:pt>
                <c:pt idx="3597">
                  <c:v>-25.165617999999998</c:v>
                </c:pt>
                <c:pt idx="3598">
                  <c:v>-25.178360000000001</c:v>
                </c:pt>
                <c:pt idx="3599">
                  <c:v>-25.191122</c:v>
                </c:pt>
                <c:pt idx="3600">
                  <c:v>-25.203901999999999</c:v>
                </c:pt>
                <c:pt idx="3601">
                  <c:v>-25.216701</c:v>
                </c:pt>
                <c:pt idx="3602">
                  <c:v>-25.229520999999998</c:v>
                </c:pt>
                <c:pt idx="3603">
                  <c:v>-25.242357999999999</c:v>
                </c:pt>
                <c:pt idx="3604">
                  <c:v>-25.255215</c:v>
                </c:pt>
                <c:pt idx="3605">
                  <c:v>-25.268093</c:v>
                </c:pt>
                <c:pt idx="3606">
                  <c:v>-25.280989000000002</c:v>
                </c:pt>
                <c:pt idx="3607">
                  <c:v>-25.293906</c:v>
                </c:pt>
                <c:pt idx="3608">
                  <c:v>-25.306840000000001</c:v>
                </c:pt>
                <c:pt idx="3609">
                  <c:v>-25.319796</c:v>
                </c:pt>
                <c:pt idx="3610">
                  <c:v>-25.332768999999999</c:v>
                </c:pt>
                <c:pt idx="3611">
                  <c:v>-25.345765</c:v>
                </c:pt>
                <c:pt idx="3612">
                  <c:v>-25.358778999999998</c:v>
                </c:pt>
                <c:pt idx="3613">
                  <c:v>-25.371813</c:v>
                </c:pt>
                <c:pt idx="3614">
                  <c:v>-25.384867</c:v>
                </c:pt>
                <c:pt idx="3615">
                  <c:v>-25.397942</c:v>
                </c:pt>
                <c:pt idx="3616">
                  <c:v>-25.411034999999998</c:v>
                </c:pt>
                <c:pt idx="3617">
                  <c:v>-25.424149</c:v>
                </c:pt>
                <c:pt idx="3618">
                  <c:v>-25.437283999999998</c:v>
                </c:pt>
                <c:pt idx="3619">
                  <c:v>-25.450437999999998</c:v>
                </c:pt>
                <c:pt idx="3620">
                  <c:v>-25.463612999999999</c:v>
                </c:pt>
                <c:pt idx="3621">
                  <c:v>-25.476808999999999</c:v>
                </c:pt>
                <c:pt idx="3622">
                  <c:v>-25.490023999999998</c:v>
                </c:pt>
                <c:pt idx="3623">
                  <c:v>-25.503260999999998</c:v>
                </c:pt>
                <c:pt idx="3624">
                  <c:v>-25.516518000000001</c:v>
                </c:pt>
                <c:pt idx="3625">
                  <c:v>-25.529795</c:v>
                </c:pt>
                <c:pt idx="3626">
                  <c:v>-25.543092000000001</c:v>
                </c:pt>
                <c:pt idx="3627">
                  <c:v>-25.556411000000001</c:v>
                </c:pt>
                <c:pt idx="3628">
                  <c:v>-25.569749999999999</c:v>
                </c:pt>
                <c:pt idx="3629">
                  <c:v>-25.583110999999999</c:v>
                </c:pt>
                <c:pt idx="3630">
                  <c:v>-25.596492000000001</c:v>
                </c:pt>
                <c:pt idx="3631">
                  <c:v>-25.609894000000001</c:v>
                </c:pt>
                <c:pt idx="3632">
                  <c:v>-25.623318999999999</c:v>
                </c:pt>
                <c:pt idx="3633">
                  <c:v>-25.636762999999998</c:v>
                </c:pt>
                <c:pt idx="3634">
                  <c:v>-25.650229</c:v>
                </c:pt>
                <c:pt idx="3635">
                  <c:v>-25.663715</c:v>
                </c:pt>
                <c:pt idx="3636">
                  <c:v>-25.677223999999999</c:v>
                </c:pt>
                <c:pt idx="3637">
                  <c:v>-25.690753000000001</c:v>
                </c:pt>
                <c:pt idx="3638">
                  <c:v>-25.704305000000002</c:v>
                </c:pt>
                <c:pt idx="3639">
                  <c:v>-25.717876</c:v>
                </c:pt>
                <c:pt idx="3640">
                  <c:v>-25.731470999999999</c:v>
                </c:pt>
                <c:pt idx="3641">
                  <c:v>-25.745087999999999</c:v>
                </c:pt>
                <c:pt idx="3642">
                  <c:v>-25.758724999999998</c:v>
                </c:pt>
                <c:pt idx="3643">
                  <c:v>-25.772385</c:v>
                </c:pt>
                <c:pt idx="3644">
                  <c:v>-25.786066000000002</c:v>
                </c:pt>
                <c:pt idx="3645">
                  <c:v>-25.799769000000001</c:v>
                </c:pt>
                <c:pt idx="3646">
                  <c:v>-25.813496000000001</c:v>
                </c:pt>
                <c:pt idx="3647">
                  <c:v>-25.827242999999999</c:v>
                </c:pt>
                <c:pt idx="3648">
                  <c:v>-25.841013</c:v>
                </c:pt>
                <c:pt idx="3649">
                  <c:v>-25.854804000000001</c:v>
                </c:pt>
                <c:pt idx="3650">
                  <c:v>-25.868618000000001</c:v>
                </c:pt>
                <c:pt idx="3651">
                  <c:v>-25.882453999999999</c:v>
                </c:pt>
                <c:pt idx="3652">
                  <c:v>-25.896312999999999</c:v>
                </c:pt>
                <c:pt idx="3653">
                  <c:v>-25.910195000000002</c:v>
                </c:pt>
                <c:pt idx="3654">
                  <c:v>-25.924099999999999</c:v>
                </c:pt>
                <c:pt idx="3655">
                  <c:v>-25.938025</c:v>
                </c:pt>
                <c:pt idx="3656">
                  <c:v>-25.951975000000001</c:v>
                </c:pt>
                <c:pt idx="3657">
                  <c:v>-25.965947</c:v>
                </c:pt>
                <c:pt idx="3658">
                  <c:v>-25.979942999999999</c:v>
                </c:pt>
                <c:pt idx="3659">
                  <c:v>-25.993960999999999</c:v>
                </c:pt>
                <c:pt idx="3660">
                  <c:v>-26.008001</c:v>
                </c:pt>
                <c:pt idx="3661">
                  <c:v>-26.022067</c:v>
                </c:pt>
                <c:pt idx="3662">
                  <c:v>-26.036152999999999</c:v>
                </c:pt>
                <c:pt idx="3663">
                  <c:v>-26.050263999999999</c:v>
                </c:pt>
                <c:pt idx="3664">
                  <c:v>-26.064399000000002</c:v>
                </c:pt>
                <c:pt idx="3665">
                  <c:v>-26.078555999999999</c:v>
                </c:pt>
                <c:pt idx="3666">
                  <c:v>-26.092737</c:v>
                </c:pt>
                <c:pt idx="3667">
                  <c:v>-26.106940999999999</c:v>
                </c:pt>
                <c:pt idx="3668">
                  <c:v>-26.121169999999999</c:v>
                </c:pt>
                <c:pt idx="3669">
                  <c:v>-26.135421000000001</c:v>
                </c:pt>
                <c:pt idx="3670">
                  <c:v>-26.149697</c:v>
                </c:pt>
                <c:pt idx="3671">
                  <c:v>-26.163996999999998</c:v>
                </c:pt>
                <c:pt idx="3672">
                  <c:v>-26.178321</c:v>
                </c:pt>
                <c:pt idx="3673">
                  <c:v>-26.192667</c:v>
                </c:pt>
                <c:pt idx="3674">
                  <c:v>-26.207039000000002</c:v>
                </c:pt>
                <c:pt idx="3675">
                  <c:v>-26.221436000000001</c:v>
                </c:pt>
                <c:pt idx="3676">
                  <c:v>-26.235855000000001</c:v>
                </c:pt>
                <c:pt idx="3677">
                  <c:v>-26.250299999999999</c:v>
                </c:pt>
                <c:pt idx="3678">
                  <c:v>-26.264769999999999</c:v>
                </c:pt>
                <c:pt idx="3679">
                  <c:v>-26.279264000000001</c:v>
                </c:pt>
                <c:pt idx="3680">
                  <c:v>-26.293780999999999</c:v>
                </c:pt>
                <c:pt idx="3681">
                  <c:v>-26.308323999999999</c:v>
                </c:pt>
                <c:pt idx="3682">
                  <c:v>-26.322890999999998</c:v>
                </c:pt>
                <c:pt idx="3683">
                  <c:v>-26.337485000000001</c:v>
                </c:pt>
                <c:pt idx="3684">
                  <c:v>-26.3521</c:v>
                </c:pt>
                <c:pt idx="3685">
                  <c:v>-26.366744000000001</c:v>
                </c:pt>
                <c:pt idx="3686">
                  <c:v>-26.381411</c:v>
                </c:pt>
                <c:pt idx="3687">
                  <c:v>-26.396104999999999</c:v>
                </c:pt>
                <c:pt idx="3688">
                  <c:v>-26.410822</c:v>
                </c:pt>
                <c:pt idx="3689">
                  <c:v>-26.425564999999999</c:v>
                </c:pt>
                <c:pt idx="3690">
                  <c:v>-26.440335000000001</c:v>
                </c:pt>
                <c:pt idx="3691">
                  <c:v>-26.45513</c:v>
                </c:pt>
                <c:pt idx="3692">
                  <c:v>-26.469950000000001</c:v>
                </c:pt>
                <c:pt idx="3693">
                  <c:v>-26.484794999999998</c:v>
                </c:pt>
                <c:pt idx="3694">
                  <c:v>-26.499666999999999</c:v>
                </c:pt>
                <c:pt idx="3695">
                  <c:v>-26.514565000000001</c:v>
                </c:pt>
                <c:pt idx="3696">
                  <c:v>-26.529489000000002</c:v>
                </c:pt>
                <c:pt idx="3697">
                  <c:v>-26.544439000000001</c:v>
                </c:pt>
                <c:pt idx="3698">
                  <c:v>-26.559414</c:v>
                </c:pt>
                <c:pt idx="3699">
                  <c:v>-26.574417</c:v>
                </c:pt>
                <c:pt idx="3700">
                  <c:v>-26.589445000000001</c:v>
                </c:pt>
                <c:pt idx="3701">
                  <c:v>-26.604499000000001</c:v>
                </c:pt>
                <c:pt idx="3702">
                  <c:v>-26.619582000000001</c:v>
                </c:pt>
                <c:pt idx="3703">
                  <c:v>-26.634689000000002</c:v>
                </c:pt>
                <c:pt idx="3704">
                  <c:v>-26.649825</c:v>
                </c:pt>
                <c:pt idx="3705">
                  <c:v>-26.664985999999999</c:v>
                </c:pt>
                <c:pt idx="3706">
                  <c:v>-26.680174999999998</c:v>
                </c:pt>
                <c:pt idx="3707">
                  <c:v>-26.69539</c:v>
                </c:pt>
                <c:pt idx="3708">
                  <c:v>-26.710633000000001</c:v>
                </c:pt>
                <c:pt idx="3709">
                  <c:v>-26.725902999999999</c:v>
                </c:pt>
                <c:pt idx="3710">
                  <c:v>-26.741201</c:v>
                </c:pt>
                <c:pt idx="3711">
                  <c:v>-26.756525</c:v>
                </c:pt>
                <c:pt idx="3712">
                  <c:v>-26.771878000000001</c:v>
                </c:pt>
                <c:pt idx="3713">
                  <c:v>-26.787257</c:v>
                </c:pt>
                <c:pt idx="3714">
                  <c:v>-26.802664</c:v>
                </c:pt>
                <c:pt idx="3715">
                  <c:v>-26.818099</c:v>
                </c:pt>
                <c:pt idx="3716">
                  <c:v>-26.833563999999999</c:v>
                </c:pt>
                <c:pt idx="3717">
                  <c:v>-26.849056000000001</c:v>
                </c:pt>
                <c:pt idx="3718">
                  <c:v>-26.864574000000001</c:v>
                </c:pt>
                <c:pt idx="3719">
                  <c:v>-26.880122</c:v>
                </c:pt>
                <c:pt idx="3720">
                  <c:v>-26.895699</c:v>
                </c:pt>
                <c:pt idx="3721">
                  <c:v>-26.911303</c:v>
                </c:pt>
                <c:pt idx="3722">
                  <c:v>-26.926933999999999</c:v>
                </c:pt>
                <c:pt idx="3723">
                  <c:v>-26.942595000000001</c:v>
                </c:pt>
                <c:pt idx="3724">
                  <c:v>-26.958285</c:v>
                </c:pt>
                <c:pt idx="3725">
                  <c:v>-26.974005999999999</c:v>
                </c:pt>
                <c:pt idx="3726">
                  <c:v>-26.989753</c:v>
                </c:pt>
                <c:pt idx="3727">
                  <c:v>-27.00553</c:v>
                </c:pt>
                <c:pt idx="3728">
                  <c:v>-27.021336000000002</c:v>
                </c:pt>
                <c:pt idx="3729">
                  <c:v>-27.037171000000001</c:v>
                </c:pt>
                <c:pt idx="3730">
                  <c:v>-27.053035999999999</c:v>
                </c:pt>
                <c:pt idx="3731">
                  <c:v>-27.068929000000001</c:v>
                </c:pt>
                <c:pt idx="3732">
                  <c:v>-27.084854</c:v>
                </c:pt>
                <c:pt idx="3733">
                  <c:v>-27.100807</c:v>
                </c:pt>
                <c:pt idx="3734">
                  <c:v>-27.116790999999999</c:v>
                </c:pt>
                <c:pt idx="3735">
                  <c:v>-27.132804</c:v>
                </c:pt>
                <c:pt idx="3736">
                  <c:v>-27.148845999999999</c:v>
                </c:pt>
                <c:pt idx="3737">
                  <c:v>-27.164919000000001</c:v>
                </c:pt>
                <c:pt idx="3738">
                  <c:v>-27.181023</c:v>
                </c:pt>
                <c:pt idx="3739">
                  <c:v>-27.197156</c:v>
                </c:pt>
                <c:pt idx="3740">
                  <c:v>-27.213322000000002</c:v>
                </c:pt>
                <c:pt idx="3741">
                  <c:v>-27.229516</c:v>
                </c:pt>
                <c:pt idx="3742">
                  <c:v>-27.245742</c:v>
                </c:pt>
                <c:pt idx="3743">
                  <c:v>-27.261997999999998</c:v>
                </c:pt>
                <c:pt idx="3744">
                  <c:v>-27.278285</c:v>
                </c:pt>
                <c:pt idx="3745">
                  <c:v>-27.294602999999999</c:v>
                </c:pt>
                <c:pt idx="3746">
                  <c:v>-27.310953999999999</c:v>
                </c:pt>
                <c:pt idx="3747">
                  <c:v>-27.327335000000001</c:v>
                </c:pt>
                <c:pt idx="3748">
                  <c:v>-27.343744999999998</c:v>
                </c:pt>
                <c:pt idx="3749">
                  <c:v>-27.360188999999998</c:v>
                </c:pt>
                <c:pt idx="3750">
                  <c:v>-27.376664999999999</c:v>
                </c:pt>
                <c:pt idx="3751">
                  <c:v>-27.393173000000001</c:v>
                </c:pt>
                <c:pt idx="3752">
                  <c:v>-27.409711999999999</c:v>
                </c:pt>
                <c:pt idx="3753">
                  <c:v>-27.426283000000002</c:v>
                </c:pt>
                <c:pt idx="3754">
                  <c:v>-27.442886000000001</c:v>
                </c:pt>
                <c:pt idx="3755">
                  <c:v>-27.459520999999999</c:v>
                </c:pt>
                <c:pt idx="3756">
                  <c:v>-27.476189999999999</c:v>
                </c:pt>
                <c:pt idx="3757">
                  <c:v>-27.492889999999999</c:v>
                </c:pt>
                <c:pt idx="3758">
                  <c:v>-27.509623000000001</c:v>
                </c:pt>
                <c:pt idx="3759">
                  <c:v>-27.526389000000002</c:v>
                </c:pt>
                <c:pt idx="3760">
                  <c:v>-27.543189000000002</c:v>
                </c:pt>
                <c:pt idx="3761">
                  <c:v>-27.560019</c:v>
                </c:pt>
                <c:pt idx="3762">
                  <c:v>-27.576884</c:v>
                </c:pt>
                <c:pt idx="3763">
                  <c:v>-27.593782000000001</c:v>
                </c:pt>
                <c:pt idx="3764">
                  <c:v>-27.610714000000002</c:v>
                </c:pt>
                <c:pt idx="3765">
                  <c:v>-27.627679000000001</c:v>
                </c:pt>
                <c:pt idx="3766">
                  <c:v>-27.644677999999999</c:v>
                </c:pt>
                <c:pt idx="3767">
                  <c:v>-27.661709999999999</c:v>
                </c:pt>
                <c:pt idx="3768">
                  <c:v>-27.678777</c:v>
                </c:pt>
                <c:pt idx="3769">
                  <c:v>-27.695878</c:v>
                </c:pt>
                <c:pt idx="3770">
                  <c:v>-27.713013</c:v>
                </c:pt>
                <c:pt idx="3771">
                  <c:v>-27.730181999999999</c:v>
                </c:pt>
                <c:pt idx="3772">
                  <c:v>-27.747384</c:v>
                </c:pt>
                <c:pt idx="3773">
                  <c:v>-27.764621999999999</c:v>
                </c:pt>
                <c:pt idx="3774">
                  <c:v>-27.781896</c:v>
                </c:pt>
                <c:pt idx="3775">
                  <c:v>-27.799205000000001</c:v>
                </c:pt>
                <c:pt idx="3776">
                  <c:v>-27.816547</c:v>
                </c:pt>
                <c:pt idx="3777">
                  <c:v>-27.833925000000001</c:v>
                </c:pt>
                <c:pt idx="3778">
                  <c:v>-27.85134</c:v>
                </c:pt>
                <c:pt idx="3779">
                  <c:v>-27.868787999999999</c:v>
                </c:pt>
                <c:pt idx="3780">
                  <c:v>-27.886272000000002</c:v>
                </c:pt>
                <c:pt idx="3781">
                  <c:v>-27.903791999999999</c:v>
                </c:pt>
                <c:pt idx="3782">
                  <c:v>-27.92135</c:v>
                </c:pt>
                <c:pt idx="3783">
                  <c:v>-27.938941</c:v>
                </c:pt>
                <c:pt idx="3784">
                  <c:v>-27.956568000000001</c:v>
                </c:pt>
                <c:pt idx="3785">
                  <c:v>-27.974233999999999</c:v>
                </c:pt>
                <c:pt idx="3786">
                  <c:v>-27.991937</c:v>
                </c:pt>
                <c:pt idx="3787">
                  <c:v>-28.009674</c:v>
                </c:pt>
                <c:pt idx="3788">
                  <c:v>-28.027449000000001</c:v>
                </c:pt>
                <c:pt idx="3789">
                  <c:v>-28.045261</c:v>
                </c:pt>
                <c:pt idx="3790">
                  <c:v>-28.063109000000001</c:v>
                </c:pt>
                <c:pt idx="3791">
                  <c:v>-28.080995999999999</c:v>
                </c:pt>
                <c:pt idx="3792">
                  <c:v>-28.098918000000001</c:v>
                </c:pt>
                <c:pt idx="3793">
                  <c:v>-28.116879000000001</c:v>
                </c:pt>
                <c:pt idx="3794">
                  <c:v>-28.134879000000002</c:v>
                </c:pt>
                <c:pt idx="3795">
                  <c:v>-28.152915</c:v>
                </c:pt>
                <c:pt idx="3796">
                  <c:v>-28.17099</c:v>
                </c:pt>
                <c:pt idx="3797">
                  <c:v>-28.189101999999998</c:v>
                </c:pt>
                <c:pt idx="3798">
                  <c:v>-28.207255</c:v>
                </c:pt>
                <c:pt idx="3799">
                  <c:v>-28.225445000000001</c:v>
                </c:pt>
                <c:pt idx="3800">
                  <c:v>-28.243673000000001</c:v>
                </c:pt>
                <c:pt idx="3801">
                  <c:v>-28.261941</c:v>
                </c:pt>
                <c:pt idx="3802">
                  <c:v>-28.280246000000002</c:v>
                </c:pt>
                <c:pt idx="3803">
                  <c:v>-28.298590999999998</c:v>
                </c:pt>
                <c:pt idx="3804">
                  <c:v>-28.316976</c:v>
                </c:pt>
                <c:pt idx="3805">
                  <c:v>-28.335401999999998</c:v>
                </c:pt>
                <c:pt idx="3806">
                  <c:v>-28.353867000000001</c:v>
                </c:pt>
                <c:pt idx="3807">
                  <c:v>-28.372371000000001</c:v>
                </c:pt>
                <c:pt idx="3808">
                  <c:v>-28.390915</c:v>
                </c:pt>
                <c:pt idx="3809">
                  <c:v>-28.409500000000001</c:v>
                </c:pt>
                <c:pt idx="3810">
                  <c:v>-28.428122999999999</c:v>
                </c:pt>
                <c:pt idx="3811">
                  <c:v>-28.446788000000002</c:v>
                </c:pt>
                <c:pt idx="3812">
                  <c:v>-28.465494</c:v>
                </c:pt>
                <c:pt idx="3813">
                  <c:v>-28.484241999999998</c:v>
                </c:pt>
                <c:pt idx="3814">
                  <c:v>-28.503029000000002</c:v>
                </c:pt>
                <c:pt idx="3815">
                  <c:v>-28.521858000000002</c:v>
                </c:pt>
                <c:pt idx="3816">
                  <c:v>-28.54073</c:v>
                </c:pt>
                <c:pt idx="3817">
                  <c:v>-28.559640999999999</c:v>
                </c:pt>
                <c:pt idx="3818">
                  <c:v>-28.578595</c:v>
                </c:pt>
                <c:pt idx="3819">
                  <c:v>-28.597591999999999</c:v>
                </c:pt>
                <c:pt idx="3820">
                  <c:v>-28.616629</c:v>
                </c:pt>
                <c:pt idx="3821">
                  <c:v>-28.63571</c:v>
                </c:pt>
                <c:pt idx="3822">
                  <c:v>-28.654833</c:v>
                </c:pt>
                <c:pt idx="3823">
                  <c:v>-28.673999999999999</c:v>
                </c:pt>
                <c:pt idx="3824">
                  <c:v>-28.693210000000001</c:v>
                </c:pt>
                <c:pt idx="3825">
                  <c:v>-28.71246</c:v>
                </c:pt>
                <c:pt idx="3826">
                  <c:v>-28.731756000000001</c:v>
                </c:pt>
                <c:pt idx="3827">
                  <c:v>-28.751093000000001</c:v>
                </c:pt>
                <c:pt idx="3828">
                  <c:v>-28.770477</c:v>
                </c:pt>
                <c:pt idx="3829">
                  <c:v>-28.789904</c:v>
                </c:pt>
                <c:pt idx="3830">
                  <c:v>-28.809373999999998</c:v>
                </c:pt>
                <c:pt idx="3831">
                  <c:v>-28.828887999999999</c:v>
                </c:pt>
                <c:pt idx="3832">
                  <c:v>-28.848447</c:v>
                </c:pt>
                <c:pt idx="3833">
                  <c:v>-28.868053</c:v>
                </c:pt>
                <c:pt idx="3834">
                  <c:v>-28.887701</c:v>
                </c:pt>
                <c:pt idx="3835">
                  <c:v>-28.907395000000001</c:v>
                </c:pt>
                <c:pt idx="3836">
                  <c:v>-28.927135</c:v>
                </c:pt>
                <c:pt idx="3837">
                  <c:v>-28.946919000000001</c:v>
                </c:pt>
                <c:pt idx="3838">
                  <c:v>-28.966749</c:v>
                </c:pt>
                <c:pt idx="3839">
                  <c:v>-28.986626999999999</c:v>
                </c:pt>
                <c:pt idx="3840">
                  <c:v>-29.006549</c:v>
                </c:pt>
                <c:pt idx="3841">
                  <c:v>-29.026519</c:v>
                </c:pt>
                <c:pt idx="3842">
                  <c:v>-29.046534999999999</c:v>
                </c:pt>
                <c:pt idx="3843">
                  <c:v>-29.066597999999999</c:v>
                </c:pt>
                <c:pt idx="3844">
                  <c:v>-29.086707000000001</c:v>
                </c:pt>
                <c:pt idx="3845">
                  <c:v>-29.106863000000001</c:v>
                </c:pt>
                <c:pt idx="3846">
                  <c:v>-29.127067</c:v>
                </c:pt>
                <c:pt idx="3847">
                  <c:v>-29.147320000000001</c:v>
                </c:pt>
                <c:pt idx="3848">
                  <c:v>-29.167619999999999</c:v>
                </c:pt>
                <c:pt idx="3849">
                  <c:v>-29.187968999999999</c:v>
                </c:pt>
                <c:pt idx="3850">
                  <c:v>-29.208365000000001</c:v>
                </c:pt>
                <c:pt idx="3851">
                  <c:v>-29.228811</c:v>
                </c:pt>
                <c:pt idx="3852">
                  <c:v>-29.249303000000001</c:v>
                </c:pt>
                <c:pt idx="3853">
                  <c:v>-29.269846999999999</c:v>
                </c:pt>
                <c:pt idx="3854">
                  <c:v>-29.290438000000002</c:v>
                </c:pt>
                <c:pt idx="3855">
                  <c:v>-29.31108</c:v>
                </c:pt>
                <c:pt idx="3856">
                  <c:v>-29.331772000000001</c:v>
                </c:pt>
                <c:pt idx="3857">
                  <c:v>-29.352512999999998</c:v>
                </c:pt>
                <c:pt idx="3858">
                  <c:v>-29.373304999999998</c:v>
                </c:pt>
                <c:pt idx="3859">
                  <c:v>-29.394148000000001</c:v>
                </c:pt>
                <c:pt idx="3860">
                  <c:v>-29.415040999999999</c:v>
                </c:pt>
                <c:pt idx="3861">
                  <c:v>-29.435984999999999</c:v>
                </c:pt>
                <c:pt idx="3862">
                  <c:v>-29.456980999999999</c:v>
                </c:pt>
                <c:pt idx="3863">
                  <c:v>-29.478027000000001</c:v>
                </c:pt>
                <c:pt idx="3864">
                  <c:v>-29.499126</c:v>
                </c:pt>
                <c:pt idx="3865">
                  <c:v>-29.520278000000001</c:v>
                </c:pt>
                <c:pt idx="3866">
                  <c:v>-29.541478999999999</c:v>
                </c:pt>
                <c:pt idx="3867">
                  <c:v>-29.562733999999999</c:v>
                </c:pt>
                <c:pt idx="3868">
                  <c:v>-29.584043000000001</c:v>
                </c:pt>
                <c:pt idx="3869">
                  <c:v>-29.605404</c:v>
                </c:pt>
                <c:pt idx="3870">
                  <c:v>-29.626819000000001</c:v>
                </c:pt>
                <c:pt idx="3871">
                  <c:v>-29.648285000000001</c:v>
                </c:pt>
                <c:pt idx="3872">
                  <c:v>-29.669809000000001</c:v>
                </c:pt>
                <c:pt idx="3873">
                  <c:v>-29.691383999999999</c:v>
                </c:pt>
                <c:pt idx="3874">
                  <c:v>-29.713013</c:v>
                </c:pt>
                <c:pt idx="3875">
                  <c:v>-29.734697000000001</c:v>
                </c:pt>
                <c:pt idx="3876">
                  <c:v>-29.756437999999999</c:v>
                </c:pt>
                <c:pt idx="3877">
                  <c:v>-29.778234000000001</c:v>
                </c:pt>
                <c:pt idx="3878">
                  <c:v>-29.800083000000001</c:v>
                </c:pt>
                <c:pt idx="3879">
                  <c:v>-29.82199</c:v>
                </c:pt>
                <c:pt idx="3880">
                  <c:v>-29.843952000000002</c:v>
                </c:pt>
                <c:pt idx="3881">
                  <c:v>-29.865970000000001</c:v>
                </c:pt>
                <c:pt idx="3882">
                  <c:v>-29.888045000000002</c:v>
                </c:pt>
                <c:pt idx="3883">
                  <c:v>-29.910177000000001</c:v>
                </c:pt>
                <c:pt idx="3884">
                  <c:v>-29.932365999999998</c:v>
                </c:pt>
                <c:pt idx="3885">
                  <c:v>-29.954612999999998</c:v>
                </c:pt>
                <c:pt idx="3886">
                  <c:v>-29.976917</c:v>
                </c:pt>
                <c:pt idx="3887">
                  <c:v>-29.999281</c:v>
                </c:pt>
                <c:pt idx="3888">
                  <c:v>-30.021702000000001</c:v>
                </c:pt>
                <c:pt idx="3889">
                  <c:v>-30.044180000000001</c:v>
                </c:pt>
                <c:pt idx="3890">
                  <c:v>-30.06672</c:v>
                </c:pt>
                <c:pt idx="3891">
                  <c:v>-30.089317999999999</c:v>
                </c:pt>
                <c:pt idx="3892">
                  <c:v>-30.111975999999999</c:v>
                </c:pt>
                <c:pt idx="3893">
                  <c:v>-30.134692000000001</c:v>
                </c:pt>
                <c:pt idx="3894">
                  <c:v>-30.15747</c:v>
                </c:pt>
                <c:pt idx="3895">
                  <c:v>-30.180308</c:v>
                </c:pt>
                <c:pt idx="3896">
                  <c:v>-30.203206999999999</c:v>
                </c:pt>
                <c:pt idx="3897">
                  <c:v>-30.226168999999999</c:v>
                </c:pt>
                <c:pt idx="3898">
                  <c:v>-30.249189000000001</c:v>
                </c:pt>
                <c:pt idx="3899">
                  <c:v>-30.272275</c:v>
                </c:pt>
                <c:pt idx="3900">
                  <c:v>-30.29542</c:v>
                </c:pt>
                <c:pt idx="3901">
                  <c:v>-30.318628</c:v>
                </c:pt>
                <c:pt idx="3902">
                  <c:v>-30.341899000000002</c:v>
                </c:pt>
                <c:pt idx="3903">
                  <c:v>-30.365234000000001</c:v>
                </c:pt>
                <c:pt idx="3904">
                  <c:v>-30.388632000000001</c:v>
                </c:pt>
                <c:pt idx="3905">
                  <c:v>-30.412094</c:v>
                </c:pt>
                <c:pt idx="3906">
                  <c:v>-30.435621000000001</c:v>
                </c:pt>
                <c:pt idx="3907">
                  <c:v>-30.459212000000001</c:v>
                </c:pt>
                <c:pt idx="3908">
                  <c:v>-30.482868</c:v>
                </c:pt>
                <c:pt idx="3909">
                  <c:v>-30.506589000000002</c:v>
                </c:pt>
                <c:pt idx="3910">
                  <c:v>-30.530376</c:v>
                </c:pt>
                <c:pt idx="3911">
                  <c:v>-30.554228999999999</c:v>
                </c:pt>
                <c:pt idx="3912">
                  <c:v>-30.578147999999999</c:v>
                </c:pt>
                <c:pt idx="3913">
                  <c:v>-30.602132999999998</c:v>
                </c:pt>
                <c:pt idx="3914">
                  <c:v>-30.626186000000001</c:v>
                </c:pt>
                <c:pt idx="3915">
                  <c:v>-30.650307999999999</c:v>
                </c:pt>
                <c:pt idx="3916">
                  <c:v>-30.674496999999999</c:v>
                </c:pt>
                <c:pt idx="3917">
                  <c:v>-30.698754000000001</c:v>
                </c:pt>
                <c:pt idx="3918">
                  <c:v>-30.723078000000001</c:v>
                </c:pt>
                <c:pt idx="3919">
                  <c:v>-30.747471999999998</c:v>
                </c:pt>
                <c:pt idx="3920">
                  <c:v>-30.771936</c:v>
                </c:pt>
                <c:pt idx="3921">
                  <c:v>-30.796471</c:v>
                </c:pt>
                <c:pt idx="3922">
                  <c:v>-30.821073999999999</c:v>
                </c:pt>
                <c:pt idx="3923">
                  <c:v>-30.845749000000001</c:v>
                </c:pt>
                <c:pt idx="3924">
                  <c:v>-30.870494999999998</c:v>
                </c:pt>
                <c:pt idx="3925">
                  <c:v>-30.895312000000001</c:v>
                </c:pt>
                <c:pt idx="3926">
                  <c:v>-30.920200999999999</c:v>
                </c:pt>
                <c:pt idx="3927">
                  <c:v>-30.945163000000001</c:v>
                </c:pt>
                <c:pt idx="3928">
                  <c:v>-30.970196000000001</c:v>
                </c:pt>
                <c:pt idx="3929">
                  <c:v>-30.995303</c:v>
                </c:pt>
                <c:pt idx="3930">
                  <c:v>-31.020484</c:v>
                </c:pt>
                <c:pt idx="3931">
                  <c:v>-31.045738</c:v>
                </c:pt>
                <c:pt idx="3932">
                  <c:v>-31.071066999999999</c:v>
                </c:pt>
                <c:pt idx="3933">
                  <c:v>-31.096471000000001</c:v>
                </c:pt>
                <c:pt idx="3934">
                  <c:v>-31.121949000000001</c:v>
                </c:pt>
                <c:pt idx="3935">
                  <c:v>-31.147504999999999</c:v>
                </c:pt>
                <c:pt idx="3936">
                  <c:v>-31.173134999999998</c:v>
                </c:pt>
                <c:pt idx="3937">
                  <c:v>-31.198844000000001</c:v>
                </c:pt>
                <c:pt idx="3938">
                  <c:v>-31.224629</c:v>
                </c:pt>
                <c:pt idx="3939">
                  <c:v>-31.250492000000001</c:v>
                </c:pt>
                <c:pt idx="3940">
                  <c:v>-31.276430999999999</c:v>
                </c:pt>
                <c:pt idx="3941">
                  <c:v>-31.30245</c:v>
                </c:pt>
                <c:pt idx="3942">
                  <c:v>-31.328548000000001</c:v>
                </c:pt>
                <c:pt idx="3943">
                  <c:v>-31.354724999999998</c:v>
                </c:pt>
                <c:pt idx="3944">
                  <c:v>-31.380981999999999</c:v>
                </c:pt>
                <c:pt idx="3945">
                  <c:v>-31.407319000000001</c:v>
                </c:pt>
                <c:pt idx="3946">
                  <c:v>-31.433737000000001</c:v>
                </c:pt>
                <c:pt idx="3947">
                  <c:v>-31.460238</c:v>
                </c:pt>
                <c:pt idx="3948">
                  <c:v>-31.486819000000001</c:v>
                </c:pt>
                <c:pt idx="3949">
                  <c:v>-31.513483999999998</c:v>
                </c:pt>
                <c:pt idx="3950">
                  <c:v>-31.540232</c:v>
                </c:pt>
                <c:pt idx="3951">
                  <c:v>-31.567062</c:v>
                </c:pt>
                <c:pt idx="3952">
                  <c:v>-31.593975</c:v>
                </c:pt>
                <c:pt idx="3953">
                  <c:v>-31.620975000000001</c:v>
                </c:pt>
                <c:pt idx="3954">
                  <c:v>-31.648059</c:v>
                </c:pt>
                <c:pt idx="3955">
                  <c:v>-31.675229000000002</c:v>
                </c:pt>
                <c:pt idx="3956">
                  <c:v>-31.702483000000001</c:v>
                </c:pt>
                <c:pt idx="3957">
                  <c:v>-31.729825999999999</c:v>
                </c:pt>
                <c:pt idx="3958">
                  <c:v>-31.757256000000002</c:v>
                </c:pt>
                <c:pt idx="3959">
                  <c:v>-31.784772</c:v>
                </c:pt>
                <c:pt idx="3960">
                  <c:v>-31.812377000000001</c:v>
                </c:pt>
                <c:pt idx="3961">
                  <c:v>-31.840070999999998</c:v>
                </c:pt>
                <c:pt idx="3962">
                  <c:v>-31.867854999999999</c:v>
                </c:pt>
                <c:pt idx="3963">
                  <c:v>-31.89573</c:v>
                </c:pt>
                <c:pt idx="3964">
                  <c:v>-31.923693</c:v>
                </c:pt>
                <c:pt idx="3965">
                  <c:v>-31.951749</c:v>
                </c:pt>
                <c:pt idx="3966">
                  <c:v>-31.979896</c:v>
                </c:pt>
                <c:pt idx="3967">
                  <c:v>-32.008136999999998</c:v>
                </c:pt>
                <c:pt idx="3968">
                  <c:v>-32.036467999999999</c:v>
                </c:pt>
                <c:pt idx="3969">
                  <c:v>-32.064894000000002</c:v>
                </c:pt>
                <c:pt idx="3970">
                  <c:v>-32.093415</c:v>
                </c:pt>
                <c:pt idx="3971">
                  <c:v>-32.122028999999998</c:v>
                </c:pt>
                <c:pt idx="3972">
                  <c:v>-32.150740999999996</c:v>
                </c:pt>
                <c:pt idx="3973">
                  <c:v>-32.179546999999999</c:v>
                </c:pt>
                <c:pt idx="3974">
                  <c:v>-32.208449999999999</c:v>
                </c:pt>
                <c:pt idx="3975">
                  <c:v>-32.237451999999998</c:v>
                </c:pt>
                <c:pt idx="3976">
                  <c:v>-32.266550000000002</c:v>
                </c:pt>
                <c:pt idx="3977">
                  <c:v>-32.295748000000003</c:v>
                </c:pt>
                <c:pt idx="3978">
                  <c:v>-32.325046</c:v>
                </c:pt>
                <c:pt idx="3979">
                  <c:v>-32.354443000000003</c:v>
                </c:pt>
                <c:pt idx="3980">
                  <c:v>-32.383940000000003</c:v>
                </c:pt>
                <c:pt idx="3981">
                  <c:v>-32.413539</c:v>
                </c:pt>
                <c:pt idx="3982">
                  <c:v>-32.443241</c:v>
                </c:pt>
                <c:pt idx="3983">
                  <c:v>-32.473044999999999</c:v>
                </c:pt>
                <c:pt idx="3984">
                  <c:v>-32.502952999999998</c:v>
                </c:pt>
                <c:pt idx="3985">
                  <c:v>-32.532964</c:v>
                </c:pt>
                <c:pt idx="3986">
                  <c:v>-32.563082999999999</c:v>
                </c:pt>
                <c:pt idx="3987">
                  <c:v>-32.593304000000003</c:v>
                </c:pt>
                <c:pt idx="3988">
                  <c:v>-32.623632999999998</c:v>
                </c:pt>
                <c:pt idx="3989">
                  <c:v>-32.654069999999997</c:v>
                </c:pt>
                <c:pt idx="3990">
                  <c:v>-32.684614000000003</c:v>
                </c:pt>
                <c:pt idx="3991">
                  <c:v>-32.715266</c:v>
                </c:pt>
                <c:pt idx="3992">
                  <c:v>-32.746029999999998</c:v>
                </c:pt>
                <c:pt idx="3993">
                  <c:v>-32.776902</c:v>
                </c:pt>
                <c:pt idx="3994">
                  <c:v>-32.807886000000003</c:v>
                </c:pt>
                <c:pt idx="3995">
                  <c:v>-32.838982000000001</c:v>
                </c:pt>
                <c:pt idx="3996">
                  <c:v>-32.870190000000001</c:v>
                </c:pt>
                <c:pt idx="3997">
                  <c:v>-32.901513000000001</c:v>
                </c:pt>
                <c:pt idx="3998">
                  <c:v>-32.932949000000001</c:v>
                </c:pt>
                <c:pt idx="3999">
                  <c:v>-32.964502000000003</c:v>
                </c:pt>
                <c:pt idx="4000">
                  <c:v>-32.996167999999997</c:v>
                </c:pt>
                <c:pt idx="4001">
                  <c:v>-33.027951999999999</c:v>
                </c:pt>
                <c:pt idx="4002">
                  <c:v>-33.059854000000001</c:v>
                </c:pt>
                <c:pt idx="4003">
                  <c:v>-33.091875999999999</c:v>
                </c:pt>
                <c:pt idx="4004">
                  <c:v>-33.124015</c:v>
                </c:pt>
                <c:pt idx="4005">
                  <c:v>-33.156275000000001</c:v>
                </c:pt>
                <c:pt idx="4006">
                  <c:v>-33.188657999999997</c:v>
                </c:pt>
                <c:pt idx="4007">
                  <c:v>-33.221162</c:v>
                </c:pt>
                <c:pt idx="4008">
                  <c:v>-33.253788</c:v>
                </c:pt>
                <c:pt idx="4009">
                  <c:v>-33.286540000000002</c:v>
                </c:pt>
                <c:pt idx="4010">
                  <c:v>-33.319415999999997</c:v>
                </c:pt>
                <c:pt idx="4011">
                  <c:v>-33.352418</c:v>
                </c:pt>
                <c:pt idx="4012">
                  <c:v>-33.385548</c:v>
                </c:pt>
                <c:pt idx="4013">
                  <c:v>-33.418804000000002</c:v>
                </c:pt>
                <c:pt idx="4014">
                  <c:v>-33.452190999999999</c:v>
                </c:pt>
                <c:pt idx="4015">
                  <c:v>-33.485703999999998</c:v>
                </c:pt>
                <c:pt idx="4016">
                  <c:v>-33.519351</c:v>
                </c:pt>
                <c:pt idx="4017">
                  <c:v>-33.553130000000003</c:v>
                </c:pt>
                <c:pt idx="4018">
                  <c:v>-33.587041999999997</c:v>
                </c:pt>
                <c:pt idx="4019">
                  <c:v>-33.621085999999998</c:v>
                </c:pt>
                <c:pt idx="4020">
                  <c:v>-33.655268</c:v>
                </c:pt>
                <c:pt idx="4021">
                  <c:v>-33.689582000000001</c:v>
                </c:pt>
                <c:pt idx="4022">
                  <c:v>-33.724037000000003</c:v>
                </c:pt>
                <c:pt idx="4023">
                  <c:v>-33.758628999999999</c:v>
                </c:pt>
                <c:pt idx="4024">
                  <c:v>-33.79336</c:v>
                </c:pt>
                <c:pt idx="4025">
                  <c:v>-33.828231000000002</c:v>
                </c:pt>
                <c:pt idx="4026">
                  <c:v>-33.863244999999999</c:v>
                </c:pt>
                <c:pt idx="4027">
                  <c:v>-33.898401</c:v>
                </c:pt>
                <c:pt idx="4028">
                  <c:v>-33.933700999999999</c:v>
                </c:pt>
                <c:pt idx="4029">
                  <c:v>-33.969147</c:v>
                </c:pt>
                <c:pt idx="4030">
                  <c:v>-34.004738000000003</c:v>
                </c:pt>
                <c:pt idx="4031">
                  <c:v>-34.040477000000003</c:v>
                </c:pt>
                <c:pt idx="4032">
                  <c:v>-34.076366</c:v>
                </c:pt>
                <c:pt idx="4033">
                  <c:v>-34.112403999999998</c:v>
                </c:pt>
                <c:pt idx="4034">
                  <c:v>-34.148592000000001</c:v>
                </c:pt>
                <c:pt idx="4035">
                  <c:v>-34.184935000000003</c:v>
                </c:pt>
                <c:pt idx="4036">
                  <c:v>-34.221431000000003</c:v>
                </c:pt>
                <c:pt idx="4037">
                  <c:v>-34.258082000000002</c:v>
                </c:pt>
                <c:pt idx="4038">
                  <c:v>-34.294890000000002</c:v>
                </c:pt>
                <c:pt idx="4039">
                  <c:v>-34.331854999999997</c:v>
                </c:pt>
                <c:pt idx="4040">
                  <c:v>-34.368979000000003</c:v>
                </c:pt>
                <c:pt idx="4041">
                  <c:v>-34.406263000000003</c:v>
                </c:pt>
                <c:pt idx="4042">
                  <c:v>-34.443711</c:v>
                </c:pt>
                <c:pt idx="4043">
                  <c:v>-34.481321999999999</c:v>
                </c:pt>
                <c:pt idx="4044">
                  <c:v>-34.519095</c:v>
                </c:pt>
                <c:pt idx="4045">
                  <c:v>-34.557037000000001</c:v>
                </c:pt>
                <c:pt idx="4046">
                  <c:v>-34.595146</c:v>
                </c:pt>
                <c:pt idx="4047">
                  <c:v>-34.633423999999998</c:v>
                </c:pt>
                <c:pt idx="4048">
                  <c:v>-34.671872999999998</c:v>
                </c:pt>
                <c:pt idx="4049">
                  <c:v>-34.710493</c:v>
                </c:pt>
                <c:pt idx="4050">
                  <c:v>-34.749285999999998</c:v>
                </c:pt>
                <c:pt idx="4051">
                  <c:v>-34.788257000000002</c:v>
                </c:pt>
                <c:pt idx="4052">
                  <c:v>-34.827401999999999</c:v>
                </c:pt>
                <c:pt idx="4053">
                  <c:v>-34.866728999999999</c:v>
                </c:pt>
                <c:pt idx="4054">
                  <c:v>-34.906233</c:v>
                </c:pt>
                <c:pt idx="4055">
                  <c:v>-34.945920999999998</c:v>
                </c:pt>
                <c:pt idx="4056">
                  <c:v>-34.985790999999999</c:v>
                </c:pt>
                <c:pt idx="4057">
                  <c:v>-35.025846000000001</c:v>
                </c:pt>
                <c:pt idx="4058">
                  <c:v>-35.066088999999998</c:v>
                </c:pt>
                <c:pt idx="4059">
                  <c:v>-35.106520000000003</c:v>
                </c:pt>
                <c:pt idx="4060">
                  <c:v>-35.147140999999998</c:v>
                </c:pt>
                <c:pt idx="4061">
                  <c:v>-35.187953999999998</c:v>
                </c:pt>
                <c:pt idx="4062">
                  <c:v>-35.228962000000003</c:v>
                </c:pt>
                <c:pt idx="4063">
                  <c:v>-35.270164999999999</c:v>
                </c:pt>
                <c:pt idx="4064">
                  <c:v>-35.311565999999999</c:v>
                </c:pt>
                <c:pt idx="4065">
                  <c:v>-35.353166000000002</c:v>
                </c:pt>
                <c:pt idx="4066">
                  <c:v>-35.394969000000003</c:v>
                </c:pt>
                <c:pt idx="4067">
                  <c:v>-35.436973999999999</c:v>
                </c:pt>
                <c:pt idx="4068">
                  <c:v>-35.479185000000001</c:v>
                </c:pt>
                <c:pt idx="4069">
                  <c:v>-35.521604000000004</c:v>
                </c:pt>
                <c:pt idx="4070">
                  <c:v>-35.564231999999997</c:v>
                </c:pt>
                <c:pt idx="4071">
                  <c:v>-35.607072000000002</c:v>
                </c:pt>
                <c:pt idx="4072">
                  <c:v>-35.650123999999998</c:v>
                </c:pt>
                <c:pt idx="4073">
                  <c:v>-35.693395000000002</c:v>
                </c:pt>
                <c:pt idx="4074">
                  <c:v>-35.736880999999997</c:v>
                </c:pt>
                <c:pt idx="4075">
                  <c:v>-35.780588000000002</c:v>
                </c:pt>
                <c:pt idx="4076">
                  <c:v>-35.824517999999998</c:v>
                </c:pt>
                <c:pt idx="4077">
                  <c:v>-35.868673000000001</c:v>
                </c:pt>
                <c:pt idx="4078">
                  <c:v>-35.913055999999997</c:v>
                </c:pt>
                <c:pt idx="4079">
                  <c:v>-35.957666000000003</c:v>
                </c:pt>
                <c:pt idx="4080">
                  <c:v>-36.002509000000003</c:v>
                </c:pt>
                <c:pt idx="4081">
                  <c:v>-36.047584999999998</c:v>
                </c:pt>
                <c:pt idx="4082">
                  <c:v>-36.092899000000003</c:v>
                </c:pt>
                <c:pt idx="4083">
                  <c:v>-36.138452000000001</c:v>
                </c:pt>
                <c:pt idx="4084">
                  <c:v>-36.184246000000002</c:v>
                </c:pt>
                <c:pt idx="4085">
                  <c:v>-36.230283999999997</c:v>
                </c:pt>
                <c:pt idx="4086">
                  <c:v>-36.276569000000002</c:v>
                </c:pt>
                <c:pt idx="4087">
                  <c:v>-36.323104000000001</c:v>
                </c:pt>
                <c:pt idx="4088">
                  <c:v>-36.369891000000003</c:v>
                </c:pt>
                <c:pt idx="4089">
                  <c:v>-36.416933</c:v>
                </c:pt>
                <c:pt idx="4090">
                  <c:v>-36.464233</c:v>
                </c:pt>
                <c:pt idx="4091">
                  <c:v>-36.511792</c:v>
                </c:pt>
                <c:pt idx="4092">
                  <c:v>-36.559615999999998</c:v>
                </c:pt>
                <c:pt idx="4093">
                  <c:v>-36.607705000000003</c:v>
                </c:pt>
                <c:pt idx="4094">
                  <c:v>-36.656063000000003</c:v>
                </c:pt>
                <c:pt idx="4095">
                  <c:v>-36.704695000000001</c:v>
                </c:pt>
                <c:pt idx="4096">
                  <c:v>-36.753601000000003</c:v>
                </c:pt>
                <c:pt idx="4097">
                  <c:v>-36.802787000000002</c:v>
                </c:pt>
                <c:pt idx="4098">
                  <c:v>-36.852254000000002</c:v>
                </c:pt>
                <c:pt idx="4099">
                  <c:v>-36.902006</c:v>
                </c:pt>
                <c:pt idx="4100">
                  <c:v>-36.952044999999998</c:v>
                </c:pt>
                <c:pt idx="4101">
                  <c:v>-37.002377000000003</c:v>
                </c:pt>
                <c:pt idx="4102">
                  <c:v>-37.053002999999997</c:v>
                </c:pt>
                <c:pt idx="4103">
                  <c:v>-37.103929000000001</c:v>
                </c:pt>
                <c:pt idx="4104">
                  <c:v>-37.155155000000001</c:v>
                </c:pt>
                <c:pt idx="4105">
                  <c:v>-37.206688999999997</c:v>
                </c:pt>
                <c:pt idx="4106">
                  <c:v>-37.25853</c:v>
                </c:pt>
                <c:pt idx="4107">
                  <c:v>-37.310684999999999</c:v>
                </c:pt>
                <c:pt idx="4108">
                  <c:v>-37.363157000000001</c:v>
                </c:pt>
                <c:pt idx="4109">
                  <c:v>-37.415948999999998</c:v>
                </c:pt>
                <c:pt idx="4110">
                  <c:v>-37.469067000000003</c:v>
                </c:pt>
                <c:pt idx="4111">
                  <c:v>-37.522511000000002</c:v>
                </c:pt>
                <c:pt idx="4112">
                  <c:v>-37.576289000000003</c:v>
                </c:pt>
                <c:pt idx="4113">
                  <c:v>-37.630403000000001</c:v>
                </c:pt>
                <c:pt idx="4114">
                  <c:v>-37.684859000000003</c:v>
                </c:pt>
                <c:pt idx="4115">
                  <c:v>-37.739660000000001</c:v>
                </c:pt>
                <c:pt idx="4116">
                  <c:v>-37.794812</c:v>
                </c:pt>
                <c:pt idx="4117">
                  <c:v>-37.850315999999999</c:v>
                </c:pt>
                <c:pt idx="4118">
                  <c:v>-37.906179999999999</c:v>
                </c:pt>
                <c:pt idx="4119">
                  <c:v>-37.962406000000001</c:v>
                </c:pt>
                <c:pt idx="4120">
                  <c:v>-38.019002999999998</c:v>
                </c:pt>
                <c:pt idx="4121">
                  <c:v>-38.075971000000003</c:v>
                </c:pt>
                <c:pt idx="4122">
                  <c:v>-38.133319</c:v>
                </c:pt>
                <c:pt idx="4123">
                  <c:v>-38.191046999999998</c:v>
                </c:pt>
                <c:pt idx="4124">
                  <c:v>-38.249164999999998</c:v>
                </c:pt>
                <c:pt idx="4125">
                  <c:v>-38.307675000000003</c:v>
                </c:pt>
                <c:pt idx="4126">
                  <c:v>-38.366585999999998</c:v>
                </c:pt>
                <c:pt idx="4127">
                  <c:v>-38.425897999999997</c:v>
                </c:pt>
                <c:pt idx="4128">
                  <c:v>-38.485624000000001</c:v>
                </c:pt>
                <c:pt idx="4129">
                  <c:v>-38.545763000000001</c:v>
                </c:pt>
                <c:pt idx="4130">
                  <c:v>-38.606321999999999</c:v>
                </c:pt>
                <c:pt idx="4131">
                  <c:v>-38.667310000000001</c:v>
                </c:pt>
                <c:pt idx="4132">
                  <c:v>-38.728732000000001</c:v>
                </c:pt>
                <c:pt idx="4133">
                  <c:v>-38.790591999999997</c:v>
                </c:pt>
                <c:pt idx="4134">
                  <c:v>-38.852898000000003</c:v>
                </c:pt>
                <c:pt idx="4135">
                  <c:v>-38.915657000000003</c:v>
                </c:pt>
                <c:pt idx="4136">
                  <c:v>-38.978873</c:v>
                </c:pt>
                <c:pt idx="4137">
                  <c:v>-39.042557000000002</c:v>
                </c:pt>
                <c:pt idx="4138">
                  <c:v>-39.106712000000002</c:v>
                </c:pt>
                <c:pt idx="4139">
                  <c:v>-39.171346</c:v>
                </c:pt>
                <c:pt idx="4140">
                  <c:v>-39.236469</c:v>
                </c:pt>
                <c:pt idx="4141">
                  <c:v>-39.302084000000001</c:v>
                </c:pt>
                <c:pt idx="4142">
                  <c:v>-39.368200999999999</c:v>
                </c:pt>
                <c:pt idx="4143">
                  <c:v>-39.434826999999999</c:v>
                </c:pt>
                <c:pt idx="4144">
                  <c:v>-39.501970999999998</c:v>
                </c:pt>
                <c:pt idx="4145">
                  <c:v>-39.56964</c:v>
                </c:pt>
                <c:pt idx="4146">
                  <c:v>-39.637841999999999</c:v>
                </c:pt>
                <c:pt idx="4147">
                  <c:v>-39.706586999999999</c:v>
                </c:pt>
                <c:pt idx="4148">
                  <c:v>-39.775883</c:v>
                </c:pt>
                <c:pt idx="4149">
                  <c:v>-39.845737</c:v>
                </c:pt>
                <c:pt idx="4150">
                  <c:v>-39.916162</c:v>
                </c:pt>
                <c:pt idx="4151">
                  <c:v>-39.987163000000002</c:v>
                </c:pt>
                <c:pt idx="4152">
                  <c:v>-40.058751999999998</c:v>
                </c:pt>
                <c:pt idx="4153">
                  <c:v>-40.130937000000003</c:v>
                </c:pt>
                <c:pt idx="4154">
                  <c:v>-40.203732000000002</c:v>
                </c:pt>
                <c:pt idx="4155">
                  <c:v>-40.277144</c:v>
                </c:pt>
                <c:pt idx="4156">
                  <c:v>-40.351182999999999</c:v>
                </c:pt>
                <c:pt idx="4157">
                  <c:v>-40.425860999999998</c:v>
                </c:pt>
                <c:pt idx="4158">
                  <c:v>-40.501190999999999</c:v>
                </c:pt>
                <c:pt idx="4159">
                  <c:v>-40.577179999999998</c:v>
                </c:pt>
                <c:pt idx="4160">
                  <c:v>-40.653843000000002</c:v>
                </c:pt>
                <c:pt idx="4161">
                  <c:v>-40.731192999999998</c:v>
                </c:pt>
                <c:pt idx="4162">
                  <c:v>-40.809238999999998</c:v>
                </c:pt>
                <c:pt idx="4163">
                  <c:v>-40.887994999999997</c:v>
                </c:pt>
                <c:pt idx="4164">
                  <c:v>-40.967475999999998</c:v>
                </c:pt>
                <c:pt idx="4165">
                  <c:v>-41.047693000000002</c:v>
                </c:pt>
                <c:pt idx="4166">
                  <c:v>-41.128658000000001</c:v>
                </c:pt>
                <c:pt idx="4167">
                  <c:v>-41.210389999999997</c:v>
                </c:pt>
                <c:pt idx="4168">
                  <c:v>-41.292901000000001</c:v>
                </c:pt>
                <c:pt idx="4169">
                  <c:v>-41.376207000000001</c:v>
                </c:pt>
                <c:pt idx="4170">
                  <c:v>-41.460320000000003</c:v>
                </c:pt>
                <c:pt idx="4171">
                  <c:v>-41.545261000000004</c:v>
                </c:pt>
                <c:pt idx="4172">
                  <c:v>-41.631041000000003</c:v>
                </c:pt>
                <c:pt idx="4173">
                  <c:v>-41.717680000000001</c:v>
                </c:pt>
                <c:pt idx="4174">
                  <c:v>-41.805197</c:v>
                </c:pt>
                <c:pt idx="4175">
                  <c:v>-41.893605000000001</c:v>
                </c:pt>
                <c:pt idx="4176">
                  <c:v>-41.982925999999999</c:v>
                </c:pt>
                <c:pt idx="4177">
                  <c:v>-42.073180000000001</c:v>
                </c:pt>
                <c:pt idx="4178">
                  <c:v>-42.164383000000001</c:v>
                </c:pt>
                <c:pt idx="4179">
                  <c:v>-42.256557999999998</c:v>
                </c:pt>
                <c:pt idx="4180">
                  <c:v>-42.349722999999997</c:v>
                </c:pt>
                <c:pt idx="4181">
                  <c:v>-42.443902000000001</c:v>
                </c:pt>
                <c:pt idx="4182">
                  <c:v>-42.539116</c:v>
                </c:pt>
                <c:pt idx="4183">
                  <c:v>-42.635390000000001</c:v>
                </c:pt>
                <c:pt idx="4184">
                  <c:v>-42.732745999999999</c:v>
                </c:pt>
                <c:pt idx="4185">
                  <c:v>-42.831206999999999</c:v>
                </c:pt>
                <c:pt idx="4186">
                  <c:v>-42.930802999999997</c:v>
                </c:pt>
                <c:pt idx="4187">
                  <c:v>-43.031556000000002</c:v>
                </c:pt>
                <c:pt idx="4188">
                  <c:v>-43.133493999999999</c:v>
                </c:pt>
                <c:pt idx="4189">
                  <c:v>-43.236646999999998</c:v>
                </c:pt>
                <c:pt idx="4190">
                  <c:v>-43.341043999999997</c:v>
                </c:pt>
                <c:pt idx="4191">
                  <c:v>-43.446714999999998</c:v>
                </c:pt>
                <c:pt idx="4192">
                  <c:v>-43.553688999999999</c:v>
                </c:pt>
                <c:pt idx="4193">
                  <c:v>-43.662002000000001</c:v>
                </c:pt>
                <c:pt idx="4194">
                  <c:v>-43.771687</c:v>
                </c:pt>
                <c:pt idx="4195">
                  <c:v>-43.882775000000002</c:v>
                </c:pt>
                <c:pt idx="4196">
                  <c:v>-43.995310000000003</c:v>
                </c:pt>
                <c:pt idx="4197">
                  <c:v>-44.109324000000001</c:v>
                </c:pt>
                <c:pt idx="4198">
                  <c:v>-44.224859000000002</c:v>
                </c:pt>
                <c:pt idx="4199">
                  <c:v>-44.341954999999999</c:v>
                </c:pt>
                <c:pt idx="4200">
                  <c:v>-44.460656</c:v>
                </c:pt>
                <c:pt idx="4201">
                  <c:v>-44.581004999999998</c:v>
                </c:pt>
                <c:pt idx="4202">
                  <c:v>-44.703049999999998</c:v>
                </c:pt>
                <c:pt idx="4203">
                  <c:v>-44.826836999999998</c:v>
                </c:pt>
                <c:pt idx="4204">
                  <c:v>-44.952419999999996</c:v>
                </c:pt>
                <c:pt idx="4205">
                  <c:v>-45.079847999999998</c:v>
                </c:pt>
                <c:pt idx="4206">
                  <c:v>-45.209178000000001</c:v>
                </c:pt>
                <c:pt idx="4207">
                  <c:v>-45.340466999999997</c:v>
                </c:pt>
                <c:pt idx="4208">
                  <c:v>-45.473776999999998</c:v>
                </c:pt>
                <c:pt idx="4209">
                  <c:v>-45.609166999999999</c:v>
                </c:pt>
                <c:pt idx="4210">
                  <c:v>-45.746707999999998</c:v>
                </c:pt>
                <c:pt idx="4211">
                  <c:v>-45.886465000000001</c:v>
                </c:pt>
                <c:pt idx="4212">
                  <c:v>-46.028512999999997</c:v>
                </c:pt>
                <c:pt idx="4213">
                  <c:v>-46.172927999999999</c:v>
                </c:pt>
                <c:pt idx="4214">
                  <c:v>-46.319789</c:v>
                </c:pt>
                <c:pt idx="4215">
                  <c:v>-46.469183000000001</c:v>
                </c:pt>
                <c:pt idx="4216">
                  <c:v>-46.621192000000001</c:v>
                </c:pt>
                <c:pt idx="4217">
                  <c:v>-46.775917999999997</c:v>
                </c:pt>
                <c:pt idx="4218">
                  <c:v>-46.933455000000002</c:v>
                </c:pt>
                <c:pt idx="4219">
                  <c:v>-47.093907999999999</c:v>
                </c:pt>
                <c:pt idx="4220">
                  <c:v>-47.257384000000002</c:v>
                </c:pt>
                <c:pt idx="4221">
                  <c:v>-47.424005000000001</c:v>
                </c:pt>
                <c:pt idx="4222">
                  <c:v>-47.593888999999997</c:v>
                </c:pt>
                <c:pt idx="4223">
                  <c:v>-47.767167000000001</c:v>
                </c:pt>
                <c:pt idx="4224">
                  <c:v>-47.943978000000001</c:v>
                </c:pt>
                <c:pt idx="4225">
                  <c:v>-48.124471999999997</c:v>
                </c:pt>
                <c:pt idx="4226">
                  <c:v>-48.308801000000003</c:v>
                </c:pt>
                <c:pt idx="4227">
                  <c:v>-48.497132999999998</c:v>
                </c:pt>
                <c:pt idx="4228">
                  <c:v>-48.689646000000003</c:v>
                </c:pt>
                <c:pt idx="4229">
                  <c:v>-48.886527999999998</c:v>
                </c:pt>
                <c:pt idx="4230">
                  <c:v>-49.087986000000001</c:v>
                </c:pt>
                <c:pt idx="4231">
                  <c:v>-49.294234000000003</c:v>
                </c:pt>
                <c:pt idx="4232">
                  <c:v>-49.505505999999997</c:v>
                </c:pt>
                <c:pt idx="4233">
                  <c:v>-49.722051999999998</c:v>
                </c:pt>
                <c:pt idx="4234">
                  <c:v>-49.944141999999999</c:v>
                </c:pt>
                <c:pt idx="4235">
                  <c:v>-50.172068000000003</c:v>
                </c:pt>
                <c:pt idx="4236">
                  <c:v>-50.406146999999997</c:v>
                </c:pt>
                <c:pt idx="4237">
                  <c:v>-50.646715</c:v>
                </c:pt>
                <c:pt idx="4238">
                  <c:v>-50.894146999999997</c:v>
                </c:pt>
                <c:pt idx="4239">
                  <c:v>-51.148840999999997</c:v>
                </c:pt>
                <c:pt idx="4240">
                  <c:v>-51.411239000000002</c:v>
                </c:pt>
                <c:pt idx="4241">
                  <c:v>-51.681821999999997</c:v>
                </c:pt>
                <c:pt idx="4242">
                  <c:v>-51.961114999999999</c:v>
                </c:pt>
                <c:pt idx="4243">
                  <c:v>-52.249698000000002</c:v>
                </c:pt>
                <c:pt idx="4244">
                  <c:v>-52.548211000000002</c:v>
                </c:pt>
                <c:pt idx="4245">
                  <c:v>-52.857357999999998</c:v>
                </c:pt>
                <c:pt idx="4246">
                  <c:v>-53.177925999999999</c:v>
                </c:pt>
                <c:pt idx="4247">
                  <c:v>-53.510793</c:v>
                </c:pt>
                <c:pt idx="4248">
                  <c:v>-53.856938</c:v>
                </c:pt>
                <c:pt idx="4249">
                  <c:v>-54.217466999999999</c:v>
                </c:pt>
                <c:pt idx="4250">
                  <c:v>-54.593620999999999</c:v>
                </c:pt>
                <c:pt idx="4251">
                  <c:v>-54.986820999999999</c:v>
                </c:pt>
                <c:pt idx="4252">
                  <c:v>-55.398682000000001</c:v>
                </c:pt>
                <c:pt idx="4253">
                  <c:v>-55.831063</c:v>
                </c:pt>
                <c:pt idx="4254">
                  <c:v>-56.286116</c:v>
                </c:pt>
                <c:pt idx="4255">
                  <c:v>-56.766351</c:v>
                </c:pt>
                <c:pt idx="4256">
                  <c:v>-57.274717000000003</c:v>
                </c:pt>
                <c:pt idx="4257">
                  <c:v>-57.814717000000002</c:v>
                </c:pt>
                <c:pt idx="4258">
                  <c:v>-58.390546999999998</c:v>
                </c:pt>
                <c:pt idx="4259">
                  <c:v>-59.007300999999998</c:v>
                </c:pt>
                <c:pt idx="4260">
                  <c:v>-59.671242999999997</c:v>
                </c:pt>
                <c:pt idx="4261">
                  <c:v>-60.390192999999996</c:v>
                </c:pt>
                <c:pt idx="4262">
                  <c:v>-61.174093999999997</c:v>
                </c:pt>
                <c:pt idx="4263">
                  <c:v>-62.035854</c:v>
                </c:pt>
                <c:pt idx="4264">
                  <c:v>-62.992662000000003</c:v>
                </c:pt>
                <c:pt idx="4265">
                  <c:v>-64.068106</c:v>
                </c:pt>
                <c:pt idx="4266">
                  <c:v>-65.295820000000006</c:v>
                </c:pt>
                <c:pt idx="4267">
                  <c:v>-66.726142999999993</c:v>
                </c:pt>
                <c:pt idx="4268">
                  <c:v>-68.439411000000007</c:v>
                </c:pt>
                <c:pt idx="4269">
                  <c:v>-70.575858999999994</c:v>
                </c:pt>
                <c:pt idx="4270">
                  <c:v>-73.415554</c:v>
                </c:pt>
                <c:pt idx="4271">
                  <c:v>-77.662356000000003</c:v>
                </c:pt>
                <c:pt idx="4272">
                  <c:v>-86.311807999999999</c:v>
                </c:pt>
                <c:pt idx="4273">
                  <c:v>-89.319725000000005</c:v>
                </c:pt>
                <c:pt idx="4274">
                  <c:v>-78.656058000000002</c:v>
                </c:pt>
                <c:pt idx="4275">
                  <c:v>-74.010893999999993</c:v>
                </c:pt>
                <c:pt idx="4276">
                  <c:v>-71.000511000000003</c:v>
                </c:pt>
                <c:pt idx="4277">
                  <c:v>-68.769139999999993</c:v>
                </c:pt>
                <c:pt idx="4278">
                  <c:v>-66.995368999999997</c:v>
                </c:pt>
                <c:pt idx="4279">
                  <c:v>-65.523071000000002</c:v>
                </c:pt>
                <c:pt idx="4280">
                  <c:v>-64.264494999999997</c:v>
                </c:pt>
                <c:pt idx="4281">
                  <c:v>-63.165382999999999</c:v>
                </c:pt>
                <c:pt idx="4282">
                  <c:v>-62.189827999999999</c:v>
                </c:pt>
                <c:pt idx="4283">
                  <c:v>-61.312835</c:v>
                </c:pt>
                <c:pt idx="4284">
                  <c:v>-60.516297999999999</c:v>
                </c:pt>
                <c:pt idx="4285">
                  <c:v>-59.786686000000003</c:v>
                </c:pt>
                <c:pt idx="4286">
                  <c:v>-59.113618000000002</c:v>
                </c:pt>
                <c:pt idx="4287">
                  <c:v>-58.488956999999999</c:v>
                </c:pt>
                <c:pt idx="4288">
                  <c:v>-57.906199000000001</c:v>
                </c:pt>
                <c:pt idx="4289">
                  <c:v>-57.360075999999999</c:v>
                </c:pt>
                <c:pt idx="4290">
                  <c:v>-56.846252999999997</c:v>
                </c:pt>
                <c:pt idx="4291">
                  <c:v>-56.361117</c:v>
                </c:pt>
                <c:pt idx="4292">
                  <c:v>-55.901636000000003</c:v>
                </c:pt>
                <c:pt idx="4293">
                  <c:v>-55.465229999999998</c:v>
                </c:pt>
                <c:pt idx="4294">
                  <c:v>-55.049692</c:v>
                </c:pt>
                <c:pt idx="4295">
                  <c:v>-54.653115</c:v>
                </c:pt>
                <c:pt idx="4296">
                  <c:v>-54.273843999999997</c:v>
                </c:pt>
                <c:pt idx="4297">
                  <c:v>-53.910431000000003</c:v>
                </c:pt>
                <c:pt idx="4298">
                  <c:v>-53.561602000000001</c:v>
                </c:pt>
                <c:pt idx="4299">
                  <c:v>-53.226232000000003</c:v>
                </c:pt>
                <c:pt idx="4300">
                  <c:v>-52.903320999999998</c:v>
                </c:pt>
                <c:pt idx="4301">
                  <c:v>-52.591974999999998</c:v>
                </c:pt>
                <c:pt idx="4302">
                  <c:v>-52.291390999999997</c:v>
                </c:pt>
                <c:pt idx="4303">
                  <c:v>-52.000855000000001</c:v>
                </c:pt>
                <c:pt idx="4304">
                  <c:v>-51.719712999999999</c:v>
                </c:pt>
                <c:pt idx="4305">
                  <c:v>-51.447377000000003</c:v>
                </c:pt>
                <c:pt idx="4306">
                  <c:v>-51.183311000000003</c:v>
                </c:pt>
                <c:pt idx="4307">
                  <c:v>-50.927030000000002</c:v>
                </c:pt>
                <c:pt idx="4308">
                  <c:v>-50.678085000000003</c:v>
                </c:pt>
                <c:pt idx="4309">
                  <c:v>-50.436067000000001</c:v>
                </c:pt>
                <c:pt idx="4310">
                  <c:v>-50.200603000000001</c:v>
                </c:pt>
                <c:pt idx="4311">
                  <c:v>-49.971345999999997</c:v>
                </c:pt>
                <c:pt idx="4312">
                  <c:v>-49.747978000000003</c:v>
                </c:pt>
                <c:pt idx="4313">
                  <c:v>-49.530202000000003</c:v>
                </c:pt>
                <c:pt idx="4314">
                  <c:v>-49.317745000000002</c:v>
                </c:pt>
                <c:pt idx="4315">
                  <c:v>-49.110354000000001</c:v>
                </c:pt>
                <c:pt idx="4316">
                  <c:v>-48.907794000000003</c:v>
                </c:pt>
                <c:pt idx="4317">
                  <c:v>-48.709842999999999</c:v>
                </c:pt>
                <c:pt idx="4318">
                  <c:v>-48.516295</c:v>
                </c:pt>
                <c:pt idx="4319">
                  <c:v>-48.326960999999997</c:v>
                </c:pt>
                <c:pt idx="4320">
                  <c:v>-48.141658</c:v>
                </c:pt>
                <c:pt idx="4321">
                  <c:v>-47.960222000000002</c:v>
                </c:pt>
                <c:pt idx="4322">
                  <c:v>-47.782490000000003</c:v>
                </c:pt>
                <c:pt idx="4323">
                  <c:v>-47.608317</c:v>
                </c:pt>
                <c:pt idx="4324">
                  <c:v>-47.437562</c:v>
                </c:pt>
                <c:pt idx="4325">
                  <c:v>-47.270093000000003</c:v>
                </c:pt>
                <c:pt idx="4326">
                  <c:v>-47.105787999999997</c:v>
                </c:pt>
                <c:pt idx="4327">
                  <c:v>-46.944526000000003</c:v>
                </c:pt>
                <c:pt idx="4328">
                  <c:v>-46.786199000000003</c:v>
                </c:pt>
                <c:pt idx="4329">
                  <c:v>-46.630699999999997</c:v>
                </c:pt>
                <c:pt idx="4330">
                  <c:v>-46.477930999999998</c:v>
                </c:pt>
                <c:pt idx="4331">
                  <c:v>-46.327795999999999</c:v>
                </c:pt>
                <c:pt idx="4332">
                  <c:v>-46.180208999999998</c:v>
                </c:pt>
                <c:pt idx="4333">
                  <c:v>-46.035082000000003</c:v>
                </c:pt>
                <c:pt idx="4334">
                  <c:v>-45.892336</c:v>
                </c:pt>
                <c:pt idx="4335">
                  <c:v>-45.751893000000003</c:v>
                </c:pt>
                <c:pt idx="4336">
                  <c:v>-45.613678999999998</c:v>
                </c:pt>
                <c:pt idx="4337">
                  <c:v>-45.477625000000003</c:v>
                </c:pt>
                <c:pt idx="4338">
                  <c:v>-45.343663999999997</c:v>
                </c:pt>
                <c:pt idx="4339">
                  <c:v>-45.211734999999997</c:v>
                </c:pt>
                <c:pt idx="4340">
                  <c:v>-45.081775</c:v>
                </c:pt>
                <c:pt idx="4341">
                  <c:v>-44.953726000000003</c:v>
                </c:pt>
                <c:pt idx="4342">
                  <c:v>-44.827531999999998</c:v>
                </c:pt>
                <c:pt idx="4343">
                  <c:v>-44.703142</c:v>
                </c:pt>
                <c:pt idx="4344">
                  <c:v>-44.580505000000002</c:v>
                </c:pt>
                <c:pt idx="4345">
                  <c:v>-44.459569999999999</c:v>
                </c:pt>
                <c:pt idx="4346">
                  <c:v>-44.340291000000001</c:v>
                </c:pt>
                <c:pt idx="4347">
                  <c:v>-44.222624000000003</c:v>
                </c:pt>
                <c:pt idx="4348">
                  <c:v>-44.106524999999998</c:v>
                </c:pt>
                <c:pt idx="4349">
                  <c:v>-43.991954999999997</c:v>
                </c:pt>
                <c:pt idx="4350">
                  <c:v>-43.878872000000001</c:v>
                </c:pt>
                <c:pt idx="4351">
                  <c:v>-43.767237000000002</c:v>
                </c:pt>
                <c:pt idx="4352">
                  <c:v>-43.657017000000003</c:v>
                </c:pt>
                <c:pt idx="4353">
                  <c:v>-43.548174000000003</c:v>
                </c:pt>
                <c:pt idx="4354">
                  <c:v>-43.440671999999999</c:v>
                </c:pt>
                <c:pt idx="4355">
                  <c:v>-43.334482999999999</c:v>
                </c:pt>
                <c:pt idx="4356">
                  <c:v>-43.229571</c:v>
                </c:pt>
                <c:pt idx="4357">
                  <c:v>-43.125909999999998</c:v>
                </c:pt>
                <c:pt idx="4358">
                  <c:v>-43.023465000000002</c:v>
                </c:pt>
                <c:pt idx="4359">
                  <c:v>-42.922212999999999</c:v>
                </c:pt>
                <c:pt idx="4360">
                  <c:v>-42.822122999999998</c:v>
                </c:pt>
                <c:pt idx="4361">
                  <c:v>-42.723168999999999</c:v>
                </c:pt>
                <c:pt idx="4362">
                  <c:v>-42.625326999999999</c:v>
                </c:pt>
                <c:pt idx="4363">
                  <c:v>-42.528571999999997</c:v>
                </c:pt>
                <c:pt idx="4364">
                  <c:v>-42.432879</c:v>
                </c:pt>
                <c:pt idx="4365">
                  <c:v>-42.338225000000001</c:v>
                </c:pt>
                <c:pt idx="4366">
                  <c:v>-42.244588999999998</c:v>
                </c:pt>
                <c:pt idx="4367">
                  <c:v>-42.151947999999997</c:v>
                </c:pt>
                <c:pt idx="4368">
                  <c:v>-42.060281000000003</c:v>
                </c:pt>
                <c:pt idx="4369">
                  <c:v>-41.969568000000002</c:v>
                </c:pt>
                <c:pt idx="4370">
                  <c:v>-41.879790999999997</c:v>
                </c:pt>
                <c:pt idx="4371">
                  <c:v>-41.790928000000001</c:v>
                </c:pt>
                <c:pt idx="4372">
                  <c:v>-41.702961000000002</c:v>
                </c:pt>
                <c:pt idx="4373">
                  <c:v>-41.615873999999998</c:v>
                </c:pt>
                <c:pt idx="4374">
                  <c:v>-41.529648999999999</c:v>
                </c:pt>
                <c:pt idx="4375">
                  <c:v>-41.444267000000004</c:v>
                </c:pt>
                <c:pt idx="4376">
                  <c:v>-41.359713999999997</c:v>
                </c:pt>
                <c:pt idx="4377">
                  <c:v>-41.275973</c:v>
                </c:pt>
                <c:pt idx="4378">
                  <c:v>-41.193030999999998</c:v>
                </c:pt>
                <c:pt idx="4379">
                  <c:v>-41.110866999999999</c:v>
                </c:pt>
                <c:pt idx="4380">
                  <c:v>-41.029471999999998</c:v>
                </c:pt>
                <c:pt idx="4381">
                  <c:v>-40.948829000000003</c:v>
                </c:pt>
                <c:pt idx="4382">
                  <c:v>-40.868924999999997</c:v>
                </c:pt>
                <c:pt idx="4383">
                  <c:v>-40.789746999999998</c:v>
                </c:pt>
                <c:pt idx="4384">
                  <c:v>-40.711281999999997</c:v>
                </c:pt>
                <c:pt idx="4385">
                  <c:v>-40.633516999999998</c:v>
                </c:pt>
                <c:pt idx="4386">
                  <c:v>-40.556438</c:v>
                </c:pt>
                <c:pt idx="4387">
                  <c:v>-40.480032999999999</c:v>
                </c:pt>
                <c:pt idx="4388">
                  <c:v>-40.404294</c:v>
                </c:pt>
                <c:pt idx="4389">
                  <c:v>-40.329205999999999</c:v>
                </c:pt>
                <c:pt idx="4390">
                  <c:v>-40.254759999999997</c:v>
                </c:pt>
                <c:pt idx="4391">
                  <c:v>-40.180942000000002</c:v>
                </c:pt>
                <c:pt idx="4392">
                  <c:v>-40.107743999999997</c:v>
                </c:pt>
                <c:pt idx="4393">
                  <c:v>-40.035156999999998</c:v>
                </c:pt>
                <c:pt idx="4394">
                  <c:v>-39.963169000000001</c:v>
                </c:pt>
                <c:pt idx="4395">
                  <c:v>-39.891767000000002</c:v>
                </c:pt>
                <c:pt idx="4396">
                  <c:v>-39.820948000000001</c:v>
                </c:pt>
                <c:pt idx="4397">
                  <c:v>-39.750698</c:v>
                </c:pt>
                <c:pt idx="4398">
                  <c:v>-39.681007999999999</c:v>
                </c:pt>
                <c:pt idx="4399">
                  <c:v>-39.611871000000001</c:v>
                </c:pt>
                <c:pt idx="4400">
                  <c:v>-39.543277000000003</c:v>
                </c:pt>
                <c:pt idx="4401">
                  <c:v>-39.475219000000003</c:v>
                </c:pt>
                <c:pt idx="4402">
                  <c:v>-39.407688</c:v>
                </c:pt>
                <c:pt idx="4403">
                  <c:v>-39.340674999999997</c:v>
                </c:pt>
                <c:pt idx="4404">
                  <c:v>-39.274172</c:v>
                </c:pt>
                <c:pt idx="4405">
                  <c:v>-39.208171999999998</c:v>
                </c:pt>
                <c:pt idx="4406">
                  <c:v>-39.142668</c:v>
                </c:pt>
                <c:pt idx="4407">
                  <c:v>-39.077652</c:v>
                </c:pt>
                <c:pt idx="4408">
                  <c:v>-39.013117999999999</c:v>
                </c:pt>
                <c:pt idx="4409">
                  <c:v>-38.949055999999999</c:v>
                </c:pt>
                <c:pt idx="4410">
                  <c:v>-38.885460999999999</c:v>
                </c:pt>
                <c:pt idx="4411">
                  <c:v>-38.822324999999999</c:v>
                </c:pt>
                <c:pt idx="4412">
                  <c:v>-38.759642999999997</c:v>
                </c:pt>
                <c:pt idx="4413">
                  <c:v>-38.697409</c:v>
                </c:pt>
                <c:pt idx="4414">
                  <c:v>-38.635615000000001</c:v>
                </c:pt>
                <c:pt idx="4415">
                  <c:v>-38.574255999999998</c:v>
                </c:pt>
                <c:pt idx="4416">
                  <c:v>-38.513323</c:v>
                </c:pt>
                <c:pt idx="4417">
                  <c:v>-38.452813999999996</c:v>
                </c:pt>
                <c:pt idx="4418">
                  <c:v>-38.392721000000002</c:v>
                </c:pt>
                <c:pt idx="4419">
                  <c:v>-38.333038000000002</c:v>
                </c:pt>
                <c:pt idx="4420">
                  <c:v>-38.273761</c:v>
                </c:pt>
                <c:pt idx="4421">
                  <c:v>-38.214883999999998</c:v>
                </c:pt>
                <c:pt idx="4422">
                  <c:v>-38.156401000000002</c:v>
                </c:pt>
                <c:pt idx="4423">
                  <c:v>-38.098306999999998</c:v>
                </c:pt>
                <c:pt idx="4424">
                  <c:v>-38.040595000000003</c:v>
                </c:pt>
                <c:pt idx="4425">
                  <c:v>-37.983265000000003</c:v>
                </c:pt>
                <c:pt idx="4426">
                  <c:v>-37.926307000000001</c:v>
                </c:pt>
                <c:pt idx="4427">
                  <c:v>-37.869719000000003</c:v>
                </c:pt>
                <c:pt idx="4428">
                  <c:v>-37.813495000000003</c:v>
                </c:pt>
                <c:pt idx="4429">
                  <c:v>-37.757629999999999</c:v>
                </c:pt>
                <c:pt idx="4430">
                  <c:v>-37.702120000000001</c:v>
                </c:pt>
                <c:pt idx="4431">
                  <c:v>-37.64696</c:v>
                </c:pt>
                <c:pt idx="4432">
                  <c:v>-37.592148000000002</c:v>
                </c:pt>
                <c:pt idx="4433">
                  <c:v>-37.537677000000002</c:v>
                </c:pt>
                <c:pt idx="4434">
                  <c:v>-37.483544000000002</c:v>
                </c:pt>
                <c:pt idx="4435">
                  <c:v>-37.429741999999997</c:v>
                </c:pt>
                <c:pt idx="4436">
                  <c:v>-37.376271000000003</c:v>
                </c:pt>
                <c:pt idx="4437">
                  <c:v>-37.323126000000002</c:v>
                </c:pt>
                <c:pt idx="4438">
                  <c:v>-37.270301000000003</c:v>
                </c:pt>
                <c:pt idx="4439">
                  <c:v>-37.217793999999998</c:v>
                </c:pt>
                <c:pt idx="4440">
                  <c:v>-37.165599999999998</c:v>
                </c:pt>
                <c:pt idx="4441">
                  <c:v>-37.113717000000001</c:v>
                </c:pt>
                <c:pt idx="4442">
                  <c:v>-37.062137999999997</c:v>
                </c:pt>
                <c:pt idx="4443">
                  <c:v>-37.010863000000001</c:v>
                </c:pt>
                <c:pt idx="4444">
                  <c:v>-36.959887999999999</c:v>
                </c:pt>
                <c:pt idx="4445">
                  <c:v>-36.909207000000002</c:v>
                </c:pt>
                <c:pt idx="4446">
                  <c:v>-36.858818999999997</c:v>
                </c:pt>
                <c:pt idx="4447">
                  <c:v>-36.808720000000001</c:v>
                </c:pt>
                <c:pt idx="4448">
                  <c:v>-36.758906000000003</c:v>
                </c:pt>
                <c:pt idx="4449">
                  <c:v>-36.709373999999997</c:v>
                </c:pt>
                <c:pt idx="4450">
                  <c:v>-36.660122000000001</c:v>
                </c:pt>
                <c:pt idx="4451">
                  <c:v>-36.611145</c:v>
                </c:pt>
                <c:pt idx="4452">
                  <c:v>-36.562441</c:v>
                </c:pt>
                <c:pt idx="4453">
                  <c:v>-36.514007999999997</c:v>
                </c:pt>
                <c:pt idx="4454">
                  <c:v>-36.465839000000003</c:v>
                </c:pt>
                <c:pt idx="4455">
                  <c:v>-36.417935999999997</c:v>
                </c:pt>
                <c:pt idx="4456">
                  <c:v>-36.370294999999999</c:v>
                </c:pt>
                <c:pt idx="4457">
                  <c:v>-36.322909000000003</c:v>
                </c:pt>
                <c:pt idx="4458">
                  <c:v>-36.275781000000002</c:v>
                </c:pt>
                <c:pt idx="4459">
                  <c:v>-36.228904999999997</c:v>
                </c:pt>
                <c:pt idx="4460">
                  <c:v>-36.182277999999997</c:v>
                </c:pt>
                <c:pt idx="4461">
                  <c:v>-36.135899000000002</c:v>
                </c:pt>
                <c:pt idx="4462">
                  <c:v>-36.089765</c:v>
                </c:pt>
                <c:pt idx="4463">
                  <c:v>-36.043872999999998</c:v>
                </c:pt>
                <c:pt idx="4464">
                  <c:v>-35.998220000000003</c:v>
                </c:pt>
                <c:pt idx="4465">
                  <c:v>-35.952806000000002</c:v>
                </c:pt>
                <c:pt idx="4466">
                  <c:v>-35.907623000000001</c:v>
                </c:pt>
                <c:pt idx="4467">
                  <c:v>-35.862676</c:v>
                </c:pt>
                <c:pt idx="4468">
                  <c:v>-35.817956000000002</c:v>
                </c:pt>
                <c:pt idx="4469">
                  <c:v>-35.773463</c:v>
                </c:pt>
                <c:pt idx="4470">
                  <c:v>-35.729196999999999</c:v>
                </c:pt>
                <c:pt idx="4471">
                  <c:v>-35.685153999999997</c:v>
                </c:pt>
                <c:pt idx="4472">
                  <c:v>-35.641328999999999</c:v>
                </c:pt>
                <c:pt idx="4473">
                  <c:v>-35.597724999999997</c:v>
                </c:pt>
                <c:pt idx="4474">
                  <c:v>-35.554335000000002</c:v>
                </c:pt>
                <c:pt idx="4475">
                  <c:v>-35.511161999999999</c:v>
                </c:pt>
                <c:pt idx="4476">
                  <c:v>-35.468198000000001</c:v>
                </c:pt>
                <c:pt idx="4477">
                  <c:v>-35.425446000000001</c:v>
                </c:pt>
                <c:pt idx="4478">
                  <c:v>-35.382902000000001</c:v>
                </c:pt>
                <c:pt idx="4479">
                  <c:v>-35.340561999999998</c:v>
                </c:pt>
                <c:pt idx="4480">
                  <c:v>-35.298425999999999</c:v>
                </c:pt>
                <c:pt idx="4481">
                  <c:v>-35.256494000000004</c:v>
                </c:pt>
                <c:pt idx="4482">
                  <c:v>-35.214759999999998</c:v>
                </c:pt>
                <c:pt idx="4483">
                  <c:v>-35.173223999999998</c:v>
                </c:pt>
                <c:pt idx="4484">
                  <c:v>-35.131886000000002</c:v>
                </c:pt>
                <c:pt idx="4485">
                  <c:v>-35.090739999999997</c:v>
                </c:pt>
                <c:pt idx="4486">
                  <c:v>-35.049787000000002</c:v>
                </c:pt>
                <c:pt idx="4487">
                  <c:v>-35.009027000000003</c:v>
                </c:pt>
                <c:pt idx="4488">
                  <c:v>-34.968452999999997</c:v>
                </c:pt>
                <c:pt idx="4489">
                  <c:v>-34.928066999999999</c:v>
                </c:pt>
                <c:pt idx="4490">
                  <c:v>-34.887867</c:v>
                </c:pt>
                <c:pt idx="4491">
                  <c:v>-34.847850000000001</c:v>
                </c:pt>
                <c:pt idx="4492">
                  <c:v>-34.808016000000002</c:v>
                </c:pt>
                <c:pt idx="4493">
                  <c:v>-34.768362000000003</c:v>
                </c:pt>
                <c:pt idx="4494">
                  <c:v>-34.728886000000003</c:v>
                </c:pt>
                <c:pt idx="4495">
                  <c:v>-34.689587000000003</c:v>
                </c:pt>
                <c:pt idx="4496">
                  <c:v>-34.650463999999999</c:v>
                </c:pt>
                <c:pt idx="4497">
                  <c:v>-34.611516999999999</c:v>
                </c:pt>
                <c:pt idx="4498">
                  <c:v>-34.572740000000003</c:v>
                </c:pt>
                <c:pt idx="4499">
                  <c:v>-34.534134000000002</c:v>
                </c:pt>
                <c:pt idx="4500">
                  <c:v>-34.495697999999997</c:v>
                </c:pt>
                <c:pt idx="4501">
                  <c:v>-34.457430000000002</c:v>
                </c:pt>
                <c:pt idx="4502">
                  <c:v>-34.419328</c:v>
                </c:pt>
                <c:pt idx="4503">
                  <c:v>-34.381391000000001</c:v>
                </c:pt>
                <c:pt idx="4504">
                  <c:v>-34.343617000000002</c:v>
                </c:pt>
                <c:pt idx="4505">
                  <c:v>-34.306007000000001</c:v>
                </c:pt>
                <c:pt idx="4506">
                  <c:v>-34.268555999999997</c:v>
                </c:pt>
                <c:pt idx="4507">
                  <c:v>-34.231265</c:v>
                </c:pt>
                <c:pt idx="4508">
                  <c:v>-34.194133999999998</c:v>
                </c:pt>
                <c:pt idx="4509">
                  <c:v>-34.157156999999998</c:v>
                </c:pt>
                <c:pt idx="4510">
                  <c:v>-34.120336999999999</c:v>
                </c:pt>
                <c:pt idx="4511">
                  <c:v>-34.083669</c:v>
                </c:pt>
                <c:pt idx="4512">
                  <c:v>-34.047156999999999</c:v>
                </c:pt>
                <c:pt idx="4513">
                  <c:v>-34.010795000000002</c:v>
                </c:pt>
                <c:pt idx="4514">
                  <c:v>-33.974580000000003</c:v>
                </c:pt>
                <c:pt idx="4515">
                  <c:v>-33.938518000000002</c:v>
                </c:pt>
                <c:pt idx="4516">
                  <c:v>-33.902602000000002</c:v>
                </c:pt>
                <c:pt idx="4517">
                  <c:v>-33.866833999999997</c:v>
                </c:pt>
                <c:pt idx="4518">
                  <c:v>-33.831211000000003</c:v>
                </c:pt>
                <c:pt idx="4519">
                  <c:v>-33.795729999999999</c:v>
                </c:pt>
                <c:pt idx="4520">
                  <c:v>-33.760393999999998</c:v>
                </c:pt>
                <c:pt idx="4521">
                  <c:v>-33.725200000000001</c:v>
                </c:pt>
                <c:pt idx="4522">
                  <c:v>-33.690148000000001</c:v>
                </c:pt>
                <c:pt idx="4523">
                  <c:v>-33.655234</c:v>
                </c:pt>
                <c:pt idx="4524">
                  <c:v>-33.620457999999999</c:v>
                </c:pt>
                <c:pt idx="4525">
                  <c:v>-33.585818000000003</c:v>
                </c:pt>
                <c:pt idx="4526">
                  <c:v>-33.551316999999997</c:v>
                </c:pt>
                <c:pt idx="4527">
                  <c:v>-33.516950000000001</c:v>
                </c:pt>
                <c:pt idx="4528">
                  <c:v>-33.482717000000001</c:v>
                </c:pt>
                <c:pt idx="4529">
                  <c:v>-33.448616999999999</c:v>
                </c:pt>
                <c:pt idx="4530">
                  <c:v>-33.414651999999997</c:v>
                </c:pt>
                <c:pt idx="4531">
                  <c:v>-33.380813000000003</c:v>
                </c:pt>
                <c:pt idx="4532">
                  <c:v>-33.347107999999999</c:v>
                </c:pt>
                <c:pt idx="4533">
                  <c:v>-33.31353</c:v>
                </c:pt>
                <c:pt idx="4534">
                  <c:v>-33.280081000000003</c:v>
                </c:pt>
                <c:pt idx="4535">
                  <c:v>-33.246758999999997</c:v>
                </c:pt>
                <c:pt idx="4536">
                  <c:v>-33.213563999999998</c:v>
                </c:pt>
                <c:pt idx="4537">
                  <c:v>-33.180492000000001</c:v>
                </c:pt>
                <c:pt idx="4538">
                  <c:v>-33.147545000000001</c:v>
                </c:pt>
                <c:pt idx="4539">
                  <c:v>-33.114722999999998</c:v>
                </c:pt>
                <c:pt idx="4540">
                  <c:v>-33.082020999999997</c:v>
                </c:pt>
                <c:pt idx="4541">
                  <c:v>-33.049441000000002</c:v>
                </c:pt>
                <c:pt idx="4542">
                  <c:v>-33.016981999999999</c:v>
                </c:pt>
                <c:pt idx="4543">
                  <c:v>-32.984642999999998</c:v>
                </c:pt>
                <c:pt idx="4544">
                  <c:v>-32.952421000000001</c:v>
                </c:pt>
                <c:pt idx="4545">
                  <c:v>-32.920318999999999</c:v>
                </c:pt>
                <c:pt idx="4546">
                  <c:v>-32.888331999999998</c:v>
                </c:pt>
                <c:pt idx="4547">
                  <c:v>-32.856462999999998</c:v>
                </c:pt>
                <c:pt idx="4548">
                  <c:v>-32.824708000000001</c:v>
                </c:pt>
                <c:pt idx="4549">
                  <c:v>-32.793067999999998</c:v>
                </c:pt>
                <c:pt idx="4550">
                  <c:v>-32.761541000000001</c:v>
                </c:pt>
                <c:pt idx="4551">
                  <c:v>-32.730128000000001</c:v>
                </c:pt>
                <c:pt idx="4552">
                  <c:v>-32.698825999999997</c:v>
                </c:pt>
                <c:pt idx="4553">
                  <c:v>-32.667636999999999</c:v>
                </c:pt>
                <c:pt idx="4554">
                  <c:v>-32.636557000000003</c:v>
                </c:pt>
                <c:pt idx="4555">
                  <c:v>-32.605587</c:v>
                </c:pt>
                <c:pt idx="4556">
                  <c:v>-32.574725999999998</c:v>
                </c:pt>
                <c:pt idx="4557">
                  <c:v>-32.543971999999997</c:v>
                </c:pt>
                <c:pt idx="4558">
                  <c:v>-32.513325999999999</c:v>
                </c:pt>
                <c:pt idx="4559">
                  <c:v>-32.482787999999999</c:v>
                </c:pt>
                <c:pt idx="4560">
                  <c:v>-32.452353000000002</c:v>
                </c:pt>
                <c:pt idx="4561">
                  <c:v>-32.422024</c:v>
                </c:pt>
                <c:pt idx="4562">
                  <c:v>-32.391801000000001</c:v>
                </c:pt>
                <c:pt idx="4563">
                  <c:v>-32.36168</c:v>
                </c:pt>
                <c:pt idx="4564">
                  <c:v>-32.331662999999999</c:v>
                </c:pt>
                <c:pt idx="4565">
                  <c:v>-32.301748000000003</c:v>
                </c:pt>
                <c:pt idx="4566">
                  <c:v>-32.271934000000002</c:v>
                </c:pt>
                <c:pt idx="4567">
                  <c:v>-32.242221999999998</c:v>
                </c:pt>
                <c:pt idx="4568">
                  <c:v>-32.212609999999998</c:v>
                </c:pt>
                <c:pt idx="4569">
                  <c:v>-32.183095000000002</c:v>
                </c:pt>
                <c:pt idx="4570">
                  <c:v>-32.153680999999999</c:v>
                </c:pt>
                <c:pt idx="4571">
                  <c:v>-32.124366000000002</c:v>
                </c:pt>
                <c:pt idx="4572">
                  <c:v>-32.095146999999997</c:v>
                </c:pt>
                <c:pt idx="4573">
                  <c:v>-32.066025000000003</c:v>
                </c:pt>
                <c:pt idx="4574">
                  <c:v>-32.036999999999999</c:v>
                </c:pt>
                <c:pt idx="4575">
                  <c:v>-32.008068999999999</c:v>
                </c:pt>
                <c:pt idx="4576">
                  <c:v>-31.979236</c:v>
                </c:pt>
                <c:pt idx="4577">
                  <c:v>-31.950493999999999</c:v>
                </c:pt>
                <c:pt idx="4578">
                  <c:v>-31.921845999999999</c:v>
                </c:pt>
                <c:pt idx="4579">
                  <c:v>-31.893293</c:v>
                </c:pt>
                <c:pt idx="4580">
                  <c:v>-31.864832</c:v>
                </c:pt>
                <c:pt idx="4581">
                  <c:v>-31.836462000000001</c:v>
                </c:pt>
                <c:pt idx="4582">
                  <c:v>-31.808183</c:v>
                </c:pt>
                <c:pt idx="4583">
                  <c:v>-31.779996000000001</c:v>
                </c:pt>
                <c:pt idx="4584">
                  <c:v>-31.751899000000002</c:v>
                </c:pt>
                <c:pt idx="4585">
                  <c:v>-31.723890999999998</c:v>
                </c:pt>
                <c:pt idx="4586">
                  <c:v>-31.695972000000001</c:v>
                </c:pt>
                <c:pt idx="4587">
                  <c:v>-31.668140999999999</c:v>
                </c:pt>
                <c:pt idx="4588">
                  <c:v>-31.640398999999999</c:v>
                </c:pt>
                <c:pt idx="4589">
                  <c:v>-31.612742999999998</c:v>
                </c:pt>
                <c:pt idx="4590">
                  <c:v>-31.585173999999999</c:v>
                </c:pt>
                <c:pt idx="4591">
                  <c:v>-31.557690999999998</c:v>
                </c:pt>
                <c:pt idx="4592">
                  <c:v>-31.530294999999999</c:v>
                </c:pt>
                <c:pt idx="4593">
                  <c:v>-31.502983</c:v>
                </c:pt>
                <c:pt idx="4594">
                  <c:v>-31.475754999999999</c:v>
                </c:pt>
                <c:pt idx="4595">
                  <c:v>-31.448612000000001</c:v>
                </c:pt>
                <c:pt idx="4596">
                  <c:v>-31.421551000000001</c:v>
                </c:pt>
                <c:pt idx="4597">
                  <c:v>-31.394573999999999</c:v>
                </c:pt>
                <c:pt idx="4598">
                  <c:v>-31.367681000000001</c:v>
                </c:pt>
                <c:pt idx="4599">
                  <c:v>-31.340868</c:v>
                </c:pt>
                <c:pt idx="4600">
                  <c:v>-31.314136999999999</c:v>
                </c:pt>
                <c:pt idx="4601">
                  <c:v>-31.287488</c:v>
                </c:pt>
                <c:pt idx="4602">
                  <c:v>-31.260919000000001</c:v>
                </c:pt>
                <c:pt idx="4603">
                  <c:v>-31.23443</c:v>
                </c:pt>
                <c:pt idx="4604">
                  <c:v>-31.208019</c:v>
                </c:pt>
                <c:pt idx="4605">
                  <c:v>-31.181688999999999</c:v>
                </c:pt>
                <c:pt idx="4606">
                  <c:v>-31.155436000000002</c:v>
                </c:pt>
                <c:pt idx="4607">
                  <c:v>-31.129262000000001</c:v>
                </c:pt>
                <c:pt idx="4608">
                  <c:v>-31.103166000000002</c:v>
                </c:pt>
                <c:pt idx="4609">
                  <c:v>-31.077145999999999</c:v>
                </c:pt>
                <c:pt idx="4610">
                  <c:v>-31.051203000000001</c:v>
                </c:pt>
                <c:pt idx="4611">
                  <c:v>-31.025338000000001</c:v>
                </c:pt>
                <c:pt idx="4612">
                  <c:v>-30.999547</c:v>
                </c:pt>
                <c:pt idx="4613">
                  <c:v>-30.973832000000002</c:v>
                </c:pt>
                <c:pt idx="4614">
                  <c:v>-30.948191000000001</c:v>
                </c:pt>
                <c:pt idx="4615">
                  <c:v>-30.922626000000001</c:v>
                </c:pt>
                <c:pt idx="4616">
                  <c:v>-30.897133</c:v>
                </c:pt>
                <c:pt idx="4617">
                  <c:v>-30.871715999999999</c:v>
                </c:pt>
                <c:pt idx="4618">
                  <c:v>-30.846371999999999</c:v>
                </c:pt>
                <c:pt idx="4619">
                  <c:v>-30.821099</c:v>
                </c:pt>
                <c:pt idx="4620">
                  <c:v>-30.795898000000001</c:v>
                </c:pt>
                <c:pt idx="4621">
                  <c:v>-30.770769999999999</c:v>
                </c:pt>
                <c:pt idx="4622">
                  <c:v>-30.745715000000001</c:v>
                </c:pt>
                <c:pt idx="4623">
                  <c:v>-30.720728999999999</c:v>
                </c:pt>
                <c:pt idx="4624">
                  <c:v>-30.695813999999999</c:v>
                </c:pt>
                <c:pt idx="4625">
                  <c:v>-30.670970000000001</c:v>
                </c:pt>
                <c:pt idx="4626">
                  <c:v>-30.646196</c:v>
                </c:pt>
                <c:pt idx="4627">
                  <c:v>-30.621492</c:v>
                </c:pt>
                <c:pt idx="4628">
                  <c:v>-30.596855999999999</c:v>
                </c:pt>
                <c:pt idx="4629">
                  <c:v>-30.572289000000001</c:v>
                </c:pt>
                <c:pt idx="4630">
                  <c:v>-30.547791</c:v>
                </c:pt>
                <c:pt idx="4631">
                  <c:v>-30.523358999999999</c:v>
                </c:pt>
                <c:pt idx="4632">
                  <c:v>-30.498996000000002</c:v>
                </c:pt>
                <c:pt idx="4633">
                  <c:v>-30.474699000000001</c:v>
                </c:pt>
                <c:pt idx="4634">
                  <c:v>-30.450471</c:v>
                </c:pt>
                <c:pt idx="4635">
                  <c:v>-30.426307999999999</c:v>
                </c:pt>
                <c:pt idx="4636">
                  <c:v>-30.402211000000001</c:v>
                </c:pt>
                <c:pt idx="4637">
                  <c:v>-30.378181000000001</c:v>
                </c:pt>
                <c:pt idx="4638">
                  <c:v>-30.354215</c:v>
                </c:pt>
                <c:pt idx="4639">
                  <c:v>-30.330314000000001</c:v>
                </c:pt>
                <c:pt idx="4640">
                  <c:v>-30.306479</c:v>
                </c:pt>
                <c:pt idx="4641">
                  <c:v>-30.282706999999998</c:v>
                </c:pt>
                <c:pt idx="4642">
                  <c:v>-30.259</c:v>
                </c:pt>
                <c:pt idx="4643">
                  <c:v>-30.235355999999999</c:v>
                </c:pt>
                <c:pt idx="4644">
                  <c:v>-30.211776</c:v>
                </c:pt>
                <c:pt idx="4645">
                  <c:v>-30.188258000000001</c:v>
                </c:pt>
                <c:pt idx="4646">
                  <c:v>-30.164802000000002</c:v>
                </c:pt>
                <c:pt idx="4647">
                  <c:v>-30.14141</c:v>
                </c:pt>
                <c:pt idx="4648">
                  <c:v>-30.118079000000002</c:v>
                </c:pt>
                <c:pt idx="4649">
                  <c:v>-30.094809000000001</c:v>
                </c:pt>
                <c:pt idx="4650">
                  <c:v>-30.071601999999999</c:v>
                </c:pt>
                <c:pt idx="4651">
                  <c:v>-30.048454</c:v>
                </c:pt>
                <c:pt idx="4652">
                  <c:v>-30.025368</c:v>
                </c:pt>
                <c:pt idx="4653">
                  <c:v>-30.002341000000001</c:v>
                </c:pt>
                <c:pt idx="4654">
                  <c:v>-29.979375999999998</c:v>
                </c:pt>
                <c:pt idx="4655">
                  <c:v>-29.956465999999999</c:v>
                </c:pt>
                <c:pt idx="4656">
                  <c:v>-29.933622</c:v>
                </c:pt>
                <c:pt idx="4657">
                  <c:v>-29.910833</c:v>
                </c:pt>
                <c:pt idx="4658">
                  <c:v>-29.888102</c:v>
                </c:pt>
                <c:pt idx="4659">
                  <c:v>-29.865431999999998</c:v>
                </c:pt>
                <c:pt idx="4660">
                  <c:v>-29.842818999999999</c:v>
                </c:pt>
                <c:pt idx="4661">
                  <c:v>-29.820263000000001</c:v>
                </c:pt>
                <c:pt idx="4662">
                  <c:v>-29.797765999999999</c:v>
                </c:pt>
                <c:pt idx="4663">
                  <c:v>-29.775326</c:v>
                </c:pt>
                <c:pt idx="4664">
                  <c:v>-29.752943999999999</c:v>
                </c:pt>
                <c:pt idx="4665">
                  <c:v>-29.730616000000001</c:v>
                </c:pt>
                <c:pt idx="4666">
                  <c:v>-29.708345999999999</c:v>
                </c:pt>
                <c:pt idx="4667">
                  <c:v>-29.686133000000002</c:v>
                </c:pt>
                <c:pt idx="4668">
                  <c:v>-29.663972999999999</c:v>
                </c:pt>
                <c:pt idx="4669">
                  <c:v>-29.641870999999998</c:v>
                </c:pt>
                <c:pt idx="4670">
                  <c:v>-29.619823</c:v>
                </c:pt>
                <c:pt idx="4671">
                  <c:v>-29.597829999999998</c:v>
                </c:pt>
                <c:pt idx="4672">
                  <c:v>-29.575893000000001</c:v>
                </c:pt>
                <c:pt idx="4673">
                  <c:v>-29.554009000000001</c:v>
                </c:pt>
                <c:pt idx="4674">
                  <c:v>-29.532178999999999</c:v>
                </c:pt>
                <c:pt idx="4675">
                  <c:v>-29.510403</c:v>
                </c:pt>
                <c:pt idx="4676">
                  <c:v>-29.488681</c:v>
                </c:pt>
                <c:pt idx="4677">
                  <c:v>-29.467012</c:v>
                </c:pt>
                <c:pt idx="4678">
                  <c:v>-29.445397</c:v>
                </c:pt>
                <c:pt idx="4679">
                  <c:v>-29.423833999999999</c:v>
                </c:pt>
                <c:pt idx="4680">
                  <c:v>-29.402324</c:v>
                </c:pt>
                <c:pt idx="4681">
                  <c:v>-29.380865</c:v>
                </c:pt>
                <c:pt idx="4682">
                  <c:v>-29.359461</c:v>
                </c:pt>
                <c:pt idx="4683">
                  <c:v>-29.338104999999999</c:v>
                </c:pt>
                <c:pt idx="4684">
                  <c:v>-29.316804000000001</c:v>
                </c:pt>
                <c:pt idx="4685">
                  <c:v>-29.295552000000001</c:v>
                </c:pt>
                <c:pt idx="4686">
                  <c:v>-29.274350999999999</c:v>
                </c:pt>
                <c:pt idx="4687">
                  <c:v>-29.253202999999999</c:v>
                </c:pt>
                <c:pt idx="4688">
                  <c:v>-29.232104</c:v>
                </c:pt>
                <c:pt idx="4689">
                  <c:v>-29.211054000000001</c:v>
                </c:pt>
                <c:pt idx="4690">
                  <c:v>-29.190055999999998</c:v>
                </c:pt>
                <c:pt idx="4691">
                  <c:v>-29.169107</c:v>
                </c:pt>
                <c:pt idx="4692">
                  <c:v>-29.148209000000001</c:v>
                </c:pt>
                <c:pt idx="4693">
                  <c:v>-29.127358000000001</c:v>
                </c:pt>
                <c:pt idx="4694">
                  <c:v>-29.106558</c:v>
                </c:pt>
                <c:pt idx="4695">
                  <c:v>-29.085806000000002</c:v>
                </c:pt>
                <c:pt idx="4696">
                  <c:v>-29.065103000000001</c:v>
                </c:pt>
                <c:pt idx="4697">
                  <c:v>-29.044447000000002</c:v>
                </c:pt>
                <c:pt idx="4698">
                  <c:v>-29.023841000000001</c:v>
                </c:pt>
                <c:pt idx="4699">
                  <c:v>-29.003281999999999</c:v>
                </c:pt>
                <c:pt idx="4700">
                  <c:v>-28.982771</c:v>
                </c:pt>
                <c:pt idx="4701">
                  <c:v>-28.962306999999999</c:v>
                </c:pt>
                <c:pt idx="4702">
                  <c:v>-28.941890999999998</c:v>
                </c:pt>
                <c:pt idx="4703">
                  <c:v>-28.921522</c:v>
                </c:pt>
                <c:pt idx="4704">
                  <c:v>-28.901199999999999</c:v>
                </c:pt>
                <c:pt idx="4705">
                  <c:v>-28.880922999999999</c:v>
                </c:pt>
                <c:pt idx="4706">
                  <c:v>-28.860695</c:v>
                </c:pt>
                <c:pt idx="4707">
                  <c:v>-28.840512</c:v>
                </c:pt>
                <c:pt idx="4708">
                  <c:v>-28.820374999999999</c:v>
                </c:pt>
                <c:pt idx="4709">
                  <c:v>-28.800283</c:v>
                </c:pt>
                <c:pt idx="4710">
                  <c:v>-28.780238000000001</c:v>
                </c:pt>
                <c:pt idx="4711">
                  <c:v>-28.760237</c:v>
                </c:pt>
                <c:pt idx="4712">
                  <c:v>-28.740282000000001</c:v>
                </c:pt>
                <c:pt idx="4713">
                  <c:v>-28.720372000000001</c:v>
                </c:pt>
                <c:pt idx="4714">
                  <c:v>-28.700506000000001</c:v>
                </c:pt>
                <c:pt idx="4715">
                  <c:v>-28.680685</c:v>
                </c:pt>
                <c:pt idx="4716">
                  <c:v>-28.660909</c:v>
                </c:pt>
                <c:pt idx="4717">
                  <c:v>-28.641176000000002</c:v>
                </c:pt>
                <c:pt idx="4718">
                  <c:v>-28.621487999999999</c:v>
                </c:pt>
                <c:pt idx="4719">
                  <c:v>-28.601842999999999</c:v>
                </c:pt>
                <c:pt idx="4720">
                  <c:v>-28.582242000000001</c:v>
                </c:pt>
                <c:pt idx="4721">
                  <c:v>-28.562684999999998</c:v>
                </c:pt>
                <c:pt idx="4722">
                  <c:v>-28.543168999999999</c:v>
                </c:pt>
                <c:pt idx="4723">
                  <c:v>-28.523698</c:v>
                </c:pt>
                <c:pt idx="4724">
                  <c:v>-28.504268</c:v>
                </c:pt>
                <c:pt idx="4725">
                  <c:v>-28.484881999999999</c:v>
                </c:pt>
                <c:pt idx="4726">
                  <c:v>-28.465537000000001</c:v>
                </c:pt>
                <c:pt idx="4727">
                  <c:v>-28.446235999999999</c:v>
                </c:pt>
                <c:pt idx="4728">
                  <c:v>-28.426976</c:v>
                </c:pt>
                <c:pt idx="4729">
                  <c:v>-28.407758000000001</c:v>
                </c:pt>
                <c:pt idx="4730">
                  <c:v>-28.388583000000001</c:v>
                </c:pt>
                <c:pt idx="4731">
                  <c:v>-28.369447000000001</c:v>
                </c:pt>
                <c:pt idx="4732">
                  <c:v>-28.350352999999998</c:v>
                </c:pt>
                <c:pt idx="4733">
                  <c:v>-28.331302000000001</c:v>
                </c:pt>
                <c:pt idx="4734">
                  <c:v>-28.312290000000001</c:v>
                </c:pt>
                <c:pt idx="4735">
                  <c:v>-28.293319</c:v>
                </c:pt>
                <c:pt idx="4736">
                  <c:v>-28.274387999999998</c:v>
                </c:pt>
                <c:pt idx="4737">
                  <c:v>-28.255500000000001</c:v>
                </c:pt>
                <c:pt idx="4738">
                  <c:v>-28.236649</c:v>
                </c:pt>
                <c:pt idx="4739">
                  <c:v>-28.217841</c:v>
                </c:pt>
                <c:pt idx="4740">
                  <c:v>-28.199072000000001</c:v>
                </c:pt>
                <c:pt idx="4741">
                  <c:v>-28.180340999999999</c:v>
                </c:pt>
                <c:pt idx="4742">
                  <c:v>-28.161652</c:v>
                </c:pt>
                <c:pt idx="4743">
                  <c:v>-28.143000000000001</c:v>
                </c:pt>
                <c:pt idx="4744">
                  <c:v>-28.124389000000001</c:v>
                </c:pt>
                <c:pt idx="4745">
                  <c:v>-28.105816999999998</c:v>
                </c:pt>
                <c:pt idx="4746">
                  <c:v>-28.087282999999999</c:v>
                </c:pt>
                <c:pt idx="4747">
                  <c:v>-28.068787</c:v>
                </c:pt>
                <c:pt idx="4748">
                  <c:v>-28.050331</c:v>
                </c:pt>
                <c:pt idx="4749">
                  <c:v>-28.031911999999998</c:v>
                </c:pt>
                <c:pt idx="4750">
                  <c:v>-28.013532999999999</c:v>
                </c:pt>
                <c:pt idx="4751">
                  <c:v>-27.995191999999999</c:v>
                </c:pt>
                <c:pt idx="4752">
                  <c:v>-27.976887999999999</c:v>
                </c:pt>
                <c:pt idx="4753">
                  <c:v>-27.958621999999998</c:v>
                </c:pt>
                <c:pt idx="4754">
                  <c:v>-27.940393</c:v>
                </c:pt>
                <c:pt idx="4755">
                  <c:v>-27.922201999999999</c:v>
                </c:pt>
                <c:pt idx="4756">
                  <c:v>-27.904048</c:v>
                </c:pt>
                <c:pt idx="4757">
                  <c:v>-27.885932</c:v>
                </c:pt>
                <c:pt idx="4758">
                  <c:v>-27.867851999999999</c:v>
                </c:pt>
                <c:pt idx="4759">
                  <c:v>-27.849810000000002</c:v>
                </c:pt>
                <c:pt idx="4760">
                  <c:v>-27.831803000000001</c:v>
                </c:pt>
                <c:pt idx="4761">
                  <c:v>-27.813834</c:v>
                </c:pt>
                <c:pt idx="4762">
                  <c:v>-27.795898999999999</c:v>
                </c:pt>
                <c:pt idx="4763">
                  <c:v>-27.778003000000002</c:v>
                </c:pt>
                <c:pt idx="4764">
                  <c:v>-27.760141999999998</c:v>
                </c:pt>
                <c:pt idx="4765">
                  <c:v>-27.742318000000001</c:v>
                </c:pt>
                <c:pt idx="4766">
                  <c:v>-27.724527999999999</c:v>
                </c:pt>
                <c:pt idx="4767">
                  <c:v>-27.706773999999999</c:v>
                </c:pt>
                <c:pt idx="4768">
                  <c:v>-27.689056000000001</c:v>
                </c:pt>
                <c:pt idx="4769">
                  <c:v>-27.671372999999999</c:v>
                </c:pt>
                <c:pt idx="4770">
                  <c:v>-27.653725000000001</c:v>
                </c:pt>
                <c:pt idx="4771">
                  <c:v>-27.636113999999999</c:v>
                </c:pt>
                <c:pt idx="4772">
                  <c:v>-27.618535999999999</c:v>
                </c:pt>
                <c:pt idx="4773">
                  <c:v>-27.600994</c:v>
                </c:pt>
                <c:pt idx="4774">
                  <c:v>-27.583485</c:v>
                </c:pt>
                <c:pt idx="4775">
                  <c:v>-27.566012000000001</c:v>
                </c:pt>
                <c:pt idx="4776">
                  <c:v>-27.548570999999999</c:v>
                </c:pt>
                <c:pt idx="4777">
                  <c:v>-27.531167</c:v>
                </c:pt>
                <c:pt idx="4778">
                  <c:v>-27.513795999999999</c:v>
                </c:pt>
                <c:pt idx="4779">
                  <c:v>-27.496459000000002</c:v>
                </c:pt>
                <c:pt idx="4780">
                  <c:v>-27.479154999999999</c:v>
                </c:pt>
                <c:pt idx="4781">
                  <c:v>-27.461886</c:v>
                </c:pt>
                <c:pt idx="4782">
                  <c:v>-27.444649999999999</c:v>
                </c:pt>
                <c:pt idx="4783">
                  <c:v>-27.427448999999999</c:v>
                </c:pt>
                <c:pt idx="4784">
                  <c:v>-27.41028</c:v>
                </c:pt>
                <c:pt idx="4785">
                  <c:v>-27.393142999999998</c:v>
                </c:pt>
                <c:pt idx="4786">
                  <c:v>-27.376041000000001</c:v>
                </c:pt>
                <c:pt idx="4787">
                  <c:v>-27.358971</c:v>
                </c:pt>
                <c:pt idx="4788">
                  <c:v>-27.341933000000001</c:v>
                </c:pt>
                <c:pt idx="4789">
                  <c:v>-27.324929999999998</c:v>
                </c:pt>
                <c:pt idx="4790">
                  <c:v>-27.307956999999998</c:v>
                </c:pt>
                <c:pt idx="4791">
                  <c:v>-27.291018000000001</c:v>
                </c:pt>
                <c:pt idx="4792">
                  <c:v>-27.27411</c:v>
                </c:pt>
                <c:pt idx="4793">
                  <c:v>-27.257234</c:v>
                </c:pt>
                <c:pt idx="4794">
                  <c:v>-27.240392</c:v>
                </c:pt>
                <c:pt idx="4795">
                  <c:v>-27.223580999999999</c:v>
                </c:pt>
                <c:pt idx="4796">
                  <c:v>-27.206800999999999</c:v>
                </c:pt>
                <c:pt idx="4797">
                  <c:v>-27.190052999999999</c:v>
                </c:pt>
                <c:pt idx="4798">
                  <c:v>-27.173338000000001</c:v>
                </c:pt>
                <c:pt idx="4799">
                  <c:v>-27.156654</c:v>
                </c:pt>
                <c:pt idx="4800">
                  <c:v>-27.14</c:v>
                </c:pt>
                <c:pt idx="4801">
                  <c:v>-27.123377000000001</c:v>
                </c:pt>
                <c:pt idx="4802">
                  <c:v>-27.106784999999999</c:v>
                </c:pt>
                <c:pt idx="4803">
                  <c:v>-27.090225</c:v>
                </c:pt>
                <c:pt idx="4804">
                  <c:v>-27.073696000000002</c:v>
                </c:pt>
                <c:pt idx="4805">
                  <c:v>-27.057199000000001</c:v>
                </c:pt>
                <c:pt idx="4806">
                  <c:v>-27.04073</c:v>
                </c:pt>
                <c:pt idx="4807">
                  <c:v>-27.024291999999999</c:v>
                </c:pt>
                <c:pt idx="4808">
                  <c:v>-27.007885000000002</c:v>
                </c:pt>
                <c:pt idx="4809">
                  <c:v>-26.991508</c:v>
                </c:pt>
                <c:pt idx="4810">
                  <c:v>-26.975161</c:v>
                </c:pt>
                <c:pt idx="4811">
                  <c:v>-26.958843999999999</c:v>
                </c:pt>
                <c:pt idx="4812">
                  <c:v>-26.942556</c:v>
                </c:pt>
                <c:pt idx="4813">
                  <c:v>-26.926300000000001</c:v>
                </c:pt>
                <c:pt idx="4814">
                  <c:v>-26.910073000000001</c:v>
                </c:pt>
                <c:pt idx="4815">
                  <c:v>-26.893875000000001</c:v>
                </c:pt>
                <c:pt idx="4816">
                  <c:v>-26.877707000000001</c:v>
                </c:pt>
                <c:pt idx="4817">
                  <c:v>-26.861567999999998</c:v>
                </c:pt>
                <c:pt idx="4818">
                  <c:v>-26.845459000000002</c:v>
                </c:pt>
                <c:pt idx="4819">
                  <c:v>-26.829377999999998</c:v>
                </c:pt>
                <c:pt idx="4820">
                  <c:v>-26.813327000000001</c:v>
                </c:pt>
                <c:pt idx="4821">
                  <c:v>-26.797304</c:v>
                </c:pt>
                <c:pt idx="4822">
                  <c:v>-26.781310000000001</c:v>
                </c:pt>
                <c:pt idx="4823">
                  <c:v>-26.765346000000001</c:v>
                </c:pt>
                <c:pt idx="4824">
                  <c:v>-26.749409</c:v>
                </c:pt>
                <c:pt idx="4825">
                  <c:v>-26.733502000000001</c:v>
                </c:pt>
                <c:pt idx="4826">
                  <c:v>-26.717621999999999</c:v>
                </c:pt>
                <c:pt idx="4827">
                  <c:v>-26.701771999999998</c:v>
                </c:pt>
                <c:pt idx="4828">
                  <c:v>-26.685949000000001</c:v>
                </c:pt>
                <c:pt idx="4829">
                  <c:v>-26.670154</c:v>
                </c:pt>
                <c:pt idx="4830">
                  <c:v>-26.654388000000001</c:v>
                </c:pt>
                <c:pt idx="4831">
                  <c:v>-26.638649000000001</c:v>
                </c:pt>
                <c:pt idx="4832">
                  <c:v>-26.622938000000001</c:v>
                </c:pt>
                <c:pt idx="4833">
                  <c:v>-26.607254000000001</c:v>
                </c:pt>
                <c:pt idx="4834">
                  <c:v>-26.5916</c:v>
                </c:pt>
                <c:pt idx="4835">
                  <c:v>-26.575972</c:v>
                </c:pt>
                <c:pt idx="4836">
                  <c:v>-26.560372000000001</c:v>
                </c:pt>
                <c:pt idx="4837">
                  <c:v>-26.544798</c:v>
                </c:pt>
                <c:pt idx="4838">
                  <c:v>-26.529252</c:v>
                </c:pt>
                <c:pt idx="4839">
                  <c:v>-26.513732999999998</c:v>
                </c:pt>
                <c:pt idx="4840">
                  <c:v>-26.498242000000001</c:v>
                </c:pt>
                <c:pt idx="4841">
                  <c:v>-26.482776000000001</c:v>
                </c:pt>
                <c:pt idx="4842">
                  <c:v>-26.467338000000002</c:v>
                </c:pt>
                <c:pt idx="4843">
                  <c:v>-26.451926</c:v>
                </c:pt>
                <c:pt idx="4844">
                  <c:v>-26.436541999999999</c:v>
                </c:pt>
                <c:pt idx="4845">
                  <c:v>-26.421184</c:v>
                </c:pt>
                <c:pt idx="4846">
                  <c:v>-26.405851999999999</c:v>
                </c:pt>
                <c:pt idx="4847">
                  <c:v>-26.390546000000001</c:v>
                </c:pt>
                <c:pt idx="4848">
                  <c:v>-26.375268999999999</c:v>
                </c:pt>
                <c:pt idx="4849">
                  <c:v>-26.360015000000001</c:v>
                </c:pt>
                <c:pt idx="4850">
                  <c:v>-26.344788000000001</c:v>
                </c:pt>
                <c:pt idx="4851">
                  <c:v>-26.329588999999999</c:v>
                </c:pt>
                <c:pt idx="4852">
                  <c:v>-26.314412999999998</c:v>
                </c:pt>
                <c:pt idx="4853">
                  <c:v>-26.299264000000001</c:v>
                </c:pt>
                <c:pt idx="4854">
                  <c:v>-26.284141999999999</c:v>
                </c:pt>
                <c:pt idx="4855">
                  <c:v>-26.269044000000001</c:v>
                </c:pt>
                <c:pt idx="4856">
                  <c:v>-26.253972000000001</c:v>
                </c:pt>
                <c:pt idx="4857">
                  <c:v>-26.238924999999998</c:v>
                </c:pt>
                <c:pt idx="4858">
                  <c:v>-26.223904000000001</c:v>
                </c:pt>
                <c:pt idx="4859">
                  <c:v>-26.208908000000001</c:v>
                </c:pt>
                <c:pt idx="4860">
                  <c:v>-26.193937999999999</c:v>
                </c:pt>
                <c:pt idx="4861">
                  <c:v>-26.178992999999998</c:v>
                </c:pt>
                <c:pt idx="4862">
                  <c:v>-26.164072999999998</c:v>
                </c:pt>
                <c:pt idx="4863">
                  <c:v>-26.149177999999999</c:v>
                </c:pt>
                <c:pt idx="4864">
                  <c:v>-26.134307</c:v>
                </c:pt>
                <c:pt idx="4865">
                  <c:v>-26.119461000000001</c:v>
                </c:pt>
                <c:pt idx="4866">
                  <c:v>-26.10464</c:v>
                </c:pt>
                <c:pt idx="4867">
                  <c:v>-26.089843999999999</c:v>
                </c:pt>
                <c:pt idx="4868">
                  <c:v>-26.075071999999999</c:v>
                </c:pt>
                <c:pt idx="4869">
                  <c:v>-26.060324999999999</c:v>
                </c:pt>
                <c:pt idx="4870">
                  <c:v>-26.045603</c:v>
                </c:pt>
                <c:pt idx="4871">
                  <c:v>-26.030904</c:v>
                </c:pt>
                <c:pt idx="4872">
                  <c:v>-26.016228999999999</c:v>
                </c:pt>
                <c:pt idx="4873">
                  <c:v>-26.001577999999999</c:v>
                </c:pt>
                <c:pt idx="4874">
                  <c:v>-25.986951999999999</c:v>
                </c:pt>
                <c:pt idx="4875">
                  <c:v>-25.972349999999999</c:v>
                </c:pt>
                <c:pt idx="4876">
                  <c:v>-25.957771000000001</c:v>
                </c:pt>
                <c:pt idx="4877">
                  <c:v>-25.943217000000001</c:v>
                </c:pt>
                <c:pt idx="4878">
                  <c:v>-25.928685999999999</c:v>
                </c:pt>
                <c:pt idx="4879">
                  <c:v>-25.914179000000001</c:v>
                </c:pt>
                <c:pt idx="4880">
                  <c:v>-25.899695999999999</c:v>
                </c:pt>
                <c:pt idx="4881">
                  <c:v>-25.885235999999999</c:v>
                </c:pt>
                <c:pt idx="4882">
                  <c:v>-25.870799000000002</c:v>
                </c:pt>
                <c:pt idx="4883">
                  <c:v>-25.856385</c:v>
                </c:pt>
                <c:pt idx="4884">
                  <c:v>-25.841995000000001</c:v>
                </c:pt>
                <c:pt idx="4885">
                  <c:v>-25.827629000000002</c:v>
                </c:pt>
                <c:pt idx="4886">
                  <c:v>-25.813285</c:v>
                </c:pt>
                <c:pt idx="4887">
                  <c:v>-25.798964000000002</c:v>
                </c:pt>
                <c:pt idx="4888">
                  <c:v>-25.784666000000001</c:v>
                </c:pt>
                <c:pt idx="4889">
                  <c:v>-25.770391</c:v>
                </c:pt>
                <c:pt idx="4890">
                  <c:v>-25.756139000000001</c:v>
                </c:pt>
                <c:pt idx="4891">
                  <c:v>-25.741910000000001</c:v>
                </c:pt>
                <c:pt idx="4892">
                  <c:v>-25.727703000000002</c:v>
                </c:pt>
                <c:pt idx="4893">
                  <c:v>-25.713519000000002</c:v>
                </c:pt>
                <c:pt idx="4894">
                  <c:v>-25.699358</c:v>
                </c:pt>
                <c:pt idx="4895">
                  <c:v>-25.685220000000001</c:v>
                </c:pt>
                <c:pt idx="4896">
                  <c:v>-25.671102999999999</c:v>
                </c:pt>
                <c:pt idx="4897">
                  <c:v>-25.657008999999999</c:v>
                </c:pt>
                <c:pt idx="4898">
                  <c:v>-25.642937</c:v>
                </c:pt>
                <c:pt idx="4899">
                  <c:v>-25.628886999999999</c:v>
                </c:pt>
                <c:pt idx="4900">
                  <c:v>-25.61486</c:v>
                </c:pt>
                <c:pt idx="4901">
                  <c:v>-25.600854000000002</c:v>
                </c:pt>
                <c:pt idx="4902">
                  <c:v>-25.586870000000001</c:v>
                </c:pt>
                <c:pt idx="4903">
                  <c:v>-25.572908000000002</c:v>
                </c:pt>
                <c:pt idx="4904">
                  <c:v>-25.558968</c:v>
                </c:pt>
                <c:pt idx="4905">
                  <c:v>-25.545048000000001</c:v>
                </c:pt>
                <c:pt idx="4906">
                  <c:v>-25.531151999999999</c:v>
                </c:pt>
                <c:pt idx="4907">
                  <c:v>-25.517278000000001</c:v>
                </c:pt>
                <c:pt idx="4908">
                  <c:v>-25.503425</c:v>
                </c:pt>
                <c:pt idx="4909">
                  <c:v>-25.489591999999998</c:v>
                </c:pt>
                <c:pt idx="4910">
                  <c:v>-25.475781999999999</c:v>
                </c:pt>
                <c:pt idx="4911">
                  <c:v>-25.461993</c:v>
                </c:pt>
                <c:pt idx="4912">
                  <c:v>-25.448224</c:v>
                </c:pt>
                <c:pt idx="4913">
                  <c:v>-25.434477999999999</c:v>
                </c:pt>
                <c:pt idx="4914">
                  <c:v>-25.420752</c:v>
                </c:pt>
                <c:pt idx="4915">
                  <c:v>-25.407046999999999</c:v>
                </c:pt>
                <c:pt idx="4916">
                  <c:v>-25.393363999999998</c:v>
                </c:pt>
                <c:pt idx="4917">
                  <c:v>-25.379701000000001</c:v>
                </c:pt>
                <c:pt idx="4918">
                  <c:v>-25.366060000000001</c:v>
                </c:pt>
                <c:pt idx="4919">
                  <c:v>-25.352439</c:v>
                </c:pt>
                <c:pt idx="4920">
                  <c:v>-25.338839</c:v>
                </c:pt>
                <c:pt idx="4921">
                  <c:v>-25.325258999999999</c:v>
                </c:pt>
                <c:pt idx="4922">
                  <c:v>-25.311699999999998</c:v>
                </c:pt>
                <c:pt idx="4923">
                  <c:v>-25.298162000000001</c:v>
                </c:pt>
                <c:pt idx="4924">
                  <c:v>-25.284644</c:v>
                </c:pt>
                <c:pt idx="4925">
                  <c:v>-25.271146000000002</c:v>
                </c:pt>
                <c:pt idx="4926">
                  <c:v>-25.257670000000001</c:v>
                </c:pt>
                <c:pt idx="4927">
                  <c:v>-25.244212999999998</c:v>
                </c:pt>
                <c:pt idx="4928">
                  <c:v>-25.230775999999999</c:v>
                </c:pt>
                <c:pt idx="4929">
                  <c:v>-25.217359999999999</c:v>
                </c:pt>
                <c:pt idx="4930">
                  <c:v>-25.203965</c:v>
                </c:pt>
                <c:pt idx="4931">
                  <c:v>-25.190587000000001</c:v>
                </c:pt>
                <c:pt idx="4932">
                  <c:v>-25.177232</c:v>
                </c:pt>
                <c:pt idx="4933">
                  <c:v>-25.163896000000001</c:v>
                </c:pt>
                <c:pt idx="4934">
                  <c:v>-25.150579</c:v>
                </c:pt>
                <c:pt idx="4935">
                  <c:v>-25.137283</c:v>
                </c:pt>
                <c:pt idx="4936">
                  <c:v>-25.124006999999999</c:v>
                </c:pt>
                <c:pt idx="4937">
                  <c:v>-25.110749999999999</c:v>
                </c:pt>
                <c:pt idx="4938">
                  <c:v>-25.097511999999998</c:v>
                </c:pt>
                <c:pt idx="4939">
                  <c:v>-25.084294</c:v>
                </c:pt>
                <c:pt idx="4940">
                  <c:v>-25.071096000000001</c:v>
                </c:pt>
                <c:pt idx="4941">
                  <c:v>-25.057917</c:v>
                </c:pt>
                <c:pt idx="4942">
                  <c:v>-25.044758000000002</c:v>
                </c:pt>
                <c:pt idx="4943">
                  <c:v>-25.031617000000001</c:v>
                </c:pt>
                <c:pt idx="4944">
                  <c:v>-25.018497</c:v>
                </c:pt>
                <c:pt idx="4945">
                  <c:v>-25.005396999999999</c:v>
                </c:pt>
                <c:pt idx="4946">
                  <c:v>-24.992312999999999</c:v>
                </c:pt>
                <c:pt idx="4947">
                  <c:v>-24.97925</c:v>
                </c:pt>
                <c:pt idx="4948">
                  <c:v>-24.966206</c:v>
                </c:pt>
                <c:pt idx="4949">
                  <c:v>-24.95318</c:v>
                </c:pt>
                <c:pt idx="4950">
                  <c:v>-24.940175</c:v>
                </c:pt>
                <c:pt idx="4951">
                  <c:v>-24.927187</c:v>
                </c:pt>
                <c:pt idx="4952">
                  <c:v>-24.914218000000002</c:v>
                </c:pt>
                <c:pt idx="4953">
                  <c:v>-24.901268999999999</c:v>
                </c:pt>
                <c:pt idx="4954">
                  <c:v>-24.888338000000001</c:v>
                </c:pt>
                <c:pt idx="4955">
                  <c:v>-24.875426000000001</c:v>
                </c:pt>
                <c:pt idx="4956">
                  <c:v>-24.862531000000001</c:v>
                </c:pt>
                <c:pt idx="4957">
                  <c:v>-24.849657000000001</c:v>
                </c:pt>
                <c:pt idx="4958">
                  <c:v>-24.8368</c:v>
                </c:pt>
                <c:pt idx="4959">
                  <c:v>-24.823961000000001</c:v>
                </c:pt>
                <c:pt idx="4960">
                  <c:v>-24.811140999999999</c:v>
                </c:pt>
                <c:pt idx="4961">
                  <c:v>-24.798341000000001</c:v>
                </c:pt>
                <c:pt idx="4962">
                  <c:v>-24.785557000000001</c:v>
                </c:pt>
                <c:pt idx="4963">
                  <c:v>-24.772791000000002</c:v>
                </c:pt>
                <c:pt idx="4964">
                  <c:v>-24.760045999999999</c:v>
                </c:pt>
                <c:pt idx="4965">
                  <c:v>-24.747316999999999</c:v>
                </c:pt>
                <c:pt idx="4966">
                  <c:v>-24.734605999999999</c:v>
                </c:pt>
                <c:pt idx="4967">
                  <c:v>-24.721914000000002</c:v>
                </c:pt>
                <c:pt idx="4968">
                  <c:v>-24.709239</c:v>
                </c:pt>
                <c:pt idx="4969">
                  <c:v>-24.696583</c:v>
                </c:pt>
                <c:pt idx="4970">
                  <c:v>-24.683944</c:v>
                </c:pt>
                <c:pt idx="4971">
                  <c:v>-24.671323000000001</c:v>
                </c:pt>
                <c:pt idx="4972">
                  <c:v>-24.658719999999999</c:v>
                </c:pt>
                <c:pt idx="4973">
                  <c:v>-24.646134</c:v>
                </c:pt>
                <c:pt idx="4974">
                  <c:v>-24.633566999999999</c:v>
                </c:pt>
                <c:pt idx="4975">
                  <c:v>-24.621017999999999</c:v>
                </c:pt>
                <c:pt idx="4976">
                  <c:v>-24.608484000000001</c:v>
                </c:pt>
                <c:pt idx="4977">
                  <c:v>-24.595969</c:v>
                </c:pt>
                <c:pt idx="4978">
                  <c:v>-24.583472</c:v>
                </c:pt>
                <c:pt idx="4979">
                  <c:v>-24.570990999999999</c:v>
                </c:pt>
                <c:pt idx="4980">
                  <c:v>-24.558530000000001</c:v>
                </c:pt>
                <c:pt idx="4981">
                  <c:v>-24.546082999999999</c:v>
                </c:pt>
                <c:pt idx="4982">
                  <c:v>-24.533655</c:v>
                </c:pt>
                <c:pt idx="4983">
                  <c:v>-24.521243999999999</c:v>
                </c:pt>
                <c:pt idx="4984">
                  <c:v>-24.508849999999999</c:v>
                </c:pt>
                <c:pt idx="4985">
                  <c:v>-24.496473999999999</c:v>
                </c:pt>
                <c:pt idx="4986">
                  <c:v>-24.484114000000002</c:v>
                </c:pt>
                <c:pt idx="4987">
                  <c:v>-24.471769999999999</c:v>
                </c:pt>
                <c:pt idx="4988">
                  <c:v>-24.459446</c:v>
                </c:pt>
                <c:pt idx="4989">
                  <c:v>-24.447137000000001</c:v>
                </c:pt>
                <c:pt idx="4990">
                  <c:v>-24.434844999999999</c:v>
                </c:pt>
                <c:pt idx="4991">
                  <c:v>-24.42257</c:v>
                </c:pt>
                <c:pt idx="4992">
                  <c:v>-24.410312000000001</c:v>
                </c:pt>
                <c:pt idx="4993">
                  <c:v>-24.398070000000001</c:v>
                </c:pt>
                <c:pt idx="4994">
                  <c:v>-24.385845</c:v>
                </c:pt>
                <c:pt idx="4995">
                  <c:v>-24.373636999999999</c:v>
                </c:pt>
                <c:pt idx="4996">
                  <c:v>-24.361446000000001</c:v>
                </c:pt>
                <c:pt idx="4997">
                  <c:v>-24.349271000000002</c:v>
                </c:pt>
                <c:pt idx="4998">
                  <c:v>-24.337112999999999</c:v>
                </c:pt>
                <c:pt idx="4999">
                  <c:v>-24.32497</c:v>
                </c:pt>
                <c:pt idx="5000">
                  <c:v>-24.312844999999999</c:v>
                </c:pt>
                <c:pt idx="5001">
                  <c:v>-24.300736000000001</c:v>
                </c:pt>
                <c:pt idx="5002">
                  <c:v>-24.288643</c:v>
                </c:pt>
                <c:pt idx="5003">
                  <c:v>-24.276567</c:v>
                </c:pt>
                <c:pt idx="5004">
                  <c:v>-24.264506999999998</c:v>
                </c:pt>
                <c:pt idx="5005">
                  <c:v>-24.252462999999999</c:v>
                </c:pt>
                <c:pt idx="5006">
                  <c:v>-24.240432999999999</c:v>
                </c:pt>
                <c:pt idx="5007">
                  <c:v>-24.228422999999999</c:v>
                </c:pt>
                <c:pt idx="5008">
                  <c:v>-24.216426999999999</c:v>
                </c:pt>
                <c:pt idx="5009">
                  <c:v>-24.204447999999999</c:v>
                </c:pt>
                <c:pt idx="5010">
                  <c:v>-24.192482999999999</c:v>
                </c:pt>
                <c:pt idx="5011">
                  <c:v>-24.180537000000001</c:v>
                </c:pt>
                <c:pt idx="5012">
                  <c:v>-24.168603999999998</c:v>
                </c:pt>
                <c:pt idx="5013">
                  <c:v>-24.156687000000002</c:v>
                </c:pt>
                <c:pt idx="5014">
                  <c:v>-24.144787999999998</c:v>
                </c:pt>
                <c:pt idx="5015">
                  <c:v>-24.132902999999999</c:v>
                </c:pt>
                <c:pt idx="5016">
                  <c:v>-24.121034000000002</c:v>
                </c:pt>
                <c:pt idx="5017">
                  <c:v>-24.109182000000001</c:v>
                </c:pt>
                <c:pt idx="5018">
                  <c:v>-24.097345000000001</c:v>
                </c:pt>
                <c:pt idx="5019">
                  <c:v>-24.085522000000001</c:v>
                </c:pt>
                <c:pt idx="5020">
                  <c:v>-24.073716000000001</c:v>
                </c:pt>
                <c:pt idx="5021">
                  <c:v>-24.061924999999999</c:v>
                </c:pt>
                <c:pt idx="5022">
                  <c:v>-24.050149999999999</c:v>
                </c:pt>
                <c:pt idx="5023">
                  <c:v>-24.03839</c:v>
                </c:pt>
                <c:pt idx="5024">
                  <c:v>-24.026646</c:v>
                </c:pt>
                <c:pt idx="5025">
                  <c:v>-24.014915999999999</c:v>
                </c:pt>
                <c:pt idx="5026">
                  <c:v>-24.003202000000002</c:v>
                </c:pt>
                <c:pt idx="5027">
                  <c:v>-23.991503999999999</c:v>
                </c:pt>
                <c:pt idx="5028">
                  <c:v>-23.979821000000001</c:v>
                </c:pt>
                <c:pt idx="5029">
                  <c:v>-23.968153999999998</c:v>
                </c:pt>
                <c:pt idx="5030">
                  <c:v>-23.956499999999998</c:v>
                </c:pt>
                <c:pt idx="5031">
                  <c:v>-23.944862000000001</c:v>
                </c:pt>
                <c:pt idx="5032">
                  <c:v>-23.933237999999999</c:v>
                </c:pt>
                <c:pt idx="5033">
                  <c:v>-23.921631000000001</c:v>
                </c:pt>
                <c:pt idx="5034">
                  <c:v>-23.910038</c:v>
                </c:pt>
                <c:pt idx="5035">
                  <c:v>-23.898461000000001</c:v>
                </c:pt>
                <c:pt idx="5036">
                  <c:v>-23.886897000000001</c:v>
                </c:pt>
                <c:pt idx="5037">
                  <c:v>-23.875347999999999</c:v>
                </c:pt>
                <c:pt idx="5038">
                  <c:v>-23.863814000000001</c:v>
                </c:pt>
                <c:pt idx="5039">
                  <c:v>-23.852297</c:v>
                </c:pt>
                <c:pt idx="5040">
                  <c:v>-23.840792</c:v>
                </c:pt>
                <c:pt idx="5041">
                  <c:v>-23.829305000000002</c:v>
                </c:pt>
                <c:pt idx="5042">
                  <c:v>-23.817827999999999</c:v>
                </c:pt>
                <c:pt idx="5043">
                  <c:v>-23.806367999999999</c:v>
                </c:pt>
                <c:pt idx="5044">
                  <c:v>-23.794924999999999</c:v>
                </c:pt>
                <c:pt idx="5045">
                  <c:v>-23.783494000000001</c:v>
                </c:pt>
                <c:pt idx="5046">
                  <c:v>-23.772079000000002</c:v>
                </c:pt>
                <c:pt idx="5047">
                  <c:v>-23.760677000000001</c:v>
                </c:pt>
                <c:pt idx="5048">
                  <c:v>-23.749289999999998</c:v>
                </c:pt>
                <c:pt idx="5049">
                  <c:v>-23.737918000000001</c:v>
                </c:pt>
                <c:pt idx="5050">
                  <c:v>-23.726559999999999</c:v>
                </c:pt>
                <c:pt idx="5051">
                  <c:v>-23.715216000000002</c:v>
                </c:pt>
                <c:pt idx="5052">
                  <c:v>-23.703885</c:v>
                </c:pt>
                <c:pt idx="5053">
                  <c:v>-23.692568000000001</c:v>
                </c:pt>
                <c:pt idx="5054">
                  <c:v>-23.681267999999999</c:v>
                </c:pt>
                <c:pt idx="5055">
                  <c:v>-23.669981</c:v>
                </c:pt>
                <c:pt idx="5056">
                  <c:v>-23.658708000000001</c:v>
                </c:pt>
                <c:pt idx="5057">
                  <c:v>-23.647449999999999</c:v>
                </c:pt>
                <c:pt idx="5058">
                  <c:v>-23.636203999999999</c:v>
                </c:pt>
                <c:pt idx="5059">
                  <c:v>-23.624974000000002</c:v>
                </c:pt>
                <c:pt idx="5060">
                  <c:v>-23.613755000000001</c:v>
                </c:pt>
                <c:pt idx="5061">
                  <c:v>-23.602554000000001</c:v>
                </c:pt>
                <c:pt idx="5062">
                  <c:v>-23.591363999999999</c:v>
                </c:pt>
                <c:pt idx="5063">
                  <c:v>-23.580190999999999</c:v>
                </c:pt>
                <c:pt idx="5064">
                  <c:v>-23.569030000000001</c:v>
                </c:pt>
                <c:pt idx="5065">
                  <c:v>-23.557881999999999</c:v>
                </c:pt>
                <c:pt idx="5066">
                  <c:v>-23.546749999999999</c:v>
                </c:pt>
                <c:pt idx="5067">
                  <c:v>-23.535629</c:v>
                </c:pt>
                <c:pt idx="5068">
                  <c:v>-23.524524</c:v>
                </c:pt>
                <c:pt idx="5069">
                  <c:v>-23.513431000000001</c:v>
                </c:pt>
                <c:pt idx="5070">
                  <c:v>-23.502352999999999</c:v>
                </c:pt>
                <c:pt idx="5071">
                  <c:v>-23.491288999999998</c:v>
                </c:pt>
                <c:pt idx="5072">
                  <c:v>-23.480236000000001</c:v>
                </c:pt>
                <c:pt idx="5073">
                  <c:v>-23.469199</c:v>
                </c:pt>
                <c:pt idx="5074">
                  <c:v>-23.458176000000002</c:v>
                </c:pt>
                <c:pt idx="5075">
                  <c:v>-23.447164000000001</c:v>
                </c:pt>
                <c:pt idx="5076">
                  <c:v>-23.436167000000001</c:v>
                </c:pt>
                <c:pt idx="5077">
                  <c:v>-23.425182</c:v>
                </c:pt>
                <c:pt idx="5078">
                  <c:v>-23.414213</c:v>
                </c:pt>
                <c:pt idx="5079">
                  <c:v>-23.403254</c:v>
                </c:pt>
                <c:pt idx="5080">
                  <c:v>-23.392312</c:v>
                </c:pt>
                <c:pt idx="5081">
                  <c:v>-23.381381000000001</c:v>
                </c:pt>
                <c:pt idx="5082">
                  <c:v>-23.370463999999998</c:v>
                </c:pt>
                <c:pt idx="5083">
                  <c:v>-23.359559000000001</c:v>
                </c:pt>
                <c:pt idx="5084">
                  <c:v>-23.348669000000001</c:v>
                </c:pt>
                <c:pt idx="5085">
                  <c:v>-23.337790999999999</c:v>
                </c:pt>
                <c:pt idx="5086">
                  <c:v>-23.326926</c:v>
                </c:pt>
                <c:pt idx="5087">
                  <c:v>-23.316075000000001</c:v>
                </c:pt>
                <c:pt idx="5088">
                  <c:v>-23.305236000000001</c:v>
                </c:pt>
                <c:pt idx="5089">
                  <c:v>-23.294411</c:v>
                </c:pt>
                <c:pt idx="5090">
                  <c:v>-23.283598000000001</c:v>
                </c:pt>
                <c:pt idx="5091">
                  <c:v>-23.272798000000002</c:v>
                </c:pt>
                <c:pt idx="5092">
                  <c:v>-23.262011999999999</c:v>
                </c:pt>
                <c:pt idx="5093">
                  <c:v>-23.251237</c:v>
                </c:pt>
                <c:pt idx="5094">
                  <c:v>-23.240478</c:v>
                </c:pt>
                <c:pt idx="5095">
                  <c:v>-23.229728999999999</c:v>
                </c:pt>
                <c:pt idx="5096">
                  <c:v>-23.218995</c:v>
                </c:pt>
                <c:pt idx="5097">
                  <c:v>-23.208272000000001</c:v>
                </c:pt>
                <c:pt idx="5098">
                  <c:v>-23.197562999999999</c:v>
                </c:pt>
                <c:pt idx="5099">
                  <c:v>-23.186865000000001</c:v>
                </c:pt>
                <c:pt idx="5100">
                  <c:v>-23.176182000000001</c:v>
                </c:pt>
                <c:pt idx="5101">
                  <c:v>-23.165510999999999</c:v>
                </c:pt>
                <c:pt idx="5102">
                  <c:v>-23.154852000000002</c:v>
                </c:pt>
                <c:pt idx="5103">
                  <c:v>-23.144203999999998</c:v>
                </c:pt>
                <c:pt idx="5104">
                  <c:v>-23.133571</c:v>
                </c:pt>
                <c:pt idx="5105">
                  <c:v>-23.122949999999999</c:v>
                </c:pt>
                <c:pt idx="5106">
                  <c:v>-23.112342000000002</c:v>
                </c:pt>
                <c:pt idx="5107">
                  <c:v>-23.101744</c:v>
                </c:pt>
                <c:pt idx="5108">
                  <c:v>-23.091159999999999</c:v>
                </c:pt>
                <c:pt idx="5109">
                  <c:v>-23.080589</c:v>
                </c:pt>
                <c:pt idx="5110">
                  <c:v>-23.070029999999999</c:v>
                </c:pt>
                <c:pt idx="5111">
                  <c:v>-23.059481999999999</c:v>
                </c:pt>
                <c:pt idx="5112">
                  <c:v>-23.048949</c:v>
                </c:pt>
                <c:pt idx="5113">
                  <c:v>-23.038426999999999</c:v>
                </c:pt>
                <c:pt idx="5114">
                  <c:v>-23.027916999999999</c:v>
                </c:pt>
                <c:pt idx="5115">
                  <c:v>-23.017419</c:v>
                </c:pt>
                <c:pt idx="5116">
                  <c:v>-23.006931999999999</c:v>
                </c:pt>
                <c:pt idx="5117">
                  <c:v>-22.996461</c:v>
                </c:pt>
                <c:pt idx="5118">
                  <c:v>-22.986000000000001</c:v>
                </c:pt>
                <c:pt idx="5119">
                  <c:v>-22.975550999999999</c:v>
                </c:pt>
                <c:pt idx="5120">
                  <c:v>-22.965112999999999</c:v>
                </c:pt>
                <c:pt idx="5121">
                  <c:v>-22.954688000000001</c:v>
                </c:pt>
                <c:pt idx="5122">
                  <c:v>-22.944277</c:v>
                </c:pt>
                <c:pt idx="5123">
                  <c:v>-22.933873999999999</c:v>
                </c:pt>
                <c:pt idx="5124">
                  <c:v>-22.923486</c:v>
                </c:pt>
                <c:pt idx="5125">
                  <c:v>-22.913108999999999</c:v>
                </c:pt>
                <c:pt idx="5126">
                  <c:v>-22.902743999999998</c:v>
                </c:pt>
                <c:pt idx="5127">
                  <c:v>-22.892391</c:v>
                </c:pt>
                <c:pt idx="5128">
                  <c:v>-22.88205</c:v>
                </c:pt>
                <c:pt idx="5129">
                  <c:v>-22.871718999999999</c:v>
                </c:pt>
                <c:pt idx="5130">
                  <c:v>-22.861401999999998</c:v>
                </c:pt>
                <c:pt idx="5131">
                  <c:v>-22.851095999999998</c:v>
                </c:pt>
                <c:pt idx="5132">
                  <c:v>-22.840803000000001</c:v>
                </c:pt>
                <c:pt idx="5133">
                  <c:v>-22.83052</c:v>
                </c:pt>
                <c:pt idx="5134">
                  <c:v>-22.820250000000001</c:v>
                </c:pt>
                <c:pt idx="5135">
                  <c:v>-22.809991</c:v>
                </c:pt>
                <c:pt idx="5136">
                  <c:v>-22.799744</c:v>
                </c:pt>
                <c:pt idx="5137">
                  <c:v>-22.789508000000001</c:v>
                </c:pt>
                <c:pt idx="5138">
                  <c:v>-22.779284000000001</c:v>
                </c:pt>
                <c:pt idx="5139">
                  <c:v>-22.769071</c:v>
                </c:pt>
                <c:pt idx="5140">
                  <c:v>-22.758869000000001</c:v>
                </c:pt>
                <c:pt idx="5141">
                  <c:v>-22.748681000000001</c:v>
                </c:pt>
                <c:pt idx="5142">
                  <c:v>-22.738502</c:v>
                </c:pt>
                <c:pt idx="5143">
                  <c:v>-22.728335000000001</c:v>
                </c:pt>
                <c:pt idx="5144">
                  <c:v>-22.718178999999999</c:v>
                </c:pt>
                <c:pt idx="5145">
                  <c:v>-22.708036</c:v>
                </c:pt>
                <c:pt idx="5146">
                  <c:v>-22.697904000000001</c:v>
                </c:pt>
                <c:pt idx="5147">
                  <c:v>-22.687783</c:v>
                </c:pt>
                <c:pt idx="5148">
                  <c:v>-22.677674</c:v>
                </c:pt>
                <c:pt idx="5149">
                  <c:v>-22.667573000000001</c:v>
                </c:pt>
                <c:pt idx="5150">
                  <c:v>-22.657487</c:v>
                </c:pt>
                <c:pt idx="5151">
                  <c:v>-22.647411000000002</c:v>
                </c:pt>
                <c:pt idx="5152">
                  <c:v>-22.637346000000001</c:v>
                </c:pt>
                <c:pt idx="5153">
                  <c:v>-22.627293000000002</c:v>
                </c:pt>
                <c:pt idx="5154">
                  <c:v>-22.617251</c:v>
                </c:pt>
                <c:pt idx="5155">
                  <c:v>-22.607220000000002</c:v>
                </c:pt>
                <c:pt idx="5156">
                  <c:v>-22.597200999999998</c:v>
                </c:pt>
                <c:pt idx="5157">
                  <c:v>-22.587192000000002</c:v>
                </c:pt>
                <c:pt idx="5158">
                  <c:v>-22.577193000000001</c:v>
                </c:pt>
                <c:pt idx="5159">
                  <c:v>-22.567205999999999</c:v>
                </c:pt>
                <c:pt idx="5160">
                  <c:v>-22.557230000000001</c:v>
                </c:pt>
                <c:pt idx="5161">
                  <c:v>-22.547263999999998</c:v>
                </c:pt>
                <c:pt idx="5162">
                  <c:v>-22.537312</c:v>
                </c:pt>
                <c:pt idx="5163">
                  <c:v>-22.527367999999999</c:v>
                </c:pt>
                <c:pt idx="5164">
                  <c:v>-22.517437000000001</c:v>
                </c:pt>
                <c:pt idx="5165">
                  <c:v>-22.507514</c:v>
                </c:pt>
                <c:pt idx="5166">
                  <c:v>-22.497603000000002</c:v>
                </c:pt>
                <c:pt idx="5167">
                  <c:v>-22.487705999999999</c:v>
                </c:pt>
                <c:pt idx="5168">
                  <c:v>-22.477816000000001</c:v>
                </c:pt>
                <c:pt idx="5169">
                  <c:v>-22.467939000000001</c:v>
                </c:pt>
                <c:pt idx="5170">
                  <c:v>-22.458071</c:v>
                </c:pt>
                <c:pt idx="5171">
                  <c:v>-22.448215999999999</c:v>
                </c:pt>
                <c:pt idx="5172">
                  <c:v>-22.438371</c:v>
                </c:pt>
                <c:pt idx="5173">
                  <c:v>-22.428535</c:v>
                </c:pt>
                <c:pt idx="5174">
                  <c:v>-22.418710999999998</c:v>
                </c:pt>
                <c:pt idx="5175">
                  <c:v>-22.408897</c:v>
                </c:pt>
                <c:pt idx="5176">
                  <c:v>-22.399094999999999</c:v>
                </c:pt>
                <c:pt idx="5177">
                  <c:v>-22.389303000000002</c:v>
                </c:pt>
                <c:pt idx="5178">
                  <c:v>-22.379519999999999</c:v>
                </c:pt>
                <c:pt idx="5179">
                  <c:v>-22.369748999999999</c:v>
                </c:pt>
                <c:pt idx="5180">
                  <c:v>-22.359988999999999</c:v>
                </c:pt>
                <c:pt idx="5181">
                  <c:v>-22.350238999999998</c:v>
                </c:pt>
                <c:pt idx="5182">
                  <c:v>-22.340499000000001</c:v>
                </c:pt>
                <c:pt idx="5183">
                  <c:v>-22.330770000000001</c:v>
                </c:pt>
                <c:pt idx="5184">
                  <c:v>-22.32105</c:v>
                </c:pt>
                <c:pt idx="5185">
                  <c:v>-22.311343000000001</c:v>
                </c:pt>
                <c:pt idx="5186">
                  <c:v>-22.301644</c:v>
                </c:pt>
                <c:pt idx="5187">
                  <c:v>-22.291957</c:v>
                </c:pt>
                <c:pt idx="5188">
                  <c:v>-22.282281000000001</c:v>
                </c:pt>
                <c:pt idx="5189">
                  <c:v>-22.272613</c:v>
                </c:pt>
                <c:pt idx="5190">
                  <c:v>-22.262955999999999</c:v>
                </c:pt>
                <c:pt idx="5191">
                  <c:v>-22.253311</c:v>
                </c:pt>
                <c:pt idx="5192">
                  <c:v>-22.243673999999999</c:v>
                </c:pt>
                <c:pt idx="5193">
                  <c:v>-22.234048000000001</c:v>
                </c:pt>
                <c:pt idx="5194">
                  <c:v>-22.224432</c:v>
                </c:pt>
                <c:pt idx="5195">
                  <c:v>-22.214828000000001</c:v>
                </c:pt>
                <c:pt idx="5196">
                  <c:v>-22.205233</c:v>
                </c:pt>
                <c:pt idx="5197">
                  <c:v>-22.195647000000001</c:v>
                </c:pt>
                <c:pt idx="5198">
                  <c:v>-22.186071999999999</c:v>
                </c:pt>
                <c:pt idx="5199">
                  <c:v>-22.176507000000001</c:v>
                </c:pt>
                <c:pt idx="5200">
                  <c:v>-22.166952999999999</c:v>
                </c:pt>
                <c:pt idx="5201">
                  <c:v>-22.157408</c:v>
                </c:pt>
                <c:pt idx="5202">
                  <c:v>-22.147873000000001</c:v>
                </c:pt>
                <c:pt idx="5203">
                  <c:v>-22.138349000000002</c:v>
                </c:pt>
                <c:pt idx="5204">
                  <c:v>-22.128834000000001</c:v>
                </c:pt>
                <c:pt idx="5205">
                  <c:v>-22.119330000000001</c:v>
                </c:pt>
                <c:pt idx="5206">
                  <c:v>-22.109835</c:v>
                </c:pt>
                <c:pt idx="5207">
                  <c:v>-22.100351</c:v>
                </c:pt>
                <c:pt idx="5208">
                  <c:v>-22.090876000000002</c:v>
                </c:pt>
                <c:pt idx="5209">
                  <c:v>-22.081409000000001</c:v>
                </c:pt>
                <c:pt idx="5210">
                  <c:v>-22.071954999999999</c:v>
                </c:pt>
                <c:pt idx="5211">
                  <c:v>-22.06251</c:v>
                </c:pt>
                <c:pt idx="5212">
                  <c:v>-22.053073000000001</c:v>
                </c:pt>
                <c:pt idx="5213">
                  <c:v>-22.043648999999998</c:v>
                </c:pt>
                <c:pt idx="5214">
                  <c:v>-22.034231999999999</c:v>
                </c:pt>
                <c:pt idx="5215">
                  <c:v>-22.024826999999998</c:v>
                </c:pt>
                <c:pt idx="5216">
                  <c:v>-22.015431</c:v>
                </c:pt>
                <c:pt idx="5217">
                  <c:v>-22.006042999999998</c:v>
                </c:pt>
                <c:pt idx="5218">
                  <c:v>-21.996666000000001</c:v>
                </c:pt>
                <c:pt idx="5219">
                  <c:v>-21.987299</c:v>
                </c:pt>
                <c:pt idx="5220">
                  <c:v>-21.977943</c:v>
                </c:pt>
                <c:pt idx="5221">
                  <c:v>-21.968595000000001</c:v>
                </c:pt>
                <c:pt idx="5222">
                  <c:v>-21.959257000000001</c:v>
                </c:pt>
                <c:pt idx="5223">
                  <c:v>-21.949926000000001</c:v>
                </c:pt>
                <c:pt idx="5224">
                  <c:v>-21.940607</c:v>
                </c:pt>
                <c:pt idx="5225">
                  <c:v>-21.931298000000002</c:v>
                </c:pt>
                <c:pt idx="5226">
                  <c:v>-21.921997999999999</c:v>
                </c:pt>
                <c:pt idx="5227">
                  <c:v>-21.912707999999999</c:v>
                </c:pt>
                <c:pt idx="5228">
                  <c:v>-21.903426</c:v>
                </c:pt>
                <c:pt idx="5229">
                  <c:v>-21.894155999999999</c:v>
                </c:pt>
                <c:pt idx="5230">
                  <c:v>-21.884893999999999</c:v>
                </c:pt>
                <c:pt idx="5231">
                  <c:v>-21.875641000000002</c:v>
                </c:pt>
                <c:pt idx="5232">
                  <c:v>-21.866398</c:v>
                </c:pt>
                <c:pt idx="5233">
                  <c:v>-21.857164000000001</c:v>
                </c:pt>
                <c:pt idx="5234">
                  <c:v>-21.847939</c:v>
                </c:pt>
                <c:pt idx="5235">
                  <c:v>-21.838723999999999</c:v>
                </c:pt>
                <c:pt idx="5236">
                  <c:v>-21.829518</c:v>
                </c:pt>
                <c:pt idx="5237">
                  <c:v>-21.820322000000001</c:v>
                </c:pt>
                <c:pt idx="5238">
                  <c:v>-21.811136999999999</c:v>
                </c:pt>
                <c:pt idx="5239">
                  <c:v>-21.801957000000002</c:v>
                </c:pt>
                <c:pt idx="5240">
                  <c:v>-21.792787000000001</c:v>
                </c:pt>
                <c:pt idx="5241">
                  <c:v>-21.783629000000001</c:v>
                </c:pt>
                <c:pt idx="5242">
                  <c:v>-21.774478999999999</c:v>
                </c:pt>
                <c:pt idx="5243">
                  <c:v>-21.765338</c:v>
                </c:pt>
                <c:pt idx="5244">
                  <c:v>-21.756207</c:v>
                </c:pt>
                <c:pt idx="5245">
                  <c:v>-21.747084999999998</c:v>
                </c:pt>
                <c:pt idx="5246">
                  <c:v>-21.737971000000002</c:v>
                </c:pt>
                <c:pt idx="5247">
                  <c:v>-21.728867999999999</c:v>
                </c:pt>
                <c:pt idx="5248">
                  <c:v>-21.719771999999999</c:v>
                </c:pt>
                <c:pt idx="5249">
                  <c:v>-21.710685000000002</c:v>
                </c:pt>
                <c:pt idx="5250">
                  <c:v>-21.701606999999999</c:v>
                </c:pt>
                <c:pt idx="5251">
                  <c:v>-21.692540000000001</c:v>
                </c:pt>
                <c:pt idx="5252">
                  <c:v>-21.683482000000001</c:v>
                </c:pt>
                <c:pt idx="5253">
                  <c:v>-21.674431999999999</c:v>
                </c:pt>
                <c:pt idx="5254">
                  <c:v>-21.665389999999999</c:v>
                </c:pt>
                <c:pt idx="5255">
                  <c:v>-21.656358000000001</c:v>
                </c:pt>
                <c:pt idx="5256">
                  <c:v>-21.647335999999999</c:v>
                </c:pt>
                <c:pt idx="5257">
                  <c:v>-21.638321000000001</c:v>
                </c:pt>
                <c:pt idx="5258">
                  <c:v>-21.629315999999999</c:v>
                </c:pt>
                <c:pt idx="5259">
                  <c:v>-21.62032</c:v>
                </c:pt>
                <c:pt idx="5260">
                  <c:v>-21.611333999999999</c:v>
                </c:pt>
                <c:pt idx="5261">
                  <c:v>-21.602354999999999</c:v>
                </c:pt>
                <c:pt idx="5262">
                  <c:v>-21.593385000000001</c:v>
                </c:pt>
                <c:pt idx="5263">
                  <c:v>-21.584423999999999</c:v>
                </c:pt>
                <c:pt idx="5264">
                  <c:v>-21.575472999999999</c:v>
                </c:pt>
                <c:pt idx="5265">
                  <c:v>-21.56653</c:v>
                </c:pt>
                <c:pt idx="5266">
                  <c:v>-21.557594999999999</c:v>
                </c:pt>
                <c:pt idx="5267">
                  <c:v>-21.548669</c:v>
                </c:pt>
                <c:pt idx="5268">
                  <c:v>-21.539753000000001</c:v>
                </c:pt>
                <c:pt idx="5269">
                  <c:v>-21.530844999999999</c:v>
                </c:pt>
                <c:pt idx="5270">
                  <c:v>-21.521944999999999</c:v>
                </c:pt>
                <c:pt idx="5271">
                  <c:v>-21.513054</c:v>
                </c:pt>
                <c:pt idx="5272">
                  <c:v>-21.504172000000001</c:v>
                </c:pt>
                <c:pt idx="5273">
                  <c:v>-21.4953</c:v>
                </c:pt>
                <c:pt idx="5274">
                  <c:v>-21.486435</c:v>
                </c:pt>
                <c:pt idx="5275">
                  <c:v>-21.477578000000001</c:v>
                </c:pt>
                <c:pt idx="5276">
                  <c:v>-21.468731999999999</c:v>
                </c:pt>
                <c:pt idx="5277">
                  <c:v>-21.459892</c:v>
                </c:pt>
                <c:pt idx="5278">
                  <c:v>-21.451062</c:v>
                </c:pt>
                <c:pt idx="5279">
                  <c:v>-21.442240000000002</c:v>
                </c:pt>
                <c:pt idx="5280">
                  <c:v>-21.433426999999998</c:v>
                </c:pt>
                <c:pt idx="5281">
                  <c:v>-21.424623</c:v>
                </c:pt>
                <c:pt idx="5282">
                  <c:v>-21.415825999999999</c:v>
                </c:pt>
                <c:pt idx="5283">
                  <c:v>-21.407039000000001</c:v>
                </c:pt>
                <c:pt idx="5284">
                  <c:v>-21.398258999999999</c:v>
                </c:pt>
                <c:pt idx="5285">
                  <c:v>-21.389489000000001</c:v>
                </c:pt>
                <c:pt idx="5286">
                  <c:v>-21.380727</c:v>
                </c:pt>
                <c:pt idx="5287">
                  <c:v>-21.371973000000001</c:v>
                </c:pt>
                <c:pt idx="5288">
                  <c:v>-21.363226999999998</c:v>
                </c:pt>
                <c:pt idx="5289">
                  <c:v>-21.354489999999998</c:v>
                </c:pt>
                <c:pt idx="5290">
                  <c:v>-21.345761</c:v>
                </c:pt>
                <c:pt idx="5291">
                  <c:v>-21.337042</c:v>
                </c:pt>
                <c:pt idx="5292">
                  <c:v>-21.328327000000002</c:v>
                </c:pt>
                <c:pt idx="5293">
                  <c:v>-21.319624999999998</c:v>
                </c:pt>
                <c:pt idx="5294">
                  <c:v>-21.310929000000002</c:v>
                </c:pt>
                <c:pt idx="5295">
                  <c:v>-21.302243000000001</c:v>
                </c:pt>
                <c:pt idx="5296">
                  <c:v>-21.293562999999999</c:v>
                </c:pt>
                <c:pt idx="5297">
                  <c:v>-21.284890999999998</c:v>
                </c:pt>
                <c:pt idx="5298">
                  <c:v>-21.276230000000002</c:v>
                </c:pt>
                <c:pt idx="5299">
                  <c:v>-21.267575999999998</c:v>
                </c:pt>
                <c:pt idx="5300">
                  <c:v>-21.258929999999999</c:v>
                </c:pt>
                <c:pt idx="5301">
                  <c:v>-21.250292999999999</c:v>
                </c:pt>
                <c:pt idx="5302">
                  <c:v>-21.241662999999999</c:v>
                </c:pt>
                <c:pt idx="5303">
                  <c:v>-21.233041</c:v>
                </c:pt>
                <c:pt idx="5304">
                  <c:v>-21.224428</c:v>
                </c:pt>
                <c:pt idx="5305">
                  <c:v>-21.215823</c:v>
                </c:pt>
                <c:pt idx="5306">
                  <c:v>-21.207225000000001</c:v>
                </c:pt>
                <c:pt idx="5307">
                  <c:v>-21.198637000000002</c:v>
                </c:pt>
                <c:pt idx="5308">
                  <c:v>-21.190055999999998</c:v>
                </c:pt>
                <c:pt idx="5309">
                  <c:v>-21.181483</c:v>
                </c:pt>
                <c:pt idx="5310">
                  <c:v>-21.172919</c:v>
                </c:pt>
                <c:pt idx="5311">
                  <c:v>-21.164362000000001</c:v>
                </c:pt>
                <c:pt idx="5312">
                  <c:v>-21.155812999999998</c:v>
                </c:pt>
                <c:pt idx="5313">
                  <c:v>-21.147272999999998</c:v>
                </c:pt>
                <c:pt idx="5314">
                  <c:v>-21.138739999999999</c:v>
                </c:pt>
                <c:pt idx="5315">
                  <c:v>-21.130215</c:v>
                </c:pt>
                <c:pt idx="5316">
                  <c:v>-21.121697999999999</c:v>
                </c:pt>
                <c:pt idx="5317">
                  <c:v>-21.113188999999998</c:v>
                </c:pt>
                <c:pt idx="5318">
                  <c:v>-21.104689</c:v>
                </c:pt>
                <c:pt idx="5319">
                  <c:v>-21.096195000000002</c:v>
                </c:pt>
                <c:pt idx="5320">
                  <c:v>-21.087710999999999</c:v>
                </c:pt>
                <c:pt idx="5321">
                  <c:v>-21.079232000000001</c:v>
                </c:pt>
                <c:pt idx="5322">
                  <c:v>-21.070765000000002</c:v>
                </c:pt>
                <c:pt idx="5323">
                  <c:v>-21.062301999999999</c:v>
                </c:pt>
                <c:pt idx="5324">
                  <c:v>-21.053847999999999</c:v>
                </c:pt>
                <c:pt idx="5325">
                  <c:v>-21.045403</c:v>
                </c:pt>
                <c:pt idx="5326">
                  <c:v>-21.036964999999999</c:v>
                </c:pt>
                <c:pt idx="5327">
                  <c:v>-21.028535000000002</c:v>
                </c:pt>
                <c:pt idx="5328">
                  <c:v>-21.020112000000001</c:v>
                </c:pt>
                <c:pt idx="5329">
                  <c:v>-21.011697000000002</c:v>
                </c:pt>
                <c:pt idx="5330">
                  <c:v>-21.003291000000001</c:v>
                </c:pt>
                <c:pt idx="5331">
                  <c:v>-20.994892</c:v>
                </c:pt>
                <c:pt idx="5332">
                  <c:v>-20.986499999999999</c:v>
                </c:pt>
                <c:pt idx="5333">
                  <c:v>-20.978114999999999</c:v>
                </c:pt>
                <c:pt idx="5334">
                  <c:v>-20.969738</c:v>
                </c:pt>
                <c:pt idx="5335">
                  <c:v>-20.961372999999998</c:v>
                </c:pt>
                <c:pt idx="5336">
                  <c:v>-20.953009999999999</c:v>
                </c:pt>
                <c:pt idx="5337">
                  <c:v>-20.944656999999999</c:v>
                </c:pt>
                <c:pt idx="5338">
                  <c:v>-20.936312000000001</c:v>
                </c:pt>
                <c:pt idx="5339">
                  <c:v>-20.927973999999999</c:v>
                </c:pt>
                <c:pt idx="5340">
                  <c:v>-20.919643000000001</c:v>
                </c:pt>
                <c:pt idx="5341">
                  <c:v>-20.911321000000001</c:v>
                </c:pt>
                <c:pt idx="5342">
                  <c:v>-20.903006000000001</c:v>
                </c:pt>
                <c:pt idx="5343">
                  <c:v>-20.894697000000001</c:v>
                </c:pt>
                <c:pt idx="5344">
                  <c:v>-20.886398</c:v>
                </c:pt>
                <c:pt idx="5345">
                  <c:v>-20.878105999999999</c:v>
                </c:pt>
                <c:pt idx="5346">
                  <c:v>-20.869820000000001</c:v>
                </c:pt>
                <c:pt idx="5347">
                  <c:v>-20.861543000000001</c:v>
                </c:pt>
                <c:pt idx="5348">
                  <c:v>-20.853273000000002</c:v>
                </c:pt>
                <c:pt idx="5349">
                  <c:v>-20.845009999999998</c:v>
                </c:pt>
                <c:pt idx="5350">
                  <c:v>-20.836756000000001</c:v>
                </c:pt>
                <c:pt idx="5351">
                  <c:v>-20.828507999999999</c:v>
                </c:pt>
                <c:pt idx="5352">
                  <c:v>-20.820267999999999</c:v>
                </c:pt>
                <c:pt idx="5353">
                  <c:v>-20.812035000000002</c:v>
                </c:pt>
                <c:pt idx="5354">
                  <c:v>-20.803809000000001</c:v>
                </c:pt>
                <c:pt idx="5355">
                  <c:v>-20.795591000000002</c:v>
                </c:pt>
                <c:pt idx="5356">
                  <c:v>-20.787379999999999</c:v>
                </c:pt>
                <c:pt idx="5357">
                  <c:v>-20.779177000000001</c:v>
                </c:pt>
                <c:pt idx="5358">
                  <c:v>-20.770980999999999</c:v>
                </c:pt>
                <c:pt idx="5359">
                  <c:v>-20.762792000000001</c:v>
                </c:pt>
                <c:pt idx="5360">
                  <c:v>-20.754611000000001</c:v>
                </c:pt>
                <c:pt idx="5361">
                  <c:v>-20.746437</c:v>
                </c:pt>
                <c:pt idx="5362">
                  <c:v>-20.738271000000001</c:v>
                </c:pt>
                <c:pt idx="5363">
                  <c:v>-20.730111999999998</c:v>
                </c:pt>
                <c:pt idx="5364">
                  <c:v>-20.721958999999998</c:v>
                </c:pt>
                <c:pt idx="5365">
                  <c:v>-20.713815</c:v>
                </c:pt>
                <c:pt idx="5366">
                  <c:v>-20.705677999999999</c:v>
                </c:pt>
                <c:pt idx="5367">
                  <c:v>-20.697547</c:v>
                </c:pt>
                <c:pt idx="5368">
                  <c:v>-20.689422</c:v>
                </c:pt>
                <c:pt idx="5369">
                  <c:v>-20.681307</c:v>
                </c:pt>
                <c:pt idx="5370">
                  <c:v>-20.673199</c:v>
                </c:pt>
                <c:pt idx="5371">
                  <c:v>-20.665098</c:v>
                </c:pt>
                <c:pt idx="5372">
                  <c:v>-20.657001999999999</c:v>
                </c:pt>
                <c:pt idx="5373">
                  <c:v>-20.648916</c:v>
                </c:pt>
                <c:pt idx="5374">
                  <c:v>-20.640834999999999</c:v>
                </c:pt>
                <c:pt idx="5375">
                  <c:v>-20.632762</c:v>
                </c:pt>
                <c:pt idx="5376">
                  <c:v>-20.624696</c:v>
                </c:pt>
                <c:pt idx="5377">
                  <c:v>-20.616637000000001</c:v>
                </c:pt>
                <c:pt idx="5378">
                  <c:v>-20.608585000000001</c:v>
                </c:pt>
                <c:pt idx="5379">
                  <c:v>-20.600542000000001</c:v>
                </c:pt>
                <c:pt idx="5380">
                  <c:v>-20.592504000000002</c:v>
                </c:pt>
                <c:pt idx="5381">
                  <c:v>-20.584472999999999</c:v>
                </c:pt>
                <c:pt idx="5382">
                  <c:v>-20.576450000000001</c:v>
                </c:pt>
                <c:pt idx="5383">
                  <c:v>-20.568432000000001</c:v>
                </c:pt>
                <c:pt idx="5384">
                  <c:v>-20.560424000000001</c:v>
                </c:pt>
                <c:pt idx="5385">
                  <c:v>-20.552420999999999</c:v>
                </c:pt>
                <c:pt idx="5386">
                  <c:v>-20.544425</c:v>
                </c:pt>
                <c:pt idx="5387">
                  <c:v>-20.536435999999998</c:v>
                </c:pt>
                <c:pt idx="5388">
                  <c:v>-20.528454</c:v>
                </c:pt>
                <c:pt idx="5389">
                  <c:v>-20.520479999999999</c:v>
                </c:pt>
                <c:pt idx="5390">
                  <c:v>-20.512513999999999</c:v>
                </c:pt>
                <c:pt idx="5391">
                  <c:v>-20.504553000000001</c:v>
                </c:pt>
                <c:pt idx="5392">
                  <c:v>-20.496597999999999</c:v>
                </c:pt>
                <c:pt idx="5393">
                  <c:v>-20.488651999999998</c:v>
                </c:pt>
                <c:pt idx="5394">
                  <c:v>-20.480710999999999</c:v>
                </c:pt>
                <c:pt idx="5395">
                  <c:v>-20.472778000000002</c:v>
                </c:pt>
                <c:pt idx="5396">
                  <c:v>-20.464850999999999</c:v>
                </c:pt>
                <c:pt idx="5397">
                  <c:v>-20.456931000000001</c:v>
                </c:pt>
                <c:pt idx="5398">
                  <c:v>-20.449017999999999</c:v>
                </c:pt>
                <c:pt idx="5399">
                  <c:v>-20.441113000000001</c:v>
                </c:pt>
                <c:pt idx="5400">
                  <c:v>-20.433215000000001</c:v>
                </c:pt>
                <c:pt idx="5401">
                  <c:v>-20.425322000000001</c:v>
                </c:pt>
                <c:pt idx="5402">
                  <c:v>-20.417435999999999</c:v>
                </c:pt>
                <c:pt idx="5403">
                  <c:v>-20.409558000000001</c:v>
                </c:pt>
                <c:pt idx="5404">
                  <c:v>-20.401685000000001</c:v>
                </c:pt>
                <c:pt idx="5405">
                  <c:v>-20.393820000000002</c:v>
                </c:pt>
                <c:pt idx="5406">
                  <c:v>-20.385961999999999</c:v>
                </c:pt>
                <c:pt idx="5407">
                  <c:v>-20.378111000000001</c:v>
                </c:pt>
                <c:pt idx="5408">
                  <c:v>-20.370266000000001</c:v>
                </c:pt>
                <c:pt idx="5409">
                  <c:v>-20.362427</c:v>
                </c:pt>
                <c:pt idx="5410">
                  <c:v>-20.354595</c:v>
                </c:pt>
                <c:pt idx="5411">
                  <c:v>-20.346769999999999</c:v>
                </c:pt>
                <c:pt idx="5412">
                  <c:v>-20.338953</c:v>
                </c:pt>
                <c:pt idx="5413">
                  <c:v>-20.331139</c:v>
                </c:pt>
                <c:pt idx="5414">
                  <c:v>-20.323335</c:v>
                </c:pt>
                <c:pt idx="5415">
                  <c:v>-20.315536999999999</c:v>
                </c:pt>
                <c:pt idx="5416">
                  <c:v>-20.307745000000001</c:v>
                </c:pt>
                <c:pt idx="5417">
                  <c:v>-20.299959999999999</c:v>
                </c:pt>
                <c:pt idx="5418">
                  <c:v>-20.292180999999999</c:v>
                </c:pt>
                <c:pt idx="5419">
                  <c:v>-20.284410000000001</c:v>
                </c:pt>
                <c:pt idx="5420">
                  <c:v>-20.276644000000001</c:v>
                </c:pt>
                <c:pt idx="5421">
                  <c:v>-20.268885000000001</c:v>
                </c:pt>
                <c:pt idx="5422">
                  <c:v>-20.261133000000001</c:v>
                </c:pt>
                <c:pt idx="5423">
                  <c:v>-20.253388000000001</c:v>
                </c:pt>
                <c:pt idx="5424">
                  <c:v>-20.245647999999999</c:v>
                </c:pt>
                <c:pt idx="5425">
                  <c:v>-20.237915000000001</c:v>
                </c:pt>
                <c:pt idx="5426">
                  <c:v>-20.230188999999999</c:v>
                </c:pt>
                <c:pt idx="5427">
                  <c:v>-20.222469</c:v>
                </c:pt>
                <c:pt idx="5428">
                  <c:v>-20.214756000000001</c:v>
                </c:pt>
                <c:pt idx="5429">
                  <c:v>-20.207049000000001</c:v>
                </c:pt>
                <c:pt idx="5430">
                  <c:v>-20.199349000000002</c:v>
                </c:pt>
                <c:pt idx="5431">
                  <c:v>-20.191655000000001</c:v>
                </c:pt>
                <c:pt idx="5432">
                  <c:v>-20.183966999999999</c:v>
                </c:pt>
                <c:pt idx="5433">
                  <c:v>-20.176286000000001</c:v>
                </c:pt>
                <c:pt idx="5434">
                  <c:v>-20.168612</c:v>
                </c:pt>
                <c:pt idx="5435">
                  <c:v>-20.160945000000002</c:v>
                </c:pt>
                <c:pt idx="5436">
                  <c:v>-20.153282000000001</c:v>
                </c:pt>
                <c:pt idx="5437">
                  <c:v>-20.145626</c:v>
                </c:pt>
                <c:pt idx="5438">
                  <c:v>-20.137976999999999</c:v>
                </c:pt>
                <c:pt idx="5439">
                  <c:v>-20.130334999999999</c:v>
                </c:pt>
                <c:pt idx="5440">
                  <c:v>-20.122698</c:v>
                </c:pt>
                <c:pt idx="5441">
                  <c:v>-20.115069999999999</c:v>
                </c:pt>
                <c:pt idx="5442">
                  <c:v>-20.107444999999998</c:v>
                </c:pt>
                <c:pt idx="5443">
                  <c:v>-20.099827000000001</c:v>
                </c:pt>
                <c:pt idx="5444">
                  <c:v>-20.092216000000001</c:v>
                </c:pt>
                <c:pt idx="5445">
                  <c:v>-20.084612</c:v>
                </c:pt>
                <c:pt idx="5446">
                  <c:v>-20.077013000000001</c:v>
                </c:pt>
                <c:pt idx="5447">
                  <c:v>-20.069420000000001</c:v>
                </c:pt>
                <c:pt idx="5448">
                  <c:v>-20.061836</c:v>
                </c:pt>
                <c:pt idx="5449">
                  <c:v>-20.054255999999999</c:v>
                </c:pt>
                <c:pt idx="5450">
                  <c:v>-20.046681</c:v>
                </c:pt>
                <c:pt idx="5451">
                  <c:v>-20.039114000000001</c:v>
                </c:pt>
                <c:pt idx="5452">
                  <c:v>-20.031552999999999</c:v>
                </c:pt>
                <c:pt idx="5453">
                  <c:v>-20.023999</c:v>
                </c:pt>
                <c:pt idx="5454">
                  <c:v>-20.016449999999999</c:v>
                </c:pt>
                <c:pt idx="5455">
                  <c:v>-20.008907000000001</c:v>
                </c:pt>
                <c:pt idx="5456">
                  <c:v>-20.001372</c:v>
                </c:pt>
                <c:pt idx="5457">
                  <c:v>-19.993841</c:v>
                </c:pt>
                <c:pt idx="5458">
                  <c:v>-19.986318000000001</c:v>
                </c:pt>
                <c:pt idx="5459">
                  <c:v>-19.978798999999999</c:v>
                </c:pt>
                <c:pt idx="5460">
                  <c:v>-19.971288000000001</c:v>
                </c:pt>
                <c:pt idx="5461">
                  <c:v>-19.963781999999998</c:v>
                </c:pt>
                <c:pt idx="5462">
                  <c:v>-19.956282999999999</c:v>
                </c:pt>
                <c:pt idx="5463">
                  <c:v>-19.948789999999999</c:v>
                </c:pt>
                <c:pt idx="5464">
                  <c:v>-19.941302</c:v>
                </c:pt>
                <c:pt idx="5465">
                  <c:v>-19.933820999999998</c:v>
                </c:pt>
                <c:pt idx="5466">
                  <c:v>-19.926345999999999</c:v>
                </c:pt>
                <c:pt idx="5467">
                  <c:v>-19.918876999999998</c:v>
                </c:pt>
                <c:pt idx="5468">
                  <c:v>-19.911414000000001</c:v>
                </c:pt>
                <c:pt idx="5469">
                  <c:v>-19.903956999999998</c:v>
                </c:pt>
                <c:pt idx="5470">
                  <c:v>-19.896505999999999</c:v>
                </c:pt>
                <c:pt idx="5471">
                  <c:v>-19.889061000000002</c:v>
                </c:pt>
                <c:pt idx="5472">
                  <c:v>-19.881623000000001</c:v>
                </c:pt>
                <c:pt idx="5473">
                  <c:v>-19.874189999999999</c:v>
                </c:pt>
                <c:pt idx="5474">
                  <c:v>-19.866762999999999</c:v>
                </c:pt>
                <c:pt idx="5475">
                  <c:v>-19.859342000000002</c:v>
                </c:pt>
                <c:pt idx="5476">
                  <c:v>-19.851927</c:v>
                </c:pt>
                <c:pt idx="5477">
                  <c:v>-19.844518000000001</c:v>
                </c:pt>
                <c:pt idx="5478">
                  <c:v>-19.837115000000001</c:v>
                </c:pt>
                <c:pt idx="5479">
                  <c:v>-19.829718</c:v>
                </c:pt>
                <c:pt idx="5480">
                  <c:v>-19.822327000000001</c:v>
                </c:pt>
                <c:pt idx="5481">
                  <c:v>-19.814941999999999</c:v>
                </c:pt>
                <c:pt idx="5482">
                  <c:v>-19.807562000000001</c:v>
                </c:pt>
                <c:pt idx="5483">
                  <c:v>-19.800187999999999</c:v>
                </c:pt>
                <c:pt idx="5484">
                  <c:v>-19.792821</c:v>
                </c:pt>
                <c:pt idx="5485">
                  <c:v>-19.785461000000002</c:v>
                </c:pt>
                <c:pt idx="5486">
                  <c:v>-19.778105</c:v>
                </c:pt>
                <c:pt idx="5487">
                  <c:v>-19.770754</c:v>
                </c:pt>
                <c:pt idx="5488">
                  <c:v>-19.763411000000001</c:v>
                </c:pt>
                <c:pt idx="5489">
                  <c:v>-19.756072</c:v>
                </c:pt>
                <c:pt idx="5490">
                  <c:v>-19.748737999999999</c:v>
                </c:pt>
                <c:pt idx="5491">
                  <c:v>-19.741413000000001</c:v>
                </c:pt>
                <c:pt idx="5492">
                  <c:v>-19.734092</c:v>
                </c:pt>
                <c:pt idx="5493">
                  <c:v>-19.726776999999998</c:v>
                </c:pt>
                <c:pt idx="5494">
                  <c:v>-19.719469</c:v>
                </c:pt>
                <c:pt idx="5495">
                  <c:v>-19.712164999999999</c:v>
                </c:pt>
                <c:pt idx="5496">
                  <c:v>-19.704867</c:v>
                </c:pt>
                <c:pt idx="5497">
                  <c:v>-19.697576000000002</c:v>
                </c:pt>
                <c:pt idx="5498">
                  <c:v>-19.690290000000001</c:v>
                </c:pt>
                <c:pt idx="5499">
                  <c:v>-19.683008999999998</c:v>
                </c:pt>
                <c:pt idx="5500">
                  <c:v>-19.675733999999999</c:v>
                </c:pt>
                <c:pt idx="5501">
                  <c:v>-19.668465999999999</c:v>
                </c:pt>
                <c:pt idx="5502">
                  <c:v>-19.661203</c:v>
                </c:pt>
                <c:pt idx="5503">
                  <c:v>-19.653945</c:v>
                </c:pt>
                <c:pt idx="5504">
                  <c:v>-19.646695000000001</c:v>
                </c:pt>
                <c:pt idx="5505">
                  <c:v>-19.639448000000002</c:v>
                </c:pt>
                <c:pt idx="5506">
                  <c:v>-19.632207000000001</c:v>
                </c:pt>
                <c:pt idx="5507">
                  <c:v>-19.624973000000001</c:v>
                </c:pt>
                <c:pt idx="5508">
                  <c:v>-19.617743000000001</c:v>
                </c:pt>
                <c:pt idx="5509">
                  <c:v>-19.610520999999999</c:v>
                </c:pt>
                <c:pt idx="5510">
                  <c:v>-19.603303</c:v>
                </c:pt>
                <c:pt idx="5511">
                  <c:v>-19.596091999999999</c:v>
                </c:pt>
                <c:pt idx="5512">
                  <c:v>-19.588885000000001</c:v>
                </c:pt>
                <c:pt idx="5513">
                  <c:v>-19.581683999999999</c:v>
                </c:pt>
                <c:pt idx="5514">
                  <c:v>-19.574487999999999</c:v>
                </c:pt>
                <c:pt idx="5515">
                  <c:v>-19.567298999999998</c:v>
                </c:pt>
                <c:pt idx="5516">
                  <c:v>-19.560115</c:v>
                </c:pt>
                <c:pt idx="5517">
                  <c:v>-19.552937</c:v>
                </c:pt>
                <c:pt idx="5518">
                  <c:v>-19.545763999999998</c:v>
                </c:pt>
                <c:pt idx="5519">
                  <c:v>-19.538595999999998</c:v>
                </c:pt>
                <c:pt idx="5520">
                  <c:v>-19.531434000000001</c:v>
                </c:pt>
                <c:pt idx="5521">
                  <c:v>-19.524277999999999</c:v>
                </c:pt>
                <c:pt idx="5522">
                  <c:v>-19.517126999999999</c:v>
                </c:pt>
                <c:pt idx="5523">
                  <c:v>-19.509982999999998</c:v>
                </c:pt>
                <c:pt idx="5524">
                  <c:v>-19.502842000000001</c:v>
                </c:pt>
                <c:pt idx="5525">
                  <c:v>-19.495708</c:v>
                </c:pt>
                <c:pt idx="5526">
                  <c:v>-19.488579999999999</c:v>
                </c:pt>
                <c:pt idx="5527">
                  <c:v>-19.481456999999999</c:v>
                </c:pt>
                <c:pt idx="5528">
                  <c:v>-19.474339000000001</c:v>
                </c:pt>
                <c:pt idx="5529">
                  <c:v>-19.467227000000001</c:v>
                </c:pt>
                <c:pt idx="5530">
                  <c:v>-19.46012</c:v>
                </c:pt>
                <c:pt idx="5531">
                  <c:v>-19.453019000000001</c:v>
                </c:pt>
                <c:pt idx="5532">
                  <c:v>-19.445924000000002</c:v>
                </c:pt>
                <c:pt idx="5533">
                  <c:v>-19.438832999999999</c:v>
                </c:pt>
                <c:pt idx="5534">
                  <c:v>-19.431749</c:v>
                </c:pt>
                <c:pt idx="5535">
                  <c:v>-19.424669000000002</c:v>
                </c:pt>
                <c:pt idx="5536">
                  <c:v>-19.417594999999999</c:v>
                </c:pt>
                <c:pt idx="5537">
                  <c:v>-19.410526000000001</c:v>
                </c:pt>
                <c:pt idx="5538">
                  <c:v>-19.403462999999999</c:v>
                </c:pt>
                <c:pt idx="5539">
                  <c:v>-19.396405000000001</c:v>
                </c:pt>
                <c:pt idx="5540">
                  <c:v>-19.389353</c:v>
                </c:pt>
                <c:pt idx="5541">
                  <c:v>-19.382306</c:v>
                </c:pt>
                <c:pt idx="5542">
                  <c:v>-19.375264000000001</c:v>
                </c:pt>
                <c:pt idx="5543">
                  <c:v>-19.368227000000001</c:v>
                </c:pt>
                <c:pt idx="5544">
                  <c:v>-19.361196</c:v>
                </c:pt>
                <c:pt idx="5545">
                  <c:v>-19.35417</c:v>
                </c:pt>
                <c:pt idx="5546">
                  <c:v>-19.347149999999999</c:v>
                </c:pt>
                <c:pt idx="5547">
                  <c:v>-19.340135</c:v>
                </c:pt>
                <c:pt idx="5548">
                  <c:v>-19.333124999999999</c:v>
                </c:pt>
                <c:pt idx="5549">
                  <c:v>-19.32612</c:v>
                </c:pt>
                <c:pt idx="5550">
                  <c:v>-19.319120999999999</c:v>
                </c:pt>
                <c:pt idx="5551">
                  <c:v>-19.312128000000001</c:v>
                </c:pt>
                <c:pt idx="5552">
                  <c:v>-19.305137999999999</c:v>
                </c:pt>
                <c:pt idx="5553">
                  <c:v>-19.298155000000001</c:v>
                </c:pt>
                <c:pt idx="5554">
                  <c:v>-19.291177999999999</c:v>
                </c:pt>
                <c:pt idx="5555">
                  <c:v>-19.284205</c:v>
                </c:pt>
                <c:pt idx="5556">
                  <c:v>-19.277237</c:v>
                </c:pt>
                <c:pt idx="5557">
                  <c:v>-19.270275000000002</c:v>
                </c:pt>
                <c:pt idx="5558">
                  <c:v>-19.263317000000001</c:v>
                </c:pt>
                <c:pt idx="5559">
                  <c:v>-19.256364999999999</c:v>
                </c:pt>
                <c:pt idx="5560">
                  <c:v>-19.249419</c:v>
                </c:pt>
                <c:pt idx="5561">
                  <c:v>-19.242477999999998</c:v>
                </c:pt>
                <c:pt idx="5562">
                  <c:v>-19.235541000000001</c:v>
                </c:pt>
                <c:pt idx="5563">
                  <c:v>-19.22861</c:v>
                </c:pt>
                <c:pt idx="5564">
                  <c:v>-19.221684</c:v>
                </c:pt>
                <c:pt idx="5565">
                  <c:v>-19.214763000000001</c:v>
                </c:pt>
                <c:pt idx="5566">
                  <c:v>-19.207847999999998</c:v>
                </c:pt>
                <c:pt idx="5567">
                  <c:v>-19.200938000000001</c:v>
                </c:pt>
                <c:pt idx="5568">
                  <c:v>-19.194032</c:v>
                </c:pt>
                <c:pt idx="5569">
                  <c:v>-19.187131999999998</c:v>
                </c:pt>
                <c:pt idx="5570">
                  <c:v>-19.180237000000002</c:v>
                </c:pt>
                <c:pt idx="5571">
                  <c:v>-19.173347</c:v>
                </c:pt>
                <c:pt idx="5572">
                  <c:v>-19.166461999999999</c:v>
                </c:pt>
                <c:pt idx="5573">
                  <c:v>-19.159583000000001</c:v>
                </c:pt>
                <c:pt idx="5574">
                  <c:v>-19.152708000000001</c:v>
                </c:pt>
                <c:pt idx="5575">
                  <c:v>-19.145838999999999</c:v>
                </c:pt>
                <c:pt idx="5576">
                  <c:v>-19.138974000000001</c:v>
                </c:pt>
                <c:pt idx="5577">
                  <c:v>-19.132116</c:v>
                </c:pt>
                <c:pt idx="5578">
                  <c:v>-19.125260000000001</c:v>
                </c:pt>
                <c:pt idx="5579">
                  <c:v>-19.118411999999999</c:v>
                </c:pt>
                <c:pt idx="5580">
                  <c:v>-19.111567000000001</c:v>
                </c:pt>
                <c:pt idx="5581">
                  <c:v>-19.104728000000001</c:v>
                </c:pt>
                <c:pt idx="5582">
                  <c:v>-19.097894</c:v>
                </c:pt>
                <c:pt idx="5583">
                  <c:v>-19.091066000000001</c:v>
                </c:pt>
                <c:pt idx="5584">
                  <c:v>-19.084240999999999</c:v>
                </c:pt>
                <c:pt idx="5585">
                  <c:v>-19.077421999999999</c:v>
                </c:pt>
                <c:pt idx="5586">
                  <c:v>-19.070608</c:v>
                </c:pt>
                <c:pt idx="5587">
                  <c:v>-19.063798999999999</c:v>
                </c:pt>
                <c:pt idx="5588">
                  <c:v>-19.056995000000001</c:v>
                </c:pt>
                <c:pt idx="5589">
                  <c:v>-19.050197000000001</c:v>
                </c:pt>
                <c:pt idx="5590">
                  <c:v>-19.043403000000001</c:v>
                </c:pt>
                <c:pt idx="5591">
                  <c:v>-19.036612999999999</c:v>
                </c:pt>
                <c:pt idx="5592">
                  <c:v>-19.029827999999998</c:v>
                </c:pt>
                <c:pt idx="5593">
                  <c:v>-19.023050000000001</c:v>
                </c:pt>
                <c:pt idx="5594">
                  <c:v>-19.016276000000001</c:v>
                </c:pt>
                <c:pt idx="5595">
                  <c:v>-19.009505999999998</c:v>
                </c:pt>
                <c:pt idx="5596">
                  <c:v>-19.002742999999999</c:v>
                </c:pt>
                <c:pt idx="5597">
                  <c:v>-18.995982999999999</c:v>
                </c:pt>
                <c:pt idx="5598">
                  <c:v>-18.989228000000001</c:v>
                </c:pt>
                <c:pt idx="5599">
                  <c:v>-18.982479000000001</c:v>
                </c:pt>
                <c:pt idx="5600">
                  <c:v>-18.975733999999999</c:v>
                </c:pt>
                <c:pt idx="5601">
                  <c:v>-18.968993999999999</c:v>
                </c:pt>
                <c:pt idx="5602">
                  <c:v>-18.962259</c:v>
                </c:pt>
                <c:pt idx="5603">
                  <c:v>-18.955528999999999</c:v>
                </c:pt>
                <c:pt idx="5604">
                  <c:v>-18.948803999999999</c:v>
                </c:pt>
                <c:pt idx="5605">
                  <c:v>-18.942084000000001</c:v>
                </c:pt>
                <c:pt idx="5606">
                  <c:v>-18.935368</c:v>
                </c:pt>
                <c:pt idx="5607">
                  <c:v>-18.928657999999999</c:v>
                </c:pt>
                <c:pt idx="5608">
                  <c:v>-18.921952000000001</c:v>
                </c:pt>
                <c:pt idx="5609">
                  <c:v>-18.915251000000001</c:v>
                </c:pt>
                <c:pt idx="5610">
                  <c:v>-18.908555</c:v>
                </c:pt>
                <c:pt idx="5611">
                  <c:v>-18.901862999999999</c:v>
                </c:pt>
                <c:pt idx="5612">
                  <c:v>-18.895178000000001</c:v>
                </c:pt>
                <c:pt idx="5613">
                  <c:v>-18.888496</c:v>
                </c:pt>
                <c:pt idx="5614">
                  <c:v>-18.881819</c:v>
                </c:pt>
                <c:pt idx="5615">
                  <c:v>-18.875146999999998</c:v>
                </c:pt>
                <c:pt idx="5616">
                  <c:v>-18.868479000000001</c:v>
                </c:pt>
                <c:pt idx="5617">
                  <c:v>-18.861816000000001</c:v>
                </c:pt>
                <c:pt idx="5618">
                  <c:v>-18.855160000000001</c:v>
                </c:pt>
                <c:pt idx="5619">
                  <c:v>-18.848506</c:v>
                </c:pt>
                <c:pt idx="5620">
                  <c:v>-18.841857999999998</c:v>
                </c:pt>
                <c:pt idx="5621">
                  <c:v>-18.835215000000002</c:v>
                </c:pt>
                <c:pt idx="5622">
                  <c:v>-18.828575000000001</c:v>
                </c:pt>
                <c:pt idx="5623">
                  <c:v>-18.821942</c:v>
                </c:pt>
                <c:pt idx="5624">
                  <c:v>-18.815311999999999</c:v>
                </c:pt>
                <c:pt idx="5625">
                  <c:v>-18.808689000000001</c:v>
                </c:pt>
                <c:pt idx="5626">
                  <c:v>-18.802067999999998</c:v>
                </c:pt>
                <c:pt idx="5627">
                  <c:v>-18.795452999999998</c:v>
                </c:pt>
                <c:pt idx="5628">
                  <c:v>-18.788841999999999</c:v>
                </c:pt>
                <c:pt idx="5629">
                  <c:v>-18.782236000000001</c:v>
                </c:pt>
                <c:pt idx="5630">
                  <c:v>-18.775637</c:v>
                </c:pt>
                <c:pt idx="5631">
                  <c:v>-18.76904</c:v>
                </c:pt>
                <c:pt idx="5632">
                  <c:v>-18.762447999999999</c:v>
                </c:pt>
                <c:pt idx="5633">
                  <c:v>-18.755862</c:v>
                </c:pt>
                <c:pt idx="5634">
                  <c:v>-18.749278</c:v>
                </c:pt>
                <c:pt idx="5635">
                  <c:v>-18.742701</c:v>
                </c:pt>
                <c:pt idx="5636">
                  <c:v>-18.736127</c:v>
                </c:pt>
                <c:pt idx="5637">
                  <c:v>-18.729558999999998</c:v>
                </c:pt>
                <c:pt idx="5638">
                  <c:v>-18.722995000000001</c:v>
                </c:pt>
                <c:pt idx="5639">
                  <c:v>-18.716436000000002</c:v>
                </c:pt>
                <c:pt idx="5640">
                  <c:v>-18.709880999999999</c:v>
                </c:pt>
                <c:pt idx="5641">
                  <c:v>-18.703330999999999</c:v>
                </c:pt>
                <c:pt idx="5642">
                  <c:v>-18.696785999999999</c:v>
                </c:pt>
                <c:pt idx="5643">
                  <c:v>-18.690245000000001</c:v>
                </c:pt>
                <c:pt idx="5644">
                  <c:v>-18.683709</c:v>
                </c:pt>
                <c:pt idx="5645">
                  <c:v>-18.677178000000001</c:v>
                </c:pt>
                <c:pt idx="5646">
                  <c:v>-18.670649999999998</c:v>
                </c:pt>
                <c:pt idx="5647">
                  <c:v>-18.664127000000001</c:v>
                </c:pt>
                <c:pt idx="5648">
                  <c:v>-18.657609000000001</c:v>
                </c:pt>
                <c:pt idx="5649">
                  <c:v>-18.651098000000001</c:v>
                </c:pt>
                <c:pt idx="5650">
                  <c:v>-18.644587999999999</c:v>
                </c:pt>
                <c:pt idx="5651">
                  <c:v>-18.638083999999999</c:v>
                </c:pt>
                <c:pt idx="5652">
                  <c:v>-18.631584</c:v>
                </c:pt>
                <c:pt idx="5653">
                  <c:v>-18.625088000000002</c:v>
                </c:pt>
                <c:pt idx="5654">
                  <c:v>-18.618597000000001</c:v>
                </c:pt>
                <c:pt idx="5655">
                  <c:v>-18.612112</c:v>
                </c:pt>
                <c:pt idx="5656">
                  <c:v>-18.605630000000001</c:v>
                </c:pt>
                <c:pt idx="5657">
                  <c:v>-18.599153000000001</c:v>
                </c:pt>
                <c:pt idx="5658">
                  <c:v>-18.592680000000001</c:v>
                </c:pt>
                <c:pt idx="5659">
                  <c:v>-18.586212</c:v>
                </c:pt>
                <c:pt idx="5660">
                  <c:v>-18.579747999999999</c:v>
                </c:pt>
                <c:pt idx="5661">
                  <c:v>-18.573288999999999</c:v>
                </c:pt>
                <c:pt idx="5662">
                  <c:v>-18.566834</c:v>
                </c:pt>
                <c:pt idx="5663">
                  <c:v>-18.560383999999999</c:v>
                </c:pt>
                <c:pt idx="5664">
                  <c:v>-18.553937000000001</c:v>
                </c:pt>
                <c:pt idx="5665">
                  <c:v>-18.547497</c:v>
                </c:pt>
                <c:pt idx="5666">
                  <c:v>-18.541060000000002</c:v>
                </c:pt>
                <c:pt idx="5667">
                  <c:v>-18.534627</c:v>
                </c:pt>
                <c:pt idx="5668">
                  <c:v>-18.528199000000001</c:v>
                </c:pt>
                <c:pt idx="5669">
                  <c:v>-18.521775999999999</c:v>
                </c:pt>
                <c:pt idx="5670">
                  <c:v>-18.515356000000001</c:v>
                </c:pt>
                <c:pt idx="5671">
                  <c:v>-18.508942000000001</c:v>
                </c:pt>
                <c:pt idx="5672">
                  <c:v>-18.502531000000001</c:v>
                </c:pt>
                <c:pt idx="5673">
                  <c:v>-18.496123999999998</c:v>
                </c:pt>
                <c:pt idx="5674">
                  <c:v>-18.489723999999999</c:v>
                </c:pt>
                <c:pt idx="5675">
                  <c:v>-18.483326999999999</c:v>
                </c:pt>
                <c:pt idx="5676">
                  <c:v>-18.476934</c:v>
                </c:pt>
                <c:pt idx="5677">
                  <c:v>-18.470545999999999</c:v>
                </c:pt>
                <c:pt idx="5678">
                  <c:v>-18.464161000000001</c:v>
                </c:pt>
                <c:pt idx="5679">
                  <c:v>-18.457781000000001</c:v>
                </c:pt>
                <c:pt idx="5680">
                  <c:v>-18.451405999999999</c:v>
                </c:pt>
                <c:pt idx="5681">
                  <c:v>-18.445035000000001</c:v>
                </c:pt>
                <c:pt idx="5682">
                  <c:v>-18.438668</c:v>
                </c:pt>
                <c:pt idx="5683">
                  <c:v>-18.432306000000001</c:v>
                </c:pt>
                <c:pt idx="5684">
                  <c:v>-18.425948000000002</c:v>
                </c:pt>
                <c:pt idx="5685">
                  <c:v>-18.419594</c:v>
                </c:pt>
                <c:pt idx="5686">
                  <c:v>-18.413246000000001</c:v>
                </c:pt>
                <c:pt idx="5687">
                  <c:v>-18.406898999999999</c:v>
                </c:pt>
                <c:pt idx="5688">
                  <c:v>-18.400559000000001</c:v>
                </c:pt>
                <c:pt idx="5689">
                  <c:v>-18.394221999999999</c:v>
                </c:pt>
                <c:pt idx="5690">
                  <c:v>-18.387889999999999</c:v>
                </c:pt>
                <c:pt idx="5691">
                  <c:v>-18.381561999999999</c:v>
                </c:pt>
                <c:pt idx="5692">
                  <c:v>-18.375240000000002</c:v>
                </c:pt>
                <c:pt idx="5693">
                  <c:v>-18.368919999999999</c:v>
                </c:pt>
                <c:pt idx="5694">
                  <c:v>-18.362604999999999</c:v>
                </c:pt>
                <c:pt idx="5695">
                  <c:v>-18.356293999999998</c:v>
                </c:pt>
                <c:pt idx="5696">
                  <c:v>-18.349986999999999</c:v>
                </c:pt>
                <c:pt idx="5697">
                  <c:v>-18.343684</c:v>
                </c:pt>
                <c:pt idx="5698">
                  <c:v>-18.337387</c:v>
                </c:pt>
                <c:pt idx="5699">
                  <c:v>-18.331092999999999</c:v>
                </c:pt>
                <c:pt idx="5700">
                  <c:v>-18.324804</c:v>
                </c:pt>
                <c:pt idx="5701">
                  <c:v>-18.318517</c:v>
                </c:pt>
                <c:pt idx="5702">
                  <c:v>-18.312237</c:v>
                </c:pt>
                <c:pt idx="5703">
                  <c:v>-18.305959999999999</c:v>
                </c:pt>
                <c:pt idx="5704">
                  <c:v>-18.299686999999999</c:v>
                </c:pt>
                <c:pt idx="5705">
                  <c:v>-18.293420000000001</c:v>
                </c:pt>
                <c:pt idx="5706">
                  <c:v>-18.287154000000001</c:v>
                </c:pt>
                <c:pt idx="5707">
                  <c:v>-18.280894</c:v>
                </c:pt>
                <c:pt idx="5708">
                  <c:v>-18.274637999999999</c:v>
                </c:pt>
                <c:pt idx="5709">
                  <c:v>-18.268387000000001</c:v>
                </c:pt>
                <c:pt idx="5710">
                  <c:v>-18.262139000000001</c:v>
                </c:pt>
                <c:pt idx="5711">
                  <c:v>-18.255894999999999</c:v>
                </c:pt>
                <c:pt idx="5712">
                  <c:v>-18.249656999999999</c:v>
                </c:pt>
                <c:pt idx="5713">
                  <c:v>-18.243421000000001</c:v>
                </c:pt>
                <c:pt idx="5714">
                  <c:v>-18.237190999999999</c:v>
                </c:pt>
                <c:pt idx="5715">
                  <c:v>-18.230962999999999</c:v>
                </c:pt>
                <c:pt idx="5716">
                  <c:v>-18.224741000000002</c:v>
                </c:pt>
                <c:pt idx="5717">
                  <c:v>-18.218522</c:v>
                </c:pt>
                <c:pt idx="5718">
                  <c:v>-18.212308</c:v>
                </c:pt>
                <c:pt idx="5719">
                  <c:v>-18.206098000000001</c:v>
                </c:pt>
                <c:pt idx="5720">
                  <c:v>-18.199891000000001</c:v>
                </c:pt>
                <c:pt idx="5721">
                  <c:v>-18.193688999999999</c:v>
                </c:pt>
                <c:pt idx="5722">
                  <c:v>-18.187491999999999</c:v>
                </c:pt>
                <c:pt idx="5723">
                  <c:v>-18.181297000000001</c:v>
                </c:pt>
                <c:pt idx="5724">
                  <c:v>-18.175108000000002</c:v>
                </c:pt>
                <c:pt idx="5725">
                  <c:v>-18.168921999999998</c:v>
                </c:pt>
                <c:pt idx="5726">
                  <c:v>-18.162741</c:v>
                </c:pt>
                <c:pt idx="5727">
                  <c:v>-18.156562999999998</c:v>
                </c:pt>
                <c:pt idx="5728">
                  <c:v>-18.150389000000001</c:v>
                </c:pt>
                <c:pt idx="5729">
                  <c:v>-18.144221000000002</c:v>
                </c:pt>
                <c:pt idx="5730">
                  <c:v>-18.138055000000001</c:v>
                </c:pt>
                <c:pt idx="5731">
                  <c:v>-18.131893999999999</c:v>
                </c:pt>
                <c:pt idx="5732">
                  <c:v>-18.125736</c:v>
                </c:pt>
                <c:pt idx="5733">
                  <c:v>-18.119584</c:v>
                </c:pt>
                <c:pt idx="5734">
                  <c:v>-18.113434000000002</c:v>
                </c:pt>
                <c:pt idx="5735">
                  <c:v>-18.107289000000002</c:v>
                </c:pt>
                <c:pt idx="5736">
                  <c:v>-18.101147000000001</c:v>
                </c:pt>
                <c:pt idx="5737">
                  <c:v>-18.095011</c:v>
                </c:pt>
                <c:pt idx="5738">
                  <c:v>-18.088877</c:v>
                </c:pt>
                <c:pt idx="5739">
                  <c:v>-18.082749</c:v>
                </c:pt>
                <c:pt idx="5740">
                  <c:v>-18.076623000000001</c:v>
                </c:pt>
                <c:pt idx="5741">
                  <c:v>-18.070502999999999</c:v>
                </c:pt>
                <c:pt idx="5742">
                  <c:v>-18.064385000000001</c:v>
                </c:pt>
                <c:pt idx="5743">
                  <c:v>-18.058271000000001</c:v>
                </c:pt>
                <c:pt idx="5744">
                  <c:v>-18.052163</c:v>
                </c:pt>
                <c:pt idx="5745">
                  <c:v>-18.046059</c:v>
                </c:pt>
                <c:pt idx="5746">
                  <c:v>-18.039957000000001</c:v>
                </c:pt>
                <c:pt idx="5747">
                  <c:v>-18.033860000000001</c:v>
                </c:pt>
                <c:pt idx="5748">
                  <c:v>-18.027767999999998</c:v>
                </c:pt>
                <c:pt idx="5749">
                  <c:v>-18.021677</c:v>
                </c:pt>
                <c:pt idx="5750">
                  <c:v>-18.015592000000002</c:v>
                </c:pt>
                <c:pt idx="5751">
                  <c:v>-18.009509999999999</c:v>
                </c:pt>
                <c:pt idx="5752">
                  <c:v>-18.003433999999999</c:v>
                </c:pt>
                <c:pt idx="5753">
                  <c:v>-17.99736</c:v>
                </c:pt>
                <c:pt idx="5754">
                  <c:v>-17.991289999999999</c:v>
                </c:pt>
                <c:pt idx="5755">
                  <c:v>-17.985223999999999</c:v>
                </c:pt>
                <c:pt idx="5756">
                  <c:v>-17.979163</c:v>
                </c:pt>
                <c:pt idx="5757">
                  <c:v>-17.973105</c:v>
                </c:pt>
                <c:pt idx="5758">
                  <c:v>-17.967051000000001</c:v>
                </c:pt>
                <c:pt idx="5759">
                  <c:v>-17.961001</c:v>
                </c:pt>
                <c:pt idx="5760">
                  <c:v>-17.954955000000002</c:v>
                </c:pt>
                <c:pt idx="5761">
                  <c:v>-17.948913000000001</c:v>
                </c:pt>
                <c:pt idx="5762">
                  <c:v>-17.942875000000001</c:v>
                </c:pt>
                <c:pt idx="5763">
                  <c:v>-17.936838999999999</c:v>
                </c:pt>
                <c:pt idx="5764">
                  <c:v>-17.930809</c:v>
                </c:pt>
                <c:pt idx="5765">
                  <c:v>-17.924783000000001</c:v>
                </c:pt>
                <c:pt idx="5766">
                  <c:v>-17.918759000000001</c:v>
                </c:pt>
                <c:pt idx="5767">
                  <c:v>-17.912739999999999</c:v>
                </c:pt>
                <c:pt idx="5768">
                  <c:v>-17.906725000000002</c:v>
                </c:pt>
                <c:pt idx="5769">
                  <c:v>-17.900714000000001</c:v>
                </c:pt>
                <c:pt idx="5770">
                  <c:v>-17.894707</c:v>
                </c:pt>
                <c:pt idx="5771">
                  <c:v>-17.888703</c:v>
                </c:pt>
                <c:pt idx="5772">
                  <c:v>-17.882702999999999</c:v>
                </c:pt>
                <c:pt idx="5773">
                  <c:v>-17.876708000000001</c:v>
                </c:pt>
                <c:pt idx="5774">
                  <c:v>-17.870715000000001</c:v>
                </c:pt>
                <c:pt idx="5775">
                  <c:v>-17.864727999999999</c:v>
                </c:pt>
                <c:pt idx="5776">
                  <c:v>-17.858741999999999</c:v>
                </c:pt>
                <c:pt idx="5777">
                  <c:v>-17.852761000000001</c:v>
                </c:pt>
                <c:pt idx="5778">
                  <c:v>-17.846785000000001</c:v>
                </c:pt>
                <c:pt idx="5779">
                  <c:v>-17.840812</c:v>
                </c:pt>
                <c:pt idx="5780">
                  <c:v>-17.834841999999998</c:v>
                </c:pt>
                <c:pt idx="5781">
                  <c:v>-17.828876000000001</c:v>
                </c:pt>
                <c:pt idx="5782">
                  <c:v>-17.822914999999998</c:v>
                </c:pt>
                <c:pt idx="5783">
                  <c:v>-17.816956999999999</c:v>
                </c:pt>
                <c:pt idx="5784">
                  <c:v>-17.811002999999999</c:v>
                </c:pt>
                <c:pt idx="5785">
                  <c:v>-17.805052</c:v>
                </c:pt>
                <c:pt idx="5786">
                  <c:v>-17.799105999999998</c:v>
                </c:pt>
                <c:pt idx="5787">
                  <c:v>-17.793161999999999</c:v>
                </c:pt>
                <c:pt idx="5788">
                  <c:v>-17.787223000000001</c:v>
                </c:pt>
                <c:pt idx="5789">
                  <c:v>-17.781288</c:v>
                </c:pt>
                <c:pt idx="5790">
                  <c:v>-17.775355999999999</c:v>
                </c:pt>
                <c:pt idx="5791">
                  <c:v>-17.769428999999999</c:v>
                </c:pt>
                <c:pt idx="5792">
                  <c:v>-17.763504999999999</c:v>
                </c:pt>
                <c:pt idx="5793">
                  <c:v>-17.757584999999999</c:v>
                </c:pt>
                <c:pt idx="5794">
                  <c:v>-17.751667999999999</c:v>
                </c:pt>
                <c:pt idx="5795">
                  <c:v>-17.745754999999999</c:v>
                </c:pt>
                <c:pt idx="5796">
                  <c:v>-17.739844999999999</c:v>
                </c:pt>
                <c:pt idx="5797">
                  <c:v>-17.733938999999999</c:v>
                </c:pt>
                <c:pt idx="5798">
                  <c:v>-17.728037</c:v>
                </c:pt>
                <c:pt idx="5799">
                  <c:v>-17.722138999999999</c:v>
                </c:pt>
                <c:pt idx="5800">
                  <c:v>-17.716244</c:v>
                </c:pt>
                <c:pt idx="5801">
                  <c:v>-17.710353999999999</c:v>
                </c:pt>
                <c:pt idx="5802">
                  <c:v>-17.704466</c:v>
                </c:pt>
                <c:pt idx="5803">
                  <c:v>-17.698581999999998</c:v>
                </c:pt>
                <c:pt idx="5804">
                  <c:v>-17.692703000000002</c:v>
                </c:pt>
                <c:pt idx="5805">
                  <c:v>-17.686826</c:v>
                </c:pt>
                <c:pt idx="5806">
                  <c:v>-17.680954</c:v>
                </c:pt>
                <c:pt idx="5807">
                  <c:v>-17.675084999999999</c:v>
                </c:pt>
                <c:pt idx="5808">
                  <c:v>-17.669219999999999</c:v>
                </c:pt>
                <c:pt idx="5809">
                  <c:v>-17.663357999999999</c:v>
                </c:pt>
                <c:pt idx="5810">
                  <c:v>-17.657502000000001</c:v>
                </c:pt>
                <c:pt idx="5811">
                  <c:v>-17.651647000000001</c:v>
                </c:pt>
                <c:pt idx="5812">
                  <c:v>-17.645796000000001</c:v>
                </c:pt>
                <c:pt idx="5813">
                  <c:v>-17.639949000000001</c:v>
                </c:pt>
                <c:pt idx="5814">
                  <c:v>-17.634105000000002</c:v>
                </c:pt>
                <c:pt idx="5815">
                  <c:v>-17.628266</c:v>
                </c:pt>
                <c:pt idx="5816">
                  <c:v>-17.622430000000001</c:v>
                </c:pt>
                <c:pt idx="5817">
                  <c:v>-17.616596999999999</c:v>
                </c:pt>
                <c:pt idx="5818">
                  <c:v>-17.610768</c:v>
                </c:pt>
                <c:pt idx="5819">
                  <c:v>-17.604942999999999</c:v>
                </c:pt>
                <c:pt idx="5820">
                  <c:v>-17.599122000000001</c:v>
                </c:pt>
                <c:pt idx="5821">
                  <c:v>-17.593302999999999</c:v>
                </c:pt>
                <c:pt idx="5822">
                  <c:v>-17.587489000000001</c:v>
                </c:pt>
                <c:pt idx="5823">
                  <c:v>-17.581678</c:v>
                </c:pt>
                <c:pt idx="5824">
                  <c:v>-17.575869999999998</c:v>
                </c:pt>
                <c:pt idx="5825">
                  <c:v>-17.570066000000001</c:v>
                </c:pt>
                <c:pt idx="5826">
                  <c:v>-17.564267000000001</c:v>
                </c:pt>
                <c:pt idx="5827">
                  <c:v>-17.558468999999999</c:v>
                </c:pt>
                <c:pt idx="5828">
                  <c:v>-17.552676000000002</c:v>
                </c:pt>
                <c:pt idx="5829">
                  <c:v>-17.546886000000001</c:v>
                </c:pt>
                <c:pt idx="5830">
                  <c:v>-17.5411</c:v>
                </c:pt>
                <c:pt idx="5831">
                  <c:v>-17.535319000000001</c:v>
                </c:pt>
                <c:pt idx="5832">
                  <c:v>-17.529539</c:v>
                </c:pt>
                <c:pt idx="5833">
                  <c:v>-17.523765000000001</c:v>
                </c:pt>
                <c:pt idx="5834">
                  <c:v>-17.517993000000001</c:v>
                </c:pt>
                <c:pt idx="5835">
                  <c:v>-17.512224</c:v>
                </c:pt>
                <c:pt idx="5836">
                  <c:v>-17.506459</c:v>
                </c:pt>
                <c:pt idx="5837">
                  <c:v>-17.500698</c:v>
                </c:pt>
                <c:pt idx="5838">
                  <c:v>-17.49494</c:v>
                </c:pt>
                <c:pt idx="5839">
                  <c:v>-17.489184999999999</c:v>
                </c:pt>
                <c:pt idx="5840">
                  <c:v>-17.483435</c:v>
                </c:pt>
                <c:pt idx="5841">
                  <c:v>-17.477688000000001</c:v>
                </c:pt>
                <c:pt idx="5842">
                  <c:v>-17.471944000000001</c:v>
                </c:pt>
                <c:pt idx="5843">
                  <c:v>-17.466203</c:v>
                </c:pt>
                <c:pt idx="5844">
                  <c:v>-17.460467000000001</c:v>
                </c:pt>
                <c:pt idx="5845">
                  <c:v>-17.454733999999998</c:v>
                </c:pt>
                <c:pt idx="5846">
                  <c:v>-17.449003000000001</c:v>
                </c:pt>
                <c:pt idx="5847">
                  <c:v>-17.443279</c:v>
                </c:pt>
                <c:pt idx="5848">
                  <c:v>-17.437555</c:v>
                </c:pt>
                <c:pt idx="5849">
                  <c:v>-17.431836000000001</c:v>
                </c:pt>
                <c:pt idx="5850">
                  <c:v>-17.426120000000001</c:v>
                </c:pt>
                <c:pt idx="5851">
                  <c:v>-17.420407000000001</c:v>
                </c:pt>
                <c:pt idx="5852">
                  <c:v>-17.414698000000001</c:v>
                </c:pt>
                <c:pt idx="5853">
                  <c:v>-17.408992000000001</c:v>
                </c:pt>
                <c:pt idx="5854">
                  <c:v>-17.403289999999998</c:v>
                </c:pt>
                <c:pt idx="5855">
                  <c:v>-17.397590999999998</c:v>
                </c:pt>
                <c:pt idx="5856">
                  <c:v>-17.391897</c:v>
                </c:pt>
                <c:pt idx="5857">
                  <c:v>-17.386205</c:v>
                </c:pt>
                <c:pt idx="5858">
                  <c:v>-17.380517000000001</c:v>
                </c:pt>
                <c:pt idx="5859">
                  <c:v>-17.374831</c:v>
                </c:pt>
                <c:pt idx="5860">
                  <c:v>-17.369149</c:v>
                </c:pt>
                <c:pt idx="5861">
                  <c:v>-17.36347</c:v>
                </c:pt>
                <c:pt idx="5862">
                  <c:v>-17.357794999999999</c:v>
                </c:pt>
                <c:pt idx="5863">
                  <c:v>-17.352125999999998</c:v>
                </c:pt>
                <c:pt idx="5864">
                  <c:v>-17.346457000000001</c:v>
                </c:pt>
                <c:pt idx="5865">
                  <c:v>-17.340792</c:v>
                </c:pt>
                <c:pt idx="5866">
                  <c:v>-17.335131000000001</c:v>
                </c:pt>
                <c:pt idx="5867">
                  <c:v>-17.329473</c:v>
                </c:pt>
                <c:pt idx="5868">
                  <c:v>-17.323819</c:v>
                </c:pt>
                <c:pt idx="5869">
                  <c:v>-17.318166999999999</c:v>
                </c:pt>
                <c:pt idx="5870">
                  <c:v>-17.312519000000002</c:v>
                </c:pt>
                <c:pt idx="5871">
                  <c:v>-17.306875999999999</c:v>
                </c:pt>
                <c:pt idx="5872">
                  <c:v>-17.301233</c:v>
                </c:pt>
                <c:pt idx="5873">
                  <c:v>-17.295597000000001</c:v>
                </c:pt>
                <c:pt idx="5874">
                  <c:v>-17.289963</c:v>
                </c:pt>
                <c:pt idx="5875">
                  <c:v>-17.284331999999999</c:v>
                </c:pt>
                <c:pt idx="5876">
                  <c:v>-17.278704000000001</c:v>
                </c:pt>
                <c:pt idx="5877">
                  <c:v>-17.27308</c:v>
                </c:pt>
                <c:pt idx="5878">
                  <c:v>-17.267458999999999</c:v>
                </c:pt>
                <c:pt idx="5879">
                  <c:v>-17.261842000000001</c:v>
                </c:pt>
                <c:pt idx="5880">
                  <c:v>-17.256226999999999</c:v>
                </c:pt>
                <c:pt idx="5881">
                  <c:v>-17.250616999999998</c:v>
                </c:pt>
                <c:pt idx="5882">
                  <c:v>-17.245007999999999</c:v>
                </c:pt>
                <c:pt idx="5883">
                  <c:v>-17.239405000000001</c:v>
                </c:pt>
                <c:pt idx="5884">
                  <c:v>-17.233803999999999</c:v>
                </c:pt>
                <c:pt idx="5885">
                  <c:v>-17.228207000000001</c:v>
                </c:pt>
                <c:pt idx="5886">
                  <c:v>-17.222612000000002</c:v>
                </c:pt>
                <c:pt idx="5887">
                  <c:v>-17.217020999999999</c:v>
                </c:pt>
                <c:pt idx="5888">
                  <c:v>-17.211431999999999</c:v>
                </c:pt>
                <c:pt idx="5889">
                  <c:v>-17.205849000000001</c:v>
                </c:pt>
                <c:pt idx="5890">
                  <c:v>-17.200267</c:v>
                </c:pt>
                <c:pt idx="5891">
                  <c:v>-17.194690000000001</c:v>
                </c:pt>
                <c:pt idx="5892">
                  <c:v>-17.189114</c:v>
                </c:pt>
                <c:pt idx="5893">
                  <c:v>-17.183543</c:v>
                </c:pt>
                <c:pt idx="5894">
                  <c:v>-17.177973999999999</c:v>
                </c:pt>
                <c:pt idx="5895">
                  <c:v>-17.172409999999999</c:v>
                </c:pt>
                <c:pt idx="5896">
                  <c:v>-17.166848999999999</c:v>
                </c:pt>
                <c:pt idx="5897">
                  <c:v>-17.161290000000001</c:v>
                </c:pt>
                <c:pt idx="5898">
                  <c:v>-17.155737999999999</c:v>
                </c:pt>
                <c:pt idx="5899">
                  <c:v>-17.150183999999999</c:v>
                </c:pt>
                <c:pt idx="5900">
                  <c:v>-17.144638</c:v>
                </c:pt>
                <c:pt idx="5901">
                  <c:v>-17.139089999999999</c:v>
                </c:pt>
                <c:pt idx="5902">
                  <c:v>-17.13355</c:v>
                </c:pt>
                <c:pt idx="5903">
                  <c:v>-17.12801</c:v>
                </c:pt>
                <c:pt idx="5904">
                  <c:v>-17.122474</c:v>
                </c:pt>
                <c:pt idx="5905">
                  <c:v>-17.116942999999999</c:v>
                </c:pt>
                <c:pt idx="5906">
                  <c:v>-17.111412999999999</c:v>
                </c:pt>
                <c:pt idx="5907">
                  <c:v>-17.105886999999999</c:v>
                </c:pt>
                <c:pt idx="5908">
                  <c:v>-17.100365</c:v>
                </c:pt>
                <c:pt idx="5909">
                  <c:v>-17.094846</c:v>
                </c:pt>
                <c:pt idx="5910">
                  <c:v>-17.089328999999999</c:v>
                </c:pt>
                <c:pt idx="5911">
                  <c:v>-17.083815999999999</c:v>
                </c:pt>
                <c:pt idx="5912">
                  <c:v>-17.078306999999999</c:v>
                </c:pt>
                <c:pt idx="5913">
                  <c:v>-17.072799</c:v>
                </c:pt>
                <c:pt idx="5914">
                  <c:v>-17.067297</c:v>
                </c:pt>
                <c:pt idx="5915">
                  <c:v>-17.061796999999999</c:v>
                </c:pt>
                <c:pt idx="5916">
                  <c:v>-17.056298000000002</c:v>
                </c:pt>
                <c:pt idx="5917">
                  <c:v>-17.050805</c:v>
                </c:pt>
                <c:pt idx="5918">
                  <c:v>-17.045314999999999</c:v>
                </c:pt>
                <c:pt idx="5919">
                  <c:v>-17.039828</c:v>
                </c:pt>
                <c:pt idx="5920">
                  <c:v>-17.034343</c:v>
                </c:pt>
                <c:pt idx="5921">
                  <c:v>-17.028860999999999</c:v>
                </c:pt>
                <c:pt idx="5922">
                  <c:v>-17.023385000000001</c:v>
                </c:pt>
                <c:pt idx="5923">
                  <c:v>-17.017909</c:v>
                </c:pt>
                <c:pt idx="5924">
                  <c:v>-17.012436999999998</c:v>
                </c:pt>
                <c:pt idx="5925">
                  <c:v>-17.006967</c:v>
                </c:pt>
                <c:pt idx="5926">
                  <c:v>-17.001501999999999</c:v>
                </c:pt>
                <c:pt idx="5927">
                  <c:v>-16.996040000000001</c:v>
                </c:pt>
                <c:pt idx="5928">
                  <c:v>-16.990582</c:v>
                </c:pt>
                <c:pt idx="5929">
                  <c:v>-16.985126000000001</c:v>
                </c:pt>
                <c:pt idx="5930">
                  <c:v>-16.979672000000001</c:v>
                </c:pt>
                <c:pt idx="5931">
                  <c:v>-16.974222999999999</c:v>
                </c:pt>
                <c:pt idx="5932">
                  <c:v>-16.968776999999999</c:v>
                </c:pt>
                <c:pt idx="5933">
                  <c:v>-16.963332999999999</c:v>
                </c:pt>
                <c:pt idx="5934">
                  <c:v>-16.957891</c:v>
                </c:pt>
                <c:pt idx="5935">
                  <c:v>-16.952455</c:v>
                </c:pt>
                <c:pt idx="5936">
                  <c:v>-16.947020999999999</c:v>
                </c:pt>
                <c:pt idx="5937">
                  <c:v>-16.941589</c:v>
                </c:pt>
                <c:pt idx="5938">
                  <c:v>-16.936161999999999</c:v>
                </c:pt>
                <c:pt idx="5939">
                  <c:v>-16.930736</c:v>
                </c:pt>
                <c:pt idx="5940">
                  <c:v>-16.925315000000001</c:v>
                </c:pt>
                <c:pt idx="5941">
                  <c:v>-16.919896000000001</c:v>
                </c:pt>
                <c:pt idx="5942">
                  <c:v>-16.914482</c:v>
                </c:pt>
                <c:pt idx="5943">
                  <c:v>-16.909068000000001</c:v>
                </c:pt>
                <c:pt idx="5944">
                  <c:v>-16.903659000000001</c:v>
                </c:pt>
                <c:pt idx="5945">
                  <c:v>-16.898253</c:v>
                </c:pt>
                <c:pt idx="5946">
                  <c:v>-16.892849999999999</c:v>
                </c:pt>
                <c:pt idx="5947">
                  <c:v>-16.887447999999999</c:v>
                </c:pt>
                <c:pt idx="5948">
                  <c:v>-16.882052000000002</c:v>
                </c:pt>
                <c:pt idx="5949">
                  <c:v>-16.876659</c:v>
                </c:pt>
                <c:pt idx="5950">
                  <c:v>-16.871265999999999</c:v>
                </c:pt>
                <c:pt idx="5951">
                  <c:v>-16.865877999999999</c:v>
                </c:pt>
                <c:pt idx="5952">
                  <c:v>-16.860493999999999</c:v>
                </c:pt>
                <c:pt idx="5953">
                  <c:v>-16.855111000000001</c:v>
                </c:pt>
                <c:pt idx="5954">
                  <c:v>-16.849733000000001</c:v>
                </c:pt>
                <c:pt idx="5955">
                  <c:v>-16.844356000000001</c:v>
                </c:pt>
                <c:pt idx="5956">
                  <c:v>-16.838985000000001</c:v>
                </c:pt>
                <c:pt idx="5957">
                  <c:v>-16.833614000000001</c:v>
                </c:pt>
                <c:pt idx="5958">
                  <c:v>-16.828247000000001</c:v>
                </c:pt>
                <c:pt idx="5959">
                  <c:v>-16.822883999999998</c:v>
                </c:pt>
                <c:pt idx="5960">
                  <c:v>-16.817522</c:v>
                </c:pt>
                <c:pt idx="5961">
                  <c:v>-16.812165</c:v>
                </c:pt>
                <c:pt idx="5962">
                  <c:v>-16.806809000000001</c:v>
                </c:pt>
                <c:pt idx="5963">
                  <c:v>-16.801459000000001</c:v>
                </c:pt>
                <c:pt idx="5964">
                  <c:v>-16.796109999999999</c:v>
                </c:pt>
                <c:pt idx="5965">
                  <c:v>-16.790763999999999</c:v>
                </c:pt>
                <c:pt idx="5966">
                  <c:v>-16.785422000000001</c:v>
                </c:pt>
                <c:pt idx="5967">
                  <c:v>-16.780083000000001</c:v>
                </c:pt>
                <c:pt idx="5968">
                  <c:v>-16.774746</c:v>
                </c:pt>
                <c:pt idx="5969">
                  <c:v>-16.769411000000002</c:v>
                </c:pt>
                <c:pt idx="5970">
                  <c:v>-16.764081999999998</c:v>
                </c:pt>
                <c:pt idx="5971">
                  <c:v>-16.758752999999999</c:v>
                </c:pt>
                <c:pt idx="5972">
                  <c:v>-16.753428</c:v>
                </c:pt>
                <c:pt idx="5973">
                  <c:v>-16.748107999999998</c:v>
                </c:pt>
                <c:pt idx="5974">
                  <c:v>-16.742788999999998</c:v>
                </c:pt>
                <c:pt idx="5975">
                  <c:v>-16.737473000000001</c:v>
                </c:pt>
                <c:pt idx="5976">
                  <c:v>-16.732157999999998</c:v>
                </c:pt>
                <c:pt idx="5977">
                  <c:v>-16.726849000000001</c:v>
                </c:pt>
                <c:pt idx="5978">
                  <c:v>-16.721541999999999</c:v>
                </c:pt>
                <c:pt idx="5979">
                  <c:v>-16.716238000000001</c:v>
                </c:pt>
                <c:pt idx="5980">
                  <c:v>-16.710937000000001</c:v>
                </c:pt>
                <c:pt idx="5981">
                  <c:v>-16.705639000000001</c:v>
                </c:pt>
                <c:pt idx="5982">
                  <c:v>-16.700344000000001</c:v>
                </c:pt>
                <c:pt idx="5983">
                  <c:v>-16.695052</c:v>
                </c:pt>
                <c:pt idx="5984">
                  <c:v>-16.689762999999999</c:v>
                </c:pt>
                <c:pt idx="5985">
                  <c:v>-16.684476</c:v>
                </c:pt>
                <c:pt idx="5986">
                  <c:v>-16.679192</c:v>
                </c:pt>
                <c:pt idx="5987">
                  <c:v>-16.673912000000001</c:v>
                </c:pt>
                <c:pt idx="5988">
                  <c:v>-16.668634000000001</c:v>
                </c:pt>
                <c:pt idx="5989">
                  <c:v>-16.663359</c:v>
                </c:pt>
                <c:pt idx="5990">
                  <c:v>-16.658087999999999</c:v>
                </c:pt>
                <c:pt idx="5991">
                  <c:v>-16.652819000000001</c:v>
                </c:pt>
                <c:pt idx="5992">
                  <c:v>-16.647552999999998</c:v>
                </c:pt>
                <c:pt idx="5993">
                  <c:v>-16.642289999999999</c:v>
                </c:pt>
                <c:pt idx="5994">
                  <c:v>-16.637028999999998</c:v>
                </c:pt>
                <c:pt idx="5995">
                  <c:v>-16.631772000000002</c:v>
                </c:pt>
                <c:pt idx="5996">
                  <c:v>-16.626517</c:v>
                </c:pt>
                <c:pt idx="5997">
                  <c:v>-16.621265999999999</c:v>
                </c:pt>
                <c:pt idx="5998">
                  <c:v>-16.616018</c:v>
                </c:pt>
                <c:pt idx="5999">
                  <c:v>-16.610771</c:v>
                </c:pt>
                <c:pt idx="6000">
                  <c:v>-16.605529000000001</c:v>
                </c:pt>
                <c:pt idx="6001">
                  <c:v>-16.600290000000001</c:v>
                </c:pt>
                <c:pt idx="6002">
                  <c:v>-16.595053</c:v>
                </c:pt>
                <c:pt idx="6003">
                  <c:v>-16.589817</c:v>
                </c:pt>
                <c:pt idx="6004">
                  <c:v>-16.584586999999999</c:v>
                </c:pt>
                <c:pt idx="6005">
                  <c:v>-16.579357999999999</c:v>
                </c:pt>
                <c:pt idx="6006">
                  <c:v>-16.574131999999999</c:v>
                </c:pt>
                <c:pt idx="6007">
                  <c:v>-16.568909999999999</c:v>
                </c:pt>
                <c:pt idx="6008">
                  <c:v>-16.563687999999999</c:v>
                </c:pt>
                <c:pt idx="6009">
                  <c:v>-16.558471999999998</c:v>
                </c:pt>
                <c:pt idx="6010">
                  <c:v>-16.553256999999999</c:v>
                </c:pt>
                <c:pt idx="6011">
                  <c:v>-16.548047</c:v>
                </c:pt>
                <c:pt idx="6012">
                  <c:v>-16.542836999999999</c:v>
                </c:pt>
                <c:pt idx="6013">
                  <c:v>-16.537631999999999</c:v>
                </c:pt>
                <c:pt idx="6014">
                  <c:v>-16.532429</c:v>
                </c:pt>
                <c:pt idx="6015">
                  <c:v>-16.527228000000001</c:v>
                </c:pt>
                <c:pt idx="6016">
                  <c:v>-16.522030999999998</c:v>
                </c:pt>
                <c:pt idx="6017">
                  <c:v>-16.516838</c:v>
                </c:pt>
                <c:pt idx="6018">
                  <c:v>-16.511645999999999</c:v>
                </c:pt>
                <c:pt idx="6019">
                  <c:v>-16.506457000000001</c:v>
                </c:pt>
                <c:pt idx="6020">
                  <c:v>-16.501270999999999</c:v>
                </c:pt>
                <c:pt idx="6021">
                  <c:v>-16.496086999999999</c:v>
                </c:pt>
                <c:pt idx="6022">
                  <c:v>-16.490907</c:v>
                </c:pt>
                <c:pt idx="6023">
                  <c:v>-16.485731000000001</c:v>
                </c:pt>
                <c:pt idx="6024">
                  <c:v>-16.480554999999999</c:v>
                </c:pt>
                <c:pt idx="6025">
                  <c:v>-16.475383000000001</c:v>
                </c:pt>
                <c:pt idx="6026">
                  <c:v>-16.470213000000001</c:v>
                </c:pt>
                <c:pt idx="6027">
                  <c:v>-16.465047999999999</c:v>
                </c:pt>
                <c:pt idx="6028">
                  <c:v>-16.459883999999999</c:v>
                </c:pt>
                <c:pt idx="6029">
                  <c:v>-16.454723000000001</c:v>
                </c:pt>
                <c:pt idx="6030">
                  <c:v>-16.449565</c:v>
                </c:pt>
                <c:pt idx="6031">
                  <c:v>-16.444410000000001</c:v>
                </c:pt>
                <c:pt idx="6032">
                  <c:v>-16.439257000000001</c:v>
                </c:pt>
                <c:pt idx="6033">
                  <c:v>-16.434107000000001</c:v>
                </c:pt>
                <c:pt idx="6034">
                  <c:v>-16.428958999999999</c:v>
                </c:pt>
                <c:pt idx="6035">
                  <c:v>-16.423815999999999</c:v>
                </c:pt>
                <c:pt idx="6036">
                  <c:v>-16.418673999999999</c:v>
                </c:pt>
                <c:pt idx="6037">
                  <c:v>-16.413537000000002</c:v>
                </c:pt>
                <c:pt idx="6038">
                  <c:v>-16.4084</c:v>
                </c:pt>
                <c:pt idx="6039">
                  <c:v>-16.403265999999999</c:v>
                </c:pt>
                <c:pt idx="6040">
                  <c:v>-16.398136000000001</c:v>
                </c:pt>
                <c:pt idx="6041">
                  <c:v>-16.393008999999999</c:v>
                </c:pt>
                <c:pt idx="6042">
                  <c:v>-16.387882999999999</c:v>
                </c:pt>
                <c:pt idx="6043">
                  <c:v>-16.382762</c:v>
                </c:pt>
                <c:pt idx="6044">
                  <c:v>-16.377642999999999</c:v>
                </c:pt>
                <c:pt idx="6045">
                  <c:v>-16.372523999999999</c:v>
                </c:pt>
                <c:pt idx="6046">
                  <c:v>-16.367412000000002</c:v>
                </c:pt>
                <c:pt idx="6047">
                  <c:v>-16.362300000000001</c:v>
                </c:pt>
                <c:pt idx="6048">
                  <c:v>-16.357192000000001</c:v>
                </c:pt>
                <c:pt idx="6049">
                  <c:v>-16.352086</c:v>
                </c:pt>
                <c:pt idx="6050">
                  <c:v>-16.346983000000002</c:v>
                </c:pt>
                <c:pt idx="6051">
                  <c:v>-16.341882999999999</c:v>
                </c:pt>
                <c:pt idx="6052">
                  <c:v>-16.336784999999999</c:v>
                </c:pt>
                <c:pt idx="6053">
                  <c:v>-16.331690999999999</c:v>
                </c:pt>
                <c:pt idx="6054">
                  <c:v>-16.326598000000001</c:v>
                </c:pt>
                <c:pt idx="6055">
                  <c:v>-16.321508000000001</c:v>
                </c:pt>
                <c:pt idx="6056">
                  <c:v>-16.316421999999999</c:v>
                </c:pt>
                <c:pt idx="6057">
                  <c:v>-16.311337999999999</c:v>
                </c:pt>
                <c:pt idx="6058">
                  <c:v>-16.306256999999999</c:v>
                </c:pt>
                <c:pt idx="6059">
                  <c:v>-16.301178</c:v>
                </c:pt>
                <c:pt idx="6060">
                  <c:v>-16.296102000000001</c:v>
                </c:pt>
                <c:pt idx="6061">
                  <c:v>-16.291028000000001</c:v>
                </c:pt>
                <c:pt idx="6062">
                  <c:v>-16.285955999999999</c:v>
                </c:pt>
                <c:pt idx="6063">
                  <c:v>-16.280888999999998</c:v>
                </c:pt>
                <c:pt idx="6064">
                  <c:v>-16.275822999999999</c:v>
                </c:pt>
                <c:pt idx="6065">
                  <c:v>-16.270759999999999</c:v>
                </c:pt>
                <c:pt idx="6066">
                  <c:v>-16.265701</c:v>
                </c:pt>
                <c:pt idx="6067">
                  <c:v>-16.260643000000002</c:v>
                </c:pt>
                <c:pt idx="6068">
                  <c:v>-16.255589000000001</c:v>
                </c:pt>
                <c:pt idx="6069">
                  <c:v>-16.250537000000001</c:v>
                </c:pt>
                <c:pt idx="6070">
                  <c:v>-16.245487000000001</c:v>
                </c:pt>
                <c:pt idx="6071">
                  <c:v>-16.24044</c:v>
                </c:pt>
                <c:pt idx="6072">
                  <c:v>-16.235395</c:v>
                </c:pt>
                <c:pt idx="6073">
                  <c:v>-16.230353999999998</c:v>
                </c:pt>
                <c:pt idx="6074">
                  <c:v>-16.225314999999998</c:v>
                </c:pt>
                <c:pt idx="6075">
                  <c:v>-16.220279999999999</c:v>
                </c:pt>
                <c:pt idx="6076">
                  <c:v>-16.215246</c:v>
                </c:pt>
                <c:pt idx="6077">
                  <c:v>-16.210215999999999</c:v>
                </c:pt>
                <c:pt idx="6078">
                  <c:v>-16.205188</c:v>
                </c:pt>
                <c:pt idx="6079">
                  <c:v>-16.200161000000001</c:v>
                </c:pt>
                <c:pt idx="6080">
                  <c:v>-16.195138</c:v>
                </c:pt>
                <c:pt idx="6081">
                  <c:v>-16.190117999999998</c:v>
                </c:pt>
                <c:pt idx="6082">
                  <c:v>-16.185099999999998</c:v>
                </c:pt>
                <c:pt idx="6083">
                  <c:v>-16.180085999999999</c:v>
                </c:pt>
                <c:pt idx="6084">
                  <c:v>-16.175073000000001</c:v>
                </c:pt>
                <c:pt idx="6085">
                  <c:v>-16.170062999999999</c:v>
                </c:pt>
                <c:pt idx="6086">
                  <c:v>-16.165056</c:v>
                </c:pt>
                <c:pt idx="6087">
                  <c:v>-16.160049999999998</c:v>
                </c:pt>
                <c:pt idx="6088">
                  <c:v>-16.155048000000001</c:v>
                </c:pt>
                <c:pt idx="6089">
                  <c:v>-16.15005</c:v>
                </c:pt>
                <c:pt idx="6090">
                  <c:v>-16.145052</c:v>
                </c:pt>
                <c:pt idx="6091">
                  <c:v>-16.140058</c:v>
                </c:pt>
                <c:pt idx="6092">
                  <c:v>-16.135065999999998</c:v>
                </c:pt>
                <c:pt idx="6093">
                  <c:v>-16.130077</c:v>
                </c:pt>
                <c:pt idx="6094">
                  <c:v>-16.125091999999999</c:v>
                </c:pt>
                <c:pt idx="6095">
                  <c:v>-16.120107000000001</c:v>
                </c:pt>
                <c:pt idx="6096">
                  <c:v>-16.115124000000002</c:v>
                </c:pt>
                <c:pt idx="6097">
                  <c:v>-16.110147999999999</c:v>
                </c:pt>
                <c:pt idx="6098">
                  <c:v>-16.105170000000001</c:v>
                </c:pt>
                <c:pt idx="6099">
                  <c:v>-16.100196</c:v>
                </c:pt>
                <c:pt idx="6100">
                  <c:v>-16.095224999999999</c:v>
                </c:pt>
                <c:pt idx="6101">
                  <c:v>-16.090257000000001</c:v>
                </c:pt>
                <c:pt idx="6102">
                  <c:v>-16.085291000000002</c:v>
                </c:pt>
                <c:pt idx="6103">
                  <c:v>-16.080328999999999</c:v>
                </c:pt>
                <c:pt idx="6104">
                  <c:v>-16.075365999999999</c:v>
                </c:pt>
                <c:pt idx="6105">
                  <c:v>-16.070409000000001</c:v>
                </c:pt>
                <c:pt idx="6106">
                  <c:v>-16.065453000000002</c:v>
                </c:pt>
                <c:pt idx="6107">
                  <c:v>-16.060499</c:v>
                </c:pt>
                <c:pt idx="6108">
                  <c:v>-16.055548999999999</c:v>
                </c:pt>
                <c:pt idx="6109">
                  <c:v>-16.050601</c:v>
                </c:pt>
                <c:pt idx="6110">
                  <c:v>-16.045655</c:v>
                </c:pt>
                <c:pt idx="6111">
                  <c:v>-16.040713</c:v>
                </c:pt>
                <c:pt idx="6112">
                  <c:v>-16.035772000000001</c:v>
                </c:pt>
                <c:pt idx="6113">
                  <c:v>-16.030833999999999</c:v>
                </c:pt>
                <c:pt idx="6114">
                  <c:v>-16.0259</c:v>
                </c:pt>
                <c:pt idx="6115">
                  <c:v>-16.020966000000001</c:v>
                </c:pt>
                <c:pt idx="6116">
                  <c:v>-16.016036</c:v>
                </c:pt>
                <c:pt idx="6117">
                  <c:v>-16.011106999999999</c:v>
                </c:pt>
                <c:pt idx="6118">
                  <c:v>-16.006181999999999</c:v>
                </c:pt>
                <c:pt idx="6119">
                  <c:v>-16.001259000000001</c:v>
                </c:pt>
                <c:pt idx="6120">
                  <c:v>-15.996339000000001</c:v>
                </c:pt>
                <c:pt idx="6121">
                  <c:v>-15.991421000000001</c:v>
                </c:pt>
                <c:pt idx="6122">
                  <c:v>-15.986506</c:v>
                </c:pt>
                <c:pt idx="6123">
                  <c:v>-15.981593999999999</c:v>
                </c:pt>
                <c:pt idx="6124">
                  <c:v>-15.976683</c:v>
                </c:pt>
                <c:pt idx="6125">
                  <c:v>-15.971776999999999</c:v>
                </c:pt>
                <c:pt idx="6126">
                  <c:v>-15.966870999999999</c:v>
                </c:pt>
                <c:pt idx="6127">
                  <c:v>-15.961967</c:v>
                </c:pt>
                <c:pt idx="6128">
                  <c:v>-15.957068</c:v>
                </c:pt>
                <c:pt idx="6129">
                  <c:v>-15.952170000000001</c:v>
                </c:pt>
                <c:pt idx="6130">
                  <c:v>-15.947274</c:v>
                </c:pt>
                <c:pt idx="6131">
                  <c:v>-15.94238</c:v>
                </c:pt>
                <c:pt idx="6132">
                  <c:v>-15.93749</c:v>
                </c:pt>
                <c:pt idx="6133">
                  <c:v>-15.932603</c:v>
                </c:pt>
                <c:pt idx="6134">
                  <c:v>-15.927718</c:v>
                </c:pt>
                <c:pt idx="6135">
                  <c:v>-15.922834999999999</c:v>
                </c:pt>
                <c:pt idx="6136">
                  <c:v>-15.917954</c:v>
                </c:pt>
                <c:pt idx="6137">
                  <c:v>-15.913076</c:v>
                </c:pt>
                <c:pt idx="6138">
                  <c:v>-15.908201</c:v>
                </c:pt>
                <c:pt idx="6139">
                  <c:v>-15.903328</c:v>
                </c:pt>
                <c:pt idx="6140">
                  <c:v>-15.898455999999999</c:v>
                </c:pt>
                <c:pt idx="6141">
                  <c:v>-15.893587999999999</c:v>
                </c:pt>
                <c:pt idx="6142">
                  <c:v>-15.888724</c:v>
                </c:pt>
                <c:pt idx="6143">
                  <c:v>-15.883858999999999</c:v>
                </c:pt>
                <c:pt idx="6144">
                  <c:v>-15.879</c:v>
                </c:pt>
                <c:pt idx="6145">
                  <c:v>-15.874141</c:v>
                </c:pt>
                <c:pt idx="6146">
                  <c:v>-15.869286000000001</c:v>
                </c:pt>
                <c:pt idx="6147">
                  <c:v>-15.864432000000001</c:v>
                </c:pt>
                <c:pt idx="6148">
                  <c:v>-15.859581</c:v>
                </c:pt>
                <c:pt idx="6149">
                  <c:v>-15.854732</c:v>
                </c:pt>
                <c:pt idx="6150">
                  <c:v>-15.849885</c:v>
                </c:pt>
                <c:pt idx="6151">
                  <c:v>-15.845041</c:v>
                </c:pt>
                <c:pt idx="6152">
                  <c:v>-15.840201</c:v>
                </c:pt>
                <c:pt idx="6153">
                  <c:v>-15.835362</c:v>
                </c:pt>
                <c:pt idx="6154">
                  <c:v>-15.830526000000001</c:v>
                </c:pt>
                <c:pt idx="6155">
                  <c:v>-15.825691000000001</c:v>
                </c:pt>
                <c:pt idx="6156">
                  <c:v>-15.820859</c:v>
                </c:pt>
                <c:pt idx="6157">
                  <c:v>-15.816031000000001</c:v>
                </c:pt>
                <c:pt idx="6158">
                  <c:v>-15.811204</c:v>
                </c:pt>
                <c:pt idx="6159">
                  <c:v>-15.806380000000001</c:v>
                </c:pt>
                <c:pt idx="6160">
                  <c:v>-15.801557000000001</c:v>
                </c:pt>
                <c:pt idx="6161">
                  <c:v>-15.796737</c:v>
                </c:pt>
                <c:pt idx="6162">
                  <c:v>-15.791919999999999</c:v>
                </c:pt>
                <c:pt idx="6163">
                  <c:v>-15.787106</c:v>
                </c:pt>
                <c:pt idx="6164">
                  <c:v>-15.782292999999999</c:v>
                </c:pt>
                <c:pt idx="6165">
                  <c:v>-15.777481999999999</c:v>
                </c:pt>
                <c:pt idx="6166">
                  <c:v>-15.772675</c:v>
                </c:pt>
                <c:pt idx="6167">
                  <c:v>-15.767871</c:v>
                </c:pt>
                <c:pt idx="6168">
                  <c:v>-15.763066999999999</c:v>
                </c:pt>
                <c:pt idx="6169">
                  <c:v>-15.758267</c:v>
                </c:pt>
                <c:pt idx="6170">
                  <c:v>-15.753468</c:v>
                </c:pt>
                <c:pt idx="6171">
                  <c:v>-15.748673</c:v>
                </c:pt>
                <c:pt idx="6172">
                  <c:v>-15.743880000000001</c:v>
                </c:pt>
                <c:pt idx="6173">
                  <c:v>-15.739089</c:v>
                </c:pt>
                <c:pt idx="6174">
                  <c:v>-15.734301</c:v>
                </c:pt>
                <c:pt idx="6175">
                  <c:v>-15.729514</c:v>
                </c:pt>
                <c:pt idx="6176">
                  <c:v>-15.724729999999999</c:v>
                </c:pt>
                <c:pt idx="6177">
                  <c:v>-15.719949</c:v>
                </c:pt>
                <c:pt idx="6178">
                  <c:v>-15.715170000000001</c:v>
                </c:pt>
                <c:pt idx="6179">
                  <c:v>-15.710394000000001</c:v>
                </c:pt>
                <c:pt idx="6180">
                  <c:v>-15.705619</c:v>
                </c:pt>
                <c:pt idx="6181">
                  <c:v>-15.700847</c:v>
                </c:pt>
                <c:pt idx="6182">
                  <c:v>-15.696076</c:v>
                </c:pt>
                <c:pt idx="6183">
                  <c:v>-15.691309</c:v>
                </c:pt>
                <c:pt idx="6184">
                  <c:v>-15.686546</c:v>
                </c:pt>
                <c:pt idx="6185">
                  <c:v>-15.681781000000001</c:v>
                </c:pt>
                <c:pt idx="6186">
                  <c:v>-15.677021999999999</c:v>
                </c:pt>
                <c:pt idx="6187">
                  <c:v>-15.672264</c:v>
                </c:pt>
                <c:pt idx="6188">
                  <c:v>-15.667508</c:v>
                </c:pt>
                <c:pt idx="6189">
                  <c:v>-15.662754</c:v>
                </c:pt>
                <c:pt idx="6190">
                  <c:v>-15.658003000000001</c:v>
                </c:pt>
                <c:pt idx="6191">
                  <c:v>-15.653255</c:v>
                </c:pt>
                <c:pt idx="6192">
                  <c:v>-15.648509000000001</c:v>
                </c:pt>
                <c:pt idx="6193">
                  <c:v>-15.643763999999999</c:v>
                </c:pt>
                <c:pt idx="6194">
                  <c:v>-15.639023</c:v>
                </c:pt>
                <c:pt idx="6195">
                  <c:v>-15.634283</c:v>
                </c:pt>
                <c:pt idx="6196">
                  <c:v>-15.629547000000001</c:v>
                </c:pt>
                <c:pt idx="6197">
                  <c:v>-15.624812</c:v>
                </c:pt>
                <c:pt idx="6198">
                  <c:v>-15.620079</c:v>
                </c:pt>
                <c:pt idx="6199">
                  <c:v>-15.615349</c:v>
                </c:pt>
                <c:pt idx="6200">
                  <c:v>-15.610621999999999</c:v>
                </c:pt>
                <c:pt idx="6201">
                  <c:v>-15.605897000000001</c:v>
                </c:pt>
                <c:pt idx="6202">
                  <c:v>-15.601172999999999</c:v>
                </c:pt>
                <c:pt idx="6203">
                  <c:v>-15.596451999999999</c:v>
                </c:pt>
                <c:pt idx="6204">
                  <c:v>-15.591733</c:v>
                </c:pt>
                <c:pt idx="6205">
                  <c:v>-15.587016999999999</c:v>
                </c:pt>
                <c:pt idx="6206">
                  <c:v>-15.582303</c:v>
                </c:pt>
                <c:pt idx="6207">
                  <c:v>-15.577591</c:v>
                </c:pt>
                <c:pt idx="6208">
                  <c:v>-15.572882</c:v>
                </c:pt>
                <c:pt idx="6209">
                  <c:v>-15.568175</c:v>
                </c:pt>
                <c:pt idx="6210">
                  <c:v>-15.563470000000001</c:v>
                </c:pt>
                <c:pt idx="6211">
                  <c:v>-15.558767</c:v>
                </c:pt>
                <c:pt idx="6212">
                  <c:v>-15.554067999999999</c:v>
                </c:pt>
                <c:pt idx="6213">
                  <c:v>-15.549369</c:v>
                </c:pt>
                <c:pt idx="6214">
                  <c:v>-15.544673</c:v>
                </c:pt>
                <c:pt idx="6215">
                  <c:v>-15.53998</c:v>
                </c:pt>
                <c:pt idx="6216">
                  <c:v>-15.535289000000001</c:v>
                </c:pt>
                <c:pt idx="6217">
                  <c:v>-15.530599</c:v>
                </c:pt>
                <c:pt idx="6218">
                  <c:v>-15.525912999999999</c:v>
                </c:pt>
                <c:pt idx="6219">
                  <c:v>-15.521229</c:v>
                </c:pt>
                <c:pt idx="6220">
                  <c:v>-15.516545000000001</c:v>
                </c:pt>
                <c:pt idx="6221">
                  <c:v>-15.511867000000001</c:v>
                </c:pt>
                <c:pt idx="6222">
                  <c:v>-15.507189</c:v>
                </c:pt>
                <c:pt idx="6223">
                  <c:v>-15.502514</c:v>
                </c:pt>
                <c:pt idx="6224">
                  <c:v>-15.497838</c:v>
                </c:pt>
                <c:pt idx="6225">
                  <c:v>-15.493168000000001</c:v>
                </c:pt>
                <c:pt idx="6226">
                  <c:v>-15.4885</c:v>
                </c:pt>
                <c:pt idx="6227">
                  <c:v>-15.483834</c:v>
                </c:pt>
                <c:pt idx="6228">
                  <c:v>-15.479169000000001</c:v>
                </c:pt>
                <c:pt idx="6229">
                  <c:v>-15.474506999999999</c:v>
                </c:pt>
                <c:pt idx="6230">
                  <c:v>-15.469847</c:v>
                </c:pt>
                <c:pt idx="6231">
                  <c:v>-15.465191000000001</c:v>
                </c:pt>
                <c:pt idx="6232">
                  <c:v>-15.460535</c:v>
                </c:pt>
                <c:pt idx="6233">
                  <c:v>-15.455882000000001</c:v>
                </c:pt>
                <c:pt idx="6234">
                  <c:v>-15.451231</c:v>
                </c:pt>
                <c:pt idx="6235">
                  <c:v>-15.446583</c:v>
                </c:pt>
                <c:pt idx="6236">
                  <c:v>-15.441935000000001</c:v>
                </c:pt>
                <c:pt idx="6237">
                  <c:v>-15.437291999999999</c:v>
                </c:pt>
                <c:pt idx="6238">
                  <c:v>-15.432650000000001</c:v>
                </c:pt>
                <c:pt idx="6239">
                  <c:v>-15.42801</c:v>
                </c:pt>
                <c:pt idx="6240">
                  <c:v>-15.423372000000001</c:v>
                </c:pt>
                <c:pt idx="6241">
                  <c:v>-15.418737999999999</c:v>
                </c:pt>
                <c:pt idx="6242">
                  <c:v>-15.414104999999999</c:v>
                </c:pt>
                <c:pt idx="6243">
                  <c:v>-15.409473999999999</c:v>
                </c:pt>
                <c:pt idx="6244">
                  <c:v>-15.404845</c:v>
                </c:pt>
                <c:pt idx="6245">
                  <c:v>-15.400218000000001</c:v>
                </c:pt>
                <c:pt idx="6246">
                  <c:v>-15.395593</c:v>
                </c:pt>
                <c:pt idx="6247">
                  <c:v>-15.390971</c:v>
                </c:pt>
                <c:pt idx="6248">
                  <c:v>-15.386352</c:v>
                </c:pt>
                <c:pt idx="6249">
                  <c:v>-15.381733000000001</c:v>
                </c:pt>
                <c:pt idx="6250">
                  <c:v>-15.377117999999999</c:v>
                </c:pt>
                <c:pt idx="6251">
                  <c:v>-15.372506</c:v>
                </c:pt>
                <c:pt idx="6252">
                  <c:v>-15.367894</c:v>
                </c:pt>
                <c:pt idx="6253">
                  <c:v>-15.363284999999999</c:v>
                </c:pt>
                <c:pt idx="6254">
                  <c:v>-15.358677999999999</c:v>
                </c:pt>
                <c:pt idx="6255">
                  <c:v>-15.354074000000001</c:v>
                </c:pt>
                <c:pt idx="6256">
                  <c:v>-15.349470999999999</c:v>
                </c:pt>
                <c:pt idx="6257">
                  <c:v>-15.344870999999999</c:v>
                </c:pt>
                <c:pt idx="6258">
                  <c:v>-15.340273</c:v>
                </c:pt>
                <c:pt idx="6259">
                  <c:v>-15.335677</c:v>
                </c:pt>
                <c:pt idx="6260">
                  <c:v>-15.331083</c:v>
                </c:pt>
                <c:pt idx="6261">
                  <c:v>-15.326492</c:v>
                </c:pt>
                <c:pt idx="6262">
                  <c:v>-15.321902</c:v>
                </c:pt>
                <c:pt idx="6263">
                  <c:v>-15.317316</c:v>
                </c:pt>
                <c:pt idx="6264">
                  <c:v>-15.312730999999999</c:v>
                </c:pt>
                <c:pt idx="6265">
                  <c:v>-15.308146000000001</c:v>
                </c:pt>
                <c:pt idx="6266">
                  <c:v>-15.303566999999999</c:v>
                </c:pt>
                <c:pt idx="6267">
                  <c:v>-15.298988</c:v>
                </c:pt>
                <c:pt idx="6268">
                  <c:v>-15.294409999999999</c:v>
                </c:pt>
                <c:pt idx="6269">
                  <c:v>-15.289835999999999</c:v>
                </c:pt>
                <c:pt idx="6270">
                  <c:v>-15.285264</c:v>
                </c:pt>
                <c:pt idx="6271">
                  <c:v>-15.280694</c:v>
                </c:pt>
                <c:pt idx="6272">
                  <c:v>-15.276126</c:v>
                </c:pt>
                <c:pt idx="6273">
                  <c:v>-15.271561</c:v>
                </c:pt>
                <c:pt idx="6274">
                  <c:v>-15.266997</c:v>
                </c:pt>
                <c:pt idx="6275">
                  <c:v>-15.262435</c:v>
                </c:pt>
                <c:pt idx="6276">
                  <c:v>-15.257875</c:v>
                </c:pt>
                <c:pt idx="6277">
                  <c:v>-15.253318</c:v>
                </c:pt>
                <c:pt idx="6278">
                  <c:v>-15.248764</c:v>
                </c:pt>
                <c:pt idx="6279">
                  <c:v>-15.244210000000001</c:v>
                </c:pt>
                <c:pt idx="6280">
                  <c:v>-15.239660000000001</c:v>
                </c:pt>
                <c:pt idx="6281">
                  <c:v>-15.235111</c:v>
                </c:pt>
                <c:pt idx="6282">
                  <c:v>-15.230565</c:v>
                </c:pt>
                <c:pt idx="6283">
                  <c:v>-15.226019000000001</c:v>
                </c:pt>
                <c:pt idx="6284">
                  <c:v>-15.221477999999999</c:v>
                </c:pt>
                <c:pt idx="6285">
                  <c:v>-15.216938000000001</c:v>
                </c:pt>
                <c:pt idx="6286">
                  <c:v>-15.212399</c:v>
                </c:pt>
                <c:pt idx="6287">
                  <c:v>-15.207863</c:v>
                </c:pt>
                <c:pt idx="6288">
                  <c:v>-15.203329999999999</c:v>
                </c:pt>
                <c:pt idx="6289">
                  <c:v>-15.198797000000001</c:v>
                </c:pt>
                <c:pt idx="6290">
                  <c:v>-15.194267999999999</c:v>
                </c:pt>
                <c:pt idx="6291">
                  <c:v>-15.18974</c:v>
                </c:pt>
                <c:pt idx="6292">
                  <c:v>-15.185214</c:v>
                </c:pt>
                <c:pt idx="6293">
                  <c:v>-15.18069</c:v>
                </c:pt>
                <c:pt idx="6294">
                  <c:v>-15.176169</c:v>
                </c:pt>
                <c:pt idx="6295">
                  <c:v>-15.171649</c:v>
                </c:pt>
                <c:pt idx="6296">
                  <c:v>-15.167134000000001</c:v>
                </c:pt>
                <c:pt idx="6297">
                  <c:v>-15.162616999999999</c:v>
                </c:pt>
                <c:pt idx="6298">
                  <c:v>-15.158105000000001</c:v>
                </c:pt>
                <c:pt idx="6299">
                  <c:v>-15.153593000000001</c:v>
                </c:pt>
                <c:pt idx="6300">
                  <c:v>-15.149084</c:v>
                </c:pt>
                <c:pt idx="6301">
                  <c:v>-15.144579</c:v>
                </c:pt>
                <c:pt idx="6302">
                  <c:v>-15.140074</c:v>
                </c:pt>
                <c:pt idx="6303">
                  <c:v>-15.135571000000001</c:v>
                </c:pt>
                <c:pt idx="6304">
                  <c:v>-15.131071</c:v>
                </c:pt>
                <c:pt idx="6305">
                  <c:v>-15.126571999999999</c:v>
                </c:pt>
                <c:pt idx="6306">
                  <c:v>-15.122075000000001</c:v>
                </c:pt>
                <c:pt idx="6307">
                  <c:v>-15.117580999999999</c:v>
                </c:pt>
                <c:pt idx="6308">
                  <c:v>-15.113089</c:v>
                </c:pt>
                <c:pt idx="6309">
                  <c:v>-15.108598000000001</c:v>
                </c:pt>
                <c:pt idx="6310">
                  <c:v>-15.104111</c:v>
                </c:pt>
                <c:pt idx="6311">
                  <c:v>-15.099625</c:v>
                </c:pt>
                <c:pt idx="6312">
                  <c:v>-15.095141</c:v>
                </c:pt>
                <c:pt idx="6313">
                  <c:v>-15.090657</c:v>
                </c:pt>
                <c:pt idx="6314">
                  <c:v>-15.086176999999999</c:v>
                </c:pt>
                <c:pt idx="6315">
                  <c:v>-15.0817</c:v>
                </c:pt>
                <c:pt idx="6316">
                  <c:v>-15.077223999999999</c:v>
                </c:pt>
                <c:pt idx="6317">
                  <c:v>-15.072751</c:v>
                </c:pt>
                <c:pt idx="6318">
                  <c:v>-15.068279</c:v>
                </c:pt>
                <c:pt idx="6319">
                  <c:v>-15.063808999999999</c:v>
                </c:pt>
                <c:pt idx="6320">
                  <c:v>-15.059341</c:v>
                </c:pt>
                <c:pt idx="6321">
                  <c:v>-15.054876</c:v>
                </c:pt>
                <c:pt idx="6322">
                  <c:v>-15.050413000000001</c:v>
                </c:pt>
                <c:pt idx="6323">
                  <c:v>-15.045951000000001</c:v>
                </c:pt>
                <c:pt idx="6324">
                  <c:v>-15.041492</c:v>
                </c:pt>
                <c:pt idx="6325">
                  <c:v>-15.037034</c:v>
                </c:pt>
                <c:pt idx="6326">
                  <c:v>-15.032579</c:v>
                </c:pt>
                <c:pt idx="6327">
                  <c:v>-15.028124999999999</c:v>
                </c:pt>
                <c:pt idx="6328">
                  <c:v>-15.023675000000001</c:v>
                </c:pt>
                <c:pt idx="6329">
                  <c:v>-15.019223999999999</c:v>
                </c:pt>
                <c:pt idx="6330">
                  <c:v>-15.014775999999999</c:v>
                </c:pt>
                <c:pt idx="6331">
                  <c:v>-15.01033</c:v>
                </c:pt>
                <c:pt idx="6332">
                  <c:v>-15.005888000000001</c:v>
                </c:pt>
                <c:pt idx="6333">
                  <c:v>-15.001447000000001</c:v>
                </c:pt>
                <c:pt idx="6334">
                  <c:v>-14.997007</c:v>
                </c:pt>
                <c:pt idx="6335">
                  <c:v>-14.992570000000001</c:v>
                </c:pt>
                <c:pt idx="6336">
                  <c:v>-14.988136000000001</c:v>
                </c:pt>
                <c:pt idx="6337">
                  <c:v>-14.983701</c:v>
                </c:pt>
                <c:pt idx="6338">
                  <c:v>-14.979271000000001</c:v>
                </c:pt>
                <c:pt idx="6339">
                  <c:v>-14.974841</c:v>
                </c:pt>
                <c:pt idx="6340">
                  <c:v>-14.970413000000001</c:v>
                </c:pt>
                <c:pt idx="6341">
                  <c:v>-14.965987999999999</c:v>
                </c:pt>
                <c:pt idx="6342">
                  <c:v>-14.961565999999999</c:v>
                </c:pt>
                <c:pt idx="6343">
                  <c:v>-14.957144</c:v>
                </c:pt>
                <c:pt idx="6344">
                  <c:v>-14.952724</c:v>
                </c:pt>
                <c:pt idx="6345">
                  <c:v>-14.948307</c:v>
                </c:pt>
                <c:pt idx="6346">
                  <c:v>-14.943892</c:v>
                </c:pt>
                <c:pt idx="6347">
                  <c:v>-14.939479</c:v>
                </c:pt>
                <c:pt idx="6348">
                  <c:v>-14.935067</c:v>
                </c:pt>
                <c:pt idx="6349">
                  <c:v>-14.930657</c:v>
                </c:pt>
                <c:pt idx="6350">
                  <c:v>-14.926249</c:v>
                </c:pt>
                <c:pt idx="6351">
                  <c:v>-14.921844</c:v>
                </c:pt>
                <c:pt idx="6352">
                  <c:v>-14.917441999999999</c:v>
                </c:pt>
                <c:pt idx="6353">
                  <c:v>-14.913040000000001</c:v>
                </c:pt>
                <c:pt idx="6354">
                  <c:v>-14.908640999999999</c:v>
                </c:pt>
                <c:pt idx="6355">
                  <c:v>-14.904242999999999</c:v>
                </c:pt>
                <c:pt idx="6356">
                  <c:v>-14.899848</c:v>
                </c:pt>
                <c:pt idx="6357">
                  <c:v>-14.895454000000001</c:v>
                </c:pt>
                <c:pt idx="6358">
                  <c:v>-14.891062</c:v>
                </c:pt>
                <c:pt idx="6359">
                  <c:v>-14.886673</c:v>
                </c:pt>
                <c:pt idx="6360">
                  <c:v>-14.882285</c:v>
                </c:pt>
                <c:pt idx="6361">
                  <c:v>-14.877898999999999</c:v>
                </c:pt>
                <c:pt idx="6362">
                  <c:v>-14.873516</c:v>
                </c:pt>
                <c:pt idx="6363">
                  <c:v>-14.869134000000001</c:v>
                </c:pt>
                <c:pt idx="6364">
                  <c:v>-14.864754</c:v>
                </c:pt>
                <c:pt idx="6365">
                  <c:v>-14.860376</c:v>
                </c:pt>
                <c:pt idx="6366">
                  <c:v>-14.856</c:v>
                </c:pt>
                <c:pt idx="6367">
                  <c:v>-14.851626</c:v>
                </c:pt>
                <c:pt idx="6368">
                  <c:v>-14.847254</c:v>
                </c:pt>
                <c:pt idx="6369">
                  <c:v>-14.842883</c:v>
                </c:pt>
                <c:pt idx="6370">
                  <c:v>-14.838516</c:v>
                </c:pt>
                <c:pt idx="6371">
                  <c:v>-14.834149999999999</c:v>
                </c:pt>
                <c:pt idx="6372">
                  <c:v>-14.829786</c:v>
                </c:pt>
                <c:pt idx="6373">
                  <c:v>-14.825423000000001</c:v>
                </c:pt>
                <c:pt idx="6374">
                  <c:v>-14.821063000000001</c:v>
                </c:pt>
                <c:pt idx="6375">
                  <c:v>-14.816704</c:v>
                </c:pt>
                <c:pt idx="6376">
                  <c:v>-14.812348</c:v>
                </c:pt>
                <c:pt idx="6377">
                  <c:v>-14.807993</c:v>
                </c:pt>
                <c:pt idx="6378">
                  <c:v>-14.803641000000001</c:v>
                </c:pt>
                <c:pt idx="6379">
                  <c:v>-14.799289</c:v>
                </c:pt>
                <c:pt idx="6380">
                  <c:v>-14.79494</c:v>
                </c:pt>
                <c:pt idx="6381">
                  <c:v>-14.790592999999999</c:v>
                </c:pt>
                <c:pt idx="6382">
                  <c:v>-14.786249</c:v>
                </c:pt>
                <c:pt idx="6383">
                  <c:v>-14.781905</c:v>
                </c:pt>
                <c:pt idx="6384">
                  <c:v>-14.777562</c:v>
                </c:pt>
                <c:pt idx="6385">
                  <c:v>-14.773225</c:v>
                </c:pt>
                <c:pt idx="6386">
                  <c:v>-14.768888</c:v>
                </c:pt>
                <c:pt idx="6387">
                  <c:v>-14.764552999999999</c:v>
                </c:pt>
                <c:pt idx="6388">
                  <c:v>-14.760218999999999</c:v>
                </c:pt>
                <c:pt idx="6389">
                  <c:v>-14.755887</c:v>
                </c:pt>
                <c:pt idx="6390">
                  <c:v>-14.751557</c:v>
                </c:pt>
                <c:pt idx="6391">
                  <c:v>-14.74723</c:v>
                </c:pt>
                <c:pt idx="6392">
                  <c:v>-14.742903999999999</c:v>
                </c:pt>
                <c:pt idx="6393">
                  <c:v>-14.738579</c:v>
                </c:pt>
                <c:pt idx="6394">
                  <c:v>-14.734256999999999</c:v>
                </c:pt>
                <c:pt idx="6395">
                  <c:v>-14.729937</c:v>
                </c:pt>
                <c:pt idx="6396">
                  <c:v>-14.725619</c:v>
                </c:pt>
                <c:pt idx="6397">
                  <c:v>-14.721302</c:v>
                </c:pt>
                <c:pt idx="6398">
                  <c:v>-14.716988000000001</c:v>
                </c:pt>
                <c:pt idx="6399">
                  <c:v>-14.712675000000001</c:v>
                </c:pt>
                <c:pt idx="6400">
                  <c:v>-14.708364</c:v>
                </c:pt>
                <c:pt idx="6401">
                  <c:v>-14.704055</c:v>
                </c:pt>
                <c:pt idx="6402">
                  <c:v>-14.699749000000001</c:v>
                </c:pt>
                <c:pt idx="6403">
                  <c:v>-14.695444</c:v>
                </c:pt>
                <c:pt idx="6404">
                  <c:v>-14.691140000000001</c:v>
                </c:pt>
                <c:pt idx="6405">
                  <c:v>-14.686839000000001</c:v>
                </c:pt>
                <c:pt idx="6406">
                  <c:v>-14.682539</c:v>
                </c:pt>
                <c:pt idx="6407">
                  <c:v>-14.678241999999999</c:v>
                </c:pt>
                <c:pt idx="6408">
                  <c:v>-14.673946000000001</c:v>
                </c:pt>
                <c:pt idx="6409">
                  <c:v>-14.669651999999999</c:v>
                </c:pt>
                <c:pt idx="6410">
                  <c:v>-14.66536</c:v>
                </c:pt>
                <c:pt idx="6411">
                  <c:v>-14.661071</c:v>
                </c:pt>
                <c:pt idx="6412">
                  <c:v>-14.656782</c:v>
                </c:pt>
                <c:pt idx="6413">
                  <c:v>-14.652495999999999</c:v>
                </c:pt>
                <c:pt idx="6414">
                  <c:v>-14.648211</c:v>
                </c:pt>
                <c:pt idx="6415">
                  <c:v>-14.643929</c:v>
                </c:pt>
                <c:pt idx="6416">
                  <c:v>-14.639646000000001</c:v>
                </c:pt>
                <c:pt idx="6417">
                  <c:v>-14.635369000000001</c:v>
                </c:pt>
                <c:pt idx="6418">
                  <c:v>-14.631091</c:v>
                </c:pt>
                <c:pt idx="6419">
                  <c:v>-14.626815000000001</c:v>
                </c:pt>
                <c:pt idx="6420">
                  <c:v>-14.622543</c:v>
                </c:pt>
                <c:pt idx="6421">
                  <c:v>-14.618270000000001</c:v>
                </c:pt>
                <c:pt idx="6422">
                  <c:v>-14.614001999999999</c:v>
                </c:pt>
                <c:pt idx="6423">
                  <c:v>-14.609734</c:v>
                </c:pt>
                <c:pt idx="6424">
                  <c:v>-14.605468</c:v>
                </c:pt>
                <c:pt idx="6425">
                  <c:v>-14.601203</c:v>
                </c:pt>
                <c:pt idx="6426">
                  <c:v>-14.596942</c:v>
                </c:pt>
                <c:pt idx="6427">
                  <c:v>-14.592682</c:v>
                </c:pt>
                <c:pt idx="6428">
                  <c:v>-14.588422</c:v>
                </c:pt>
                <c:pt idx="6429">
                  <c:v>-14.584166</c:v>
                </c:pt>
                <c:pt idx="6430">
                  <c:v>-14.57991</c:v>
                </c:pt>
                <c:pt idx="6431">
                  <c:v>-14.575658000000001</c:v>
                </c:pt>
                <c:pt idx="6432">
                  <c:v>-14.571406</c:v>
                </c:pt>
                <c:pt idx="6433">
                  <c:v>-14.567157</c:v>
                </c:pt>
                <c:pt idx="6434">
                  <c:v>-14.562908</c:v>
                </c:pt>
                <c:pt idx="6435">
                  <c:v>-14.558662</c:v>
                </c:pt>
                <c:pt idx="6436">
                  <c:v>-14.554418999999999</c:v>
                </c:pt>
                <c:pt idx="6437">
                  <c:v>-14.550177</c:v>
                </c:pt>
                <c:pt idx="6438">
                  <c:v>-14.545937</c:v>
                </c:pt>
                <c:pt idx="6439">
                  <c:v>-14.541698</c:v>
                </c:pt>
                <c:pt idx="6440">
                  <c:v>-14.537462</c:v>
                </c:pt>
                <c:pt idx="6441">
                  <c:v>-14.533225</c:v>
                </c:pt>
                <c:pt idx="6442">
                  <c:v>-14.528994000000001</c:v>
                </c:pt>
                <c:pt idx="6443">
                  <c:v>-14.524762000000001</c:v>
                </c:pt>
                <c:pt idx="6444">
                  <c:v>-14.520533</c:v>
                </c:pt>
                <c:pt idx="6445">
                  <c:v>-14.516304999999999</c:v>
                </c:pt>
                <c:pt idx="6446">
                  <c:v>-14.512079</c:v>
                </c:pt>
                <c:pt idx="6447">
                  <c:v>-14.507854999999999</c:v>
                </c:pt>
                <c:pt idx="6448">
                  <c:v>-14.503634</c:v>
                </c:pt>
                <c:pt idx="6449">
                  <c:v>-14.499412</c:v>
                </c:pt>
                <c:pt idx="6450">
                  <c:v>-14.495193</c:v>
                </c:pt>
                <c:pt idx="6451">
                  <c:v>-14.490977000000001</c:v>
                </c:pt>
                <c:pt idx="6452">
                  <c:v>-14.486761</c:v>
                </c:pt>
                <c:pt idx="6453">
                  <c:v>-14.482549000000001</c:v>
                </c:pt>
                <c:pt idx="6454">
                  <c:v>-14.478338000000001</c:v>
                </c:pt>
                <c:pt idx="6455">
                  <c:v>-14.474126999999999</c:v>
                </c:pt>
                <c:pt idx="6456">
                  <c:v>-14.469919000000001</c:v>
                </c:pt>
                <c:pt idx="6457">
                  <c:v>-14.465712</c:v>
                </c:pt>
                <c:pt idx="6458">
                  <c:v>-14.461509</c:v>
                </c:pt>
                <c:pt idx="6459">
                  <c:v>-14.457307</c:v>
                </c:pt>
                <c:pt idx="6460">
                  <c:v>-14.453106</c:v>
                </c:pt>
                <c:pt idx="6461">
                  <c:v>-14.448907</c:v>
                </c:pt>
                <c:pt idx="6462">
                  <c:v>-14.444710000000001</c:v>
                </c:pt>
                <c:pt idx="6463">
                  <c:v>-14.440515</c:v>
                </c:pt>
                <c:pt idx="6464">
                  <c:v>-14.436321</c:v>
                </c:pt>
                <c:pt idx="6465">
                  <c:v>-14.432128000000001</c:v>
                </c:pt>
                <c:pt idx="6466">
                  <c:v>-14.427939</c:v>
                </c:pt>
                <c:pt idx="6467">
                  <c:v>-14.423752</c:v>
                </c:pt>
                <c:pt idx="6468">
                  <c:v>-14.419563</c:v>
                </c:pt>
                <c:pt idx="6469">
                  <c:v>-14.415380000000001</c:v>
                </c:pt>
                <c:pt idx="6470">
                  <c:v>-14.411197</c:v>
                </c:pt>
                <c:pt idx="6471">
                  <c:v>-14.407014999999999</c:v>
                </c:pt>
                <c:pt idx="6472">
                  <c:v>-14.402835</c:v>
                </c:pt>
                <c:pt idx="6473">
                  <c:v>-14.398659</c:v>
                </c:pt>
                <c:pt idx="6474">
                  <c:v>-14.394481000000001</c:v>
                </c:pt>
                <c:pt idx="6475">
                  <c:v>-14.390309</c:v>
                </c:pt>
                <c:pt idx="6476">
                  <c:v>-14.386136</c:v>
                </c:pt>
                <c:pt idx="6477">
                  <c:v>-14.381964</c:v>
                </c:pt>
                <c:pt idx="6478">
                  <c:v>-14.377796</c:v>
                </c:pt>
                <c:pt idx="6479">
                  <c:v>-14.373628999999999</c:v>
                </c:pt>
                <c:pt idx="6480">
                  <c:v>-14.369463</c:v>
                </c:pt>
                <c:pt idx="6481">
                  <c:v>-14.365301000000001</c:v>
                </c:pt>
                <c:pt idx="6482">
                  <c:v>-14.361139</c:v>
                </c:pt>
                <c:pt idx="6483">
                  <c:v>-14.356978</c:v>
                </c:pt>
                <c:pt idx="6484">
                  <c:v>-14.352819</c:v>
                </c:pt>
                <c:pt idx="6485">
                  <c:v>-14.348663</c:v>
                </c:pt>
                <c:pt idx="6486">
                  <c:v>-14.344509</c:v>
                </c:pt>
                <c:pt idx="6487">
                  <c:v>-14.340356</c:v>
                </c:pt>
                <c:pt idx="6488">
                  <c:v>-14.336202999999999</c:v>
                </c:pt>
                <c:pt idx="6489">
                  <c:v>-14.332053999999999</c:v>
                </c:pt>
                <c:pt idx="6490">
                  <c:v>-14.327904999999999</c:v>
                </c:pt>
                <c:pt idx="6491">
                  <c:v>-14.32376</c:v>
                </c:pt>
                <c:pt idx="6492">
                  <c:v>-14.319615000000001</c:v>
                </c:pt>
                <c:pt idx="6493">
                  <c:v>-14.315473000000001</c:v>
                </c:pt>
                <c:pt idx="6494">
                  <c:v>-14.311332</c:v>
                </c:pt>
                <c:pt idx="6495">
                  <c:v>-14.307192000000001</c:v>
                </c:pt>
                <c:pt idx="6496">
                  <c:v>-14.303053999999999</c:v>
                </c:pt>
                <c:pt idx="6497">
                  <c:v>-14.298918</c:v>
                </c:pt>
                <c:pt idx="6498">
                  <c:v>-14.294786</c:v>
                </c:pt>
                <c:pt idx="6499">
                  <c:v>-14.290652</c:v>
                </c:pt>
                <c:pt idx="6500">
                  <c:v>-14.286521</c:v>
                </c:pt>
                <c:pt idx="6501">
                  <c:v>-14.282392</c:v>
                </c:pt>
                <c:pt idx="6502">
                  <c:v>-14.278264</c:v>
                </c:pt>
                <c:pt idx="6503">
                  <c:v>-14.274139</c:v>
                </c:pt>
                <c:pt idx="6504">
                  <c:v>-14.270015000000001</c:v>
                </c:pt>
                <c:pt idx="6505">
                  <c:v>-14.265891999999999</c:v>
                </c:pt>
                <c:pt idx="6506">
                  <c:v>-14.261772000000001</c:v>
                </c:pt>
                <c:pt idx="6507">
                  <c:v>-14.257654</c:v>
                </c:pt>
                <c:pt idx="6508">
                  <c:v>-14.253536</c:v>
                </c:pt>
                <c:pt idx="6509">
                  <c:v>-14.249421</c:v>
                </c:pt>
                <c:pt idx="6510">
                  <c:v>-14.245308</c:v>
                </c:pt>
                <c:pt idx="6511">
                  <c:v>-14.241196</c:v>
                </c:pt>
                <c:pt idx="6512">
                  <c:v>-14.237085</c:v>
                </c:pt>
                <c:pt idx="6513">
                  <c:v>-14.232977999999999</c:v>
                </c:pt>
                <c:pt idx="6514">
                  <c:v>-14.228870000000001</c:v>
                </c:pt>
                <c:pt idx="6515">
                  <c:v>-14.224765</c:v>
                </c:pt>
                <c:pt idx="6516">
                  <c:v>-14.220662000000001</c:v>
                </c:pt>
                <c:pt idx="6517">
                  <c:v>-14.216562</c:v>
                </c:pt>
                <c:pt idx="6518">
                  <c:v>-14.212459000000001</c:v>
                </c:pt>
                <c:pt idx="6519">
                  <c:v>-14.208361999999999</c:v>
                </c:pt>
                <c:pt idx="6520">
                  <c:v>-14.204266000000001</c:v>
                </c:pt>
                <c:pt idx="6521">
                  <c:v>-14.20017</c:v>
                </c:pt>
                <c:pt idx="6522">
                  <c:v>-14.196078</c:v>
                </c:pt>
                <c:pt idx="6523">
                  <c:v>-14.191986</c:v>
                </c:pt>
                <c:pt idx="6524">
                  <c:v>-14.187897</c:v>
                </c:pt>
                <c:pt idx="6525">
                  <c:v>-14.183807</c:v>
                </c:pt>
                <c:pt idx="6526">
                  <c:v>-14.179721000000001</c:v>
                </c:pt>
                <c:pt idx="6527">
                  <c:v>-14.175636000000001</c:v>
                </c:pt>
                <c:pt idx="6528">
                  <c:v>-14.171552999999999</c:v>
                </c:pt>
                <c:pt idx="6529">
                  <c:v>-14.167471000000001</c:v>
                </c:pt>
                <c:pt idx="6530">
                  <c:v>-14.163392</c:v>
                </c:pt>
                <c:pt idx="6531">
                  <c:v>-14.159312</c:v>
                </c:pt>
                <c:pt idx="6532">
                  <c:v>-14.155238000000001</c:v>
                </c:pt>
                <c:pt idx="6533">
                  <c:v>-14.151161999999999</c:v>
                </c:pt>
                <c:pt idx="6534">
                  <c:v>-14.147088999999999</c:v>
                </c:pt>
                <c:pt idx="6535">
                  <c:v>-14.143017</c:v>
                </c:pt>
                <c:pt idx="6536">
                  <c:v>-14.138947999999999</c:v>
                </c:pt>
                <c:pt idx="6537">
                  <c:v>-14.134878</c:v>
                </c:pt>
                <c:pt idx="6538">
                  <c:v>-14.130812000000001</c:v>
                </c:pt>
                <c:pt idx="6539">
                  <c:v>-14.126747</c:v>
                </c:pt>
                <c:pt idx="6540">
                  <c:v>-14.122684</c:v>
                </c:pt>
                <c:pt idx="6541">
                  <c:v>-14.118624000000001</c:v>
                </c:pt>
                <c:pt idx="6542">
                  <c:v>-14.114563</c:v>
                </c:pt>
                <c:pt idx="6543">
                  <c:v>-14.110505</c:v>
                </c:pt>
                <c:pt idx="6544">
                  <c:v>-14.106448</c:v>
                </c:pt>
                <c:pt idx="6545">
                  <c:v>-14.102394</c:v>
                </c:pt>
                <c:pt idx="6546">
                  <c:v>-14.09834</c:v>
                </c:pt>
                <c:pt idx="6547">
                  <c:v>-14.094287</c:v>
                </c:pt>
                <c:pt idx="6548">
                  <c:v>-14.090239</c:v>
                </c:pt>
                <c:pt idx="6549">
                  <c:v>-14.08619</c:v>
                </c:pt>
                <c:pt idx="6550">
                  <c:v>-14.082143</c:v>
                </c:pt>
                <c:pt idx="6551">
                  <c:v>-14.078099</c:v>
                </c:pt>
                <c:pt idx="6552">
                  <c:v>-14.074055</c:v>
                </c:pt>
                <c:pt idx="6553">
                  <c:v>-14.070012999999999</c:v>
                </c:pt>
                <c:pt idx="6554">
                  <c:v>-14.065975</c:v>
                </c:pt>
                <c:pt idx="6555">
                  <c:v>-14.061935</c:v>
                </c:pt>
                <c:pt idx="6556">
                  <c:v>-14.057897000000001</c:v>
                </c:pt>
                <c:pt idx="6557">
                  <c:v>-14.053862000000001</c:v>
                </c:pt>
                <c:pt idx="6558">
                  <c:v>-14.049829000000001</c:v>
                </c:pt>
                <c:pt idx="6559">
                  <c:v>-14.045795999999999</c:v>
                </c:pt>
                <c:pt idx="6560">
                  <c:v>-14.041767</c:v>
                </c:pt>
                <c:pt idx="6561">
                  <c:v>-14.037737999999999</c:v>
                </c:pt>
                <c:pt idx="6562">
                  <c:v>-14.033711</c:v>
                </c:pt>
                <c:pt idx="6563">
                  <c:v>-14.029686</c:v>
                </c:pt>
                <c:pt idx="6564">
                  <c:v>-14.025660999999999</c:v>
                </c:pt>
                <c:pt idx="6565">
                  <c:v>-14.021639</c:v>
                </c:pt>
                <c:pt idx="6566">
                  <c:v>-14.017618000000001</c:v>
                </c:pt>
                <c:pt idx="6567">
                  <c:v>-14.0136</c:v>
                </c:pt>
                <c:pt idx="6568">
                  <c:v>-14.009582</c:v>
                </c:pt>
                <c:pt idx="6569">
                  <c:v>-14.005566</c:v>
                </c:pt>
                <c:pt idx="6570">
                  <c:v>-14.001552999999999</c:v>
                </c:pt>
                <c:pt idx="6571">
                  <c:v>-13.997540000000001</c:v>
                </c:pt>
                <c:pt idx="6572">
                  <c:v>-13.993529000000001</c:v>
                </c:pt>
                <c:pt idx="6573">
                  <c:v>-13.989519</c:v>
                </c:pt>
                <c:pt idx="6574">
                  <c:v>-13.985512999999999</c:v>
                </c:pt>
                <c:pt idx="6575">
                  <c:v>-13.981506</c:v>
                </c:pt>
                <c:pt idx="6576">
                  <c:v>-13.977501</c:v>
                </c:pt>
                <c:pt idx="6577">
                  <c:v>-13.973499</c:v>
                </c:pt>
                <c:pt idx="6578">
                  <c:v>-13.969497</c:v>
                </c:pt>
                <c:pt idx="6579">
                  <c:v>-13.965496999999999</c:v>
                </c:pt>
                <c:pt idx="6580">
                  <c:v>-13.961499</c:v>
                </c:pt>
                <c:pt idx="6581">
                  <c:v>-13.957502</c:v>
                </c:pt>
                <c:pt idx="6582">
                  <c:v>-13.953507999999999</c:v>
                </c:pt>
                <c:pt idx="6583">
                  <c:v>-13.949515</c:v>
                </c:pt>
                <c:pt idx="6584">
                  <c:v>-13.945523</c:v>
                </c:pt>
                <c:pt idx="6585">
                  <c:v>-13.941532</c:v>
                </c:pt>
                <c:pt idx="6586">
                  <c:v>-13.937545</c:v>
                </c:pt>
                <c:pt idx="6587">
                  <c:v>-13.933557</c:v>
                </c:pt>
                <c:pt idx="6588">
                  <c:v>-13.929573</c:v>
                </c:pt>
                <c:pt idx="6589">
                  <c:v>-13.925587999999999</c:v>
                </c:pt>
                <c:pt idx="6590">
                  <c:v>-13.921607</c:v>
                </c:pt>
                <c:pt idx="6591">
                  <c:v>-13.917624</c:v>
                </c:pt>
                <c:pt idx="6592">
                  <c:v>-13.913646</c:v>
                </c:pt>
                <c:pt idx="6593">
                  <c:v>-13.909668999999999</c:v>
                </c:pt>
                <c:pt idx="6594">
                  <c:v>-13.905695</c:v>
                </c:pt>
                <c:pt idx="6595">
                  <c:v>-13.901719</c:v>
                </c:pt>
                <c:pt idx="6596">
                  <c:v>-13.897746</c:v>
                </c:pt>
                <c:pt idx="6597">
                  <c:v>-13.893775</c:v>
                </c:pt>
                <c:pt idx="6598">
                  <c:v>-13.889806999999999</c:v>
                </c:pt>
                <c:pt idx="6599">
                  <c:v>-13.885837</c:v>
                </c:pt>
                <c:pt idx="6600">
                  <c:v>-13.881872</c:v>
                </c:pt>
                <c:pt idx="6601">
                  <c:v>-13.877907</c:v>
                </c:pt>
                <c:pt idx="6602">
                  <c:v>-13.873944</c:v>
                </c:pt>
                <c:pt idx="6603">
                  <c:v>-13.869983</c:v>
                </c:pt>
                <c:pt idx="6604">
                  <c:v>-13.866023</c:v>
                </c:pt>
                <c:pt idx="6605">
                  <c:v>-13.862062999999999</c:v>
                </c:pt>
                <c:pt idx="6606">
                  <c:v>-13.858107</c:v>
                </c:pt>
                <c:pt idx="6607">
                  <c:v>-13.854150000000001</c:v>
                </c:pt>
                <c:pt idx="6608">
                  <c:v>-13.850196</c:v>
                </c:pt>
                <c:pt idx="6609">
                  <c:v>-13.846245</c:v>
                </c:pt>
                <c:pt idx="6610">
                  <c:v>-13.842293</c:v>
                </c:pt>
                <c:pt idx="6611">
                  <c:v>-13.838346</c:v>
                </c:pt>
                <c:pt idx="6612">
                  <c:v>-13.834396999999999</c:v>
                </c:pt>
                <c:pt idx="6613">
                  <c:v>-13.830451</c:v>
                </c:pt>
                <c:pt idx="6614">
                  <c:v>-13.826506999999999</c:v>
                </c:pt>
                <c:pt idx="6615">
                  <c:v>-13.822563000000001</c:v>
                </c:pt>
                <c:pt idx="6616">
                  <c:v>-13.818622</c:v>
                </c:pt>
                <c:pt idx="6617">
                  <c:v>-13.814681999999999</c:v>
                </c:pt>
                <c:pt idx="6618">
                  <c:v>-13.810744</c:v>
                </c:pt>
                <c:pt idx="6619">
                  <c:v>-13.806808999999999</c:v>
                </c:pt>
                <c:pt idx="6620">
                  <c:v>-13.802873999999999</c:v>
                </c:pt>
                <c:pt idx="6621">
                  <c:v>-13.798938</c:v>
                </c:pt>
                <c:pt idx="6622">
                  <c:v>-13.795006000000001</c:v>
                </c:pt>
                <c:pt idx="6623">
                  <c:v>-13.791077</c:v>
                </c:pt>
                <c:pt idx="6624">
                  <c:v>-13.787146</c:v>
                </c:pt>
                <c:pt idx="6625">
                  <c:v>-13.783219000000001</c:v>
                </c:pt>
                <c:pt idx="6626">
                  <c:v>-13.779292999999999</c:v>
                </c:pt>
                <c:pt idx="6627">
                  <c:v>-13.775369</c:v>
                </c:pt>
                <c:pt idx="6628">
                  <c:v>-13.771445999999999</c:v>
                </c:pt>
                <c:pt idx="6629">
                  <c:v>-13.767524999999999</c:v>
                </c:pt>
                <c:pt idx="6630">
                  <c:v>-13.763604000000001</c:v>
                </c:pt>
                <c:pt idx="6631">
                  <c:v>-13.759687</c:v>
                </c:pt>
                <c:pt idx="6632">
                  <c:v>-13.75577</c:v>
                </c:pt>
                <c:pt idx="6633">
                  <c:v>-13.751855000000001</c:v>
                </c:pt>
                <c:pt idx="6634">
                  <c:v>-13.747941000000001</c:v>
                </c:pt>
                <c:pt idx="6635">
                  <c:v>-13.744028999999999</c:v>
                </c:pt>
                <c:pt idx="6636">
                  <c:v>-13.740118000000001</c:v>
                </c:pt>
                <c:pt idx="6637">
                  <c:v>-13.736209000000001</c:v>
                </c:pt>
                <c:pt idx="6638">
                  <c:v>-13.732302000000001</c:v>
                </c:pt>
                <c:pt idx="6639">
                  <c:v>-13.728396</c:v>
                </c:pt>
                <c:pt idx="6640">
                  <c:v>-13.724491</c:v>
                </c:pt>
                <c:pt idx="6641">
                  <c:v>-13.720587999999999</c:v>
                </c:pt>
                <c:pt idx="6642">
                  <c:v>-13.716687</c:v>
                </c:pt>
                <c:pt idx="6643">
                  <c:v>-13.712785999999999</c:v>
                </c:pt>
                <c:pt idx="6644">
                  <c:v>-13.708887000000001</c:v>
                </c:pt>
                <c:pt idx="6645">
                  <c:v>-13.704991</c:v>
                </c:pt>
                <c:pt idx="6646">
                  <c:v>-13.701095</c:v>
                </c:pt>
                <c:pt idx="6647">
                  <c:v>-13.697201</c:v>
                </c:pt>
                <c:pt idx="6648">
                  <c:v>-13.693308999999999</c:v>
                </c:pt>
                <c:pt idx="6649">
                  <c:v>-13.689418</c:v>
                </c:pt>
                <c:pt idx="6650">
                  <c:v>-13.685528</c:v>
                </c:pt>
                <c:pt idx="6651">
                  <c:v>-13.68164</c:v>
                </c:pt>
                <c:pt idx="6652">
                  <c:v>-13.677752999999999</c:v>
                </c:pt>
                <c:pt idx="6653">
                  <c:v>-13.673868000000001</c:v>
                </c:pt>
                <c:pt idx="6654">
                  <c:v>-13.669985</c:v>
                </c:pt>
                <c:pt idx="6655">
                  <c:v>-13.666104000000001</c:v>
                </c:pt>
                <c:pt idx="6656">
                  <c:v>-13.662222999999999</c:v>
                </c:pt>
                <c:pt idx="6657">
                  <c:v>-13.658344</c:v>
                </c:pt>
                <c:pt idx="6658">
                  <c:v>-13.654467</c:v>
                </c:pt>
                <c:pt idx="6659">
                  <c:v>-13.650589999999999</c:v>
                </c:pt>
                <c:pt idx="6660">
                  <c:v>-13.646715</c:v>
                </c:pt>
                <c:pt idx="6661">
                  <c:v>-13.642842999999999</c:v>
                </c:pt>
                <c:pt idx="6662">
                  <c:v>-13.638972000000001</c:v>
                </c:pt>
                <c:pt idx="6663">
                  <c:v>-13.635102</c:v>
                </c:pt>
                <c:pt idx="6664">
                  <c:v>-13.631233999999999</c:v>
                </c:pt>
                <c:pt idx="6665">
                  <c:v>-13.627364999999999</c:v>
                </c:pt>
                <c:pt idx="6666">
                  <c:v>-13.6235</c:v>
                </c:pt>
                <c:pt idx="6667">
                  <c:v>-13.619636</c:v>
                </c:pt>
                <c:pt idx="6668">
                  <c:v>-13.615774</c:v>
                </c:pt>
                <c:pt idx="6669">
                  <c:v>-13.611912999999999</c:v>
                </c:pt>
                <c:pt idx="6670">
                  <c:v>-13.608053999999999</c:v>
                </c:pt>
                <c:pt idx="6671">
                  <c:v>-13.604195000000001</c:v>
                </c:pt>
                <c:pt idx="6672">
                  <c:v>-13.600338000000001</c:v>
                </c:pt>
                <c:pt idx="6673">
                  <c:v>-13.596484</c:v>
                </c:pt>
                <c:pt idx="6674">
                  <c:v>-13.592629000000001</c:v>
                </c:pt>
                <c:pt idx="6675">
                  <c:v>-13.588778</c:v>
                </c:pt>
                <c:pt idx="6676">
                  <c:v>-13.584925999999999</c:v>
                </c:pt>
                <c:pt idx="6677">
                  <c:v>-13.581077000000001</c:v>
                </c:pt>
                <c:pt idx="6678">
                  <c:v>-13.57723</c:v>
                </c:pt>
                <c:pt idx="6679">
                  <c:v>-13.573383</c:v>
                </c:pt>
                <c:pt idx="6680">
                  <c:v>-13.569539000000001</c:v>
                </c:pt>
                <c:pt idx="6681">
                  <c:v>-13.565696000000001</c:v>
                </c:pt>
                <c:pt idx="6682">
                  <c:v>-13.561852999999999</c:v>
                </c:pt>
                <c:pt idx="6683">
                  <c:v>-13.558012</c:v>
                </c:pt>
                <c:pt idx="6684">
                  <c:v>-13.554174</c:v>
                </c:pt>
                <c:pt idx="6685">
                  <c:v>-13.550337000000001</c:v>
                </c:pt>
                <c:pt idx="6686">
                  <c:v>-13.546500999999999</c:v>
                </c:pt>
                <c:pt idx="6687">
                  <c:v>-13.542665</c:v>
                </c:pt>
                <c:pt idx="6688">
                  <c:v>-13.538831999999999</c:v>
                </c:pt>
                <c:pt idx="6689">
                  <c:v>-13.535</c:v>
                </c:pt>
                <c:pt idx="6690">
                  <c:v>-13.531169</c:v>
                </c:pt>
                <c:pt idx="6691">
                  <c:v>-13.527341</c:v>
                </c:pt>
                <c:pt idx="6692">
                  <c:v>-13.523515</c:v>
                </c:pt>
                <c:pt idx="6693">
                  <c:v>-13.519688</c:v>
                </c:pt>
                <c:pt idx="6694">
                  <c:v>-13.515864000000001</c:v>
                </c:pt>
                <c:pt idx="6695">
                  <c:v>-13.512040000000001</c:v>
                </c:pt>
                <c:pt idx="6696">
                  <c:v>-13.508219</c:v>
                </c:pt>
                <c:pt idx="6697">
                  <c:v>-13.504398</c:v>
                </c:pt>
                <c:pt idx="6698">
                  <c:v>-13.500579999999999</c:v>
                </c:pt>
                <c:pt idx="6699">
                  <c:v>-13.496763</c:v>
                </c:pt>
                <c:pt idx="6700">
                  <c:v>-13.492946999999999</c:v>
                </c:pt>
                <c:pt idx="6701">
                  <c:v>-13.489132</c:v>
                </c:pt>
                <c:pt idx="6702">
                  <c:v>-13.48532</c:v>
                </c:pt>
                <c:pt idx="6703">
                  <c:v>-13.481509000000001</c:v>
                </c:pt>
                <c:pt idx="6704">
                  <c:v>-13.477698</c:v>
                </c:pt>
                <c:pt idx="6705">
                  <c:v>-13.473889</c:v>
                </c:pt>
                <c:pt idx="6706">
                  <c:v>-13.470083000000001</c:v>
                </c:pt>
                <c:pt idx="6707">
                  <c:v>-13.466276000000001</c:v>
                </c:pt>
                <c:pt idx="6708">
                  <c:v>-13.462472999999999</c:v>
                </c:pt>
                <c:pt idx="6709">
                  <c:v>-13.45867</c:v>
                </c:pt>
                <c:pt idx="6710">
                  <c:v>-13.45487</c:v>
                </c:pt>
                <c:pt idx="6711">
                  <c:v>-13.451069</c:v>
                </c:pt>
                <c:pt idx="6712">
                  <c:v>-13.44727</c:v>
                </c:pt>
                <c:pt idx="6713">
                  <c:v>-13.443474</c:v>
                </c:pt>
                <c:pt idx="6714">
                  <c:v>-13.439678000000001</c:v>
                </c:pt>
                <c:pt idx="6715">
                  <c:v>-13.435881999999999</c:v>
                </c:pt>
                <c:pt idx="6716">
                  <c:v>-13.432091</c:v>
                </c:pt>
                <c:pt idx="6717">
                  <c:v>-13.428298</c:v>
                </c:pt>
                <c:pt idx="6718">
                  <c:v>-13.424509</c:v>
                </c:pt>
                <c:pt idx="6719">
                  <c:v>-13.420719999999999</c:v>
                </c:pt>
                <c:pt idx="6720">
                  <c:v>-13.416933</c:v>
                </c:pt>
                <c:pt idx="6721">
                  <c:v>-13.413147</c:v>
                </c:pt>
                <c:pt idx="6722">
                  <c:v>-13.409363000000001</c:v>
                </c:pt>
                <c:pt idx="6723">
                  <c:v>-13.40558</c:v>
                </c:pt>
                <c:pt idx="6724">
                  <c:v>-13.401799</c:v>
                </c:pt>
                <c:pt idx="6725">
                  <c:v>-13.398018</c:v>
                </c:pt>
                <c:pt idx="6726">
                  <c:v>-13.39424</c:v>
                </c:pt>
                <c:pt idx="6727">
                  <c:v>-13.390463</c:v>
                </c:pt>
                <c:pt idx="6728">
                  <c:v>-13.386685999999999</c:v>
                </c:pt>
                <c:pt idx="6729">
                  <c:v>-13.382911999999999</c:v>
                </c:pt>
                <c:pt idx="6730">
                  <c:v>-13.37914</c:v>
                </c:pt>
                <c:pt idx="6731">
                  <c:v>-13.375368</c:v>
                </c:pt>
                <c:pt idx="6732">
                  <c:v>-13.371598000000001</c:v>
                </c:pt>
                <c:pt idx="6733">
                  <c:v>-13.367829</c:v>
                </c:pt>
                <c:pt idx="6734">
                  <c:v>-13.364061</c:v>
                </c:pt>
                <c:pt idx="6735">
                  <c:v>-13.360296</c:v>
                </c:pt>
                <c:pt idx="6736">
                  <c:v>-13.356531</c:v>
                </c:pt>
                <c:pt idx="6737">
                  <c:v>-13.352767999999999</c:v>
                </c:pt>
                <c:pt idx="6738">
                  <c:v>-13.349005</c:v>
                </c:pt>
                <c:pt idx="6739">
                  <c:v>-13.345243999999999</c:v>
                </c:pt>
                <c:pt idx="6740">
                  <c:v>-13.341486</c:v>
                </c:pt>
                <c:pt idx="6741">
                  <c:v>-13.337729</c:v>
                </c:pt>
                <c:pt idx="6742">
                  <c:v>-13.333973</c:v>
                </c:pt>
                <c:pt idx="6743">
                  <c:v>-13.330218</c:v>
                </c:pt>
                <c:pt idx="6744">
                  <c:v>-13.326464</c:v>
                </c:pt>
                <c:pt idx="6745">
                  <c:v>-13.322711999999999</c:v>
                </c:pt>
                <c:pt idx="6746">
                  <c:v>-13.318961</c:v>
                </c:pt>
                <c:pt idx="6747">
                  <c:v>-13.315212000000001</c:v>
                </c:pt>
                <c:pt idx="6748">
                  <c:v>-13.311464000000001</c:v>
                </c:pt>
                <c:pt idx="6749">
                  <c:v>-13.307717999999999</c:v>
                </c:pt>
                <c:pt idx="6750">
                  <c:v>-13.303972</c:v>
                </c:pt>
                <c:pt idx="6751">
                  <c:v>-13.300228000000001</c:v>
                </c:pt>
                <c:pt idx="6752">
                  <c:v>-13.296485000000001</c:v>
                </c:pt>
                <c:pt idx="6753">
                  <c:v>-13.292745</c:v>
                </c:pt>
                <c:pt idx="6754">
                  <c:v>-13.289006000000001</c:v>
                </c:pt>
                <c:pt idx="6755">
                  <c:v>-13.285266999999999</c:v>
                </c:pt>
                <c:pt idx="6756">
                  <c:v>-13.281530999999999</c:v>
                </c:pt>
                <c:pt idx="6757">
                  <c:v>-13.277794999999999</c:v>
                </c:pt>
                <c:pt idx="6758">
                  <c:v>-13.274061</c:v>
                </c:pt>
                <c:pt idx="6759">
                  <c:v>-13.270329</c:v>
                </c:pt>
                <c:pt idx="6760">
                  <c:v>-13.266597000000001</c:v>
                </c:pt>
                <c:pt idx="6761">
                  <c:v>-13.262867</c:v>
                </c:pt>
                <c:pt idx="6762">
                  <c:v>-13.259138</c:v>
                </c:pt>
                <c:pt idx="6763">
                  <c:v>-13.255411</c:v>
                </c:pt>
                <c:pt idx="6764">
                  <c:v>-13.251685</c:v>
                </c:pt>
                <c:pt idx="6765">
                  <c:v>-13.247961</c:v>
                </c:pt>
                <c:pt idx="6766">
                  <c:v>-13.244237999999999</c:v>
                </c:pt>
                <c:pt idx="6767">
                  <c:v>-13.240517000000001</c:v>
                </c:pt>
                <c:pt idx="6768">
                  <c:v>-13.236796999999999</c:v>
                </c:pt>
                <c:pt idx="6769">
                  <c:v>-13.233077</c:v>
                </c:pt>
                <c:pt idx="6770">
                  <c:v>-13.229359000000001</c:v>
                </c:pt>
                <c:pt idx="6771">
                  <c:v>-13.225643</c:v>
                </c:pt>
                <c:pt idx="6772">
                  <c:v>-13.221928</c:v>
                </c:pt>
                <c:pt idx="6773">
                  <c:v>-13.218214</c:v>
                </c:pt>
                <c:pt idx="6774">
                  <c:v>-13.214503000000001</c:v>
                </c:pt>
                <c:pt idx="6775">
                  <c:v>-13.210791</c:v>
                </c:pt>
                <c:pt idx="6776">
                  <c:v>-13.207081000000001</c:v>
                </c:pt>
                <c:pt idx="6777">
                  <c:v>-13.203374</c:v>
                </c:pt>
                <c:pt idx="6778">
                  <c:v>-13.199667</c:v>
                </c:pt>
                <c:pt idx="6779">
                  <c:v>-13.195961</c:v>
                </c:pt>
                <c:pt idx="6780">
                  <c:v>-13.192257</c:v>
                </c:pt>
                <c:pt idx="6781">
                  <c:v>-13.188554</c:v>
                </c:pt>
                <c:pt idx="6782">
                  <c:v>-13.184853</c:v>
                </c:pt>
                <c:pt idx="6783">
                  <c:v>-13.181153</c:v>
                </c:pt>
                <c:pt idx="6784">
                  <c:v>-13.177454000000001</c:v>
                </c:pt>
                <c:pt idx="6785">
                  <c:v>-13.173757</c:v>
                </c:pt>
                <c:pt idx="6786">
                  <c:v>-13.170061</c:v>
                </c:pt>
                <c:pt idx="6787">
                  <c:v>-13.166366999999999</c:v>
                </c:pt>
                <c:pt idx="6788">
                  <c:v>-13.162673</c:v>
                </c:pt>
                <c:pt idx="6789">
                  <c:v>-13.158981000000001</c:v>
                </c:pt>
                <c:pt idx="6790">
                  <c:v>-13.155290000000001</c:v>
                </c:pt>
                <c:pt idx="6791">
                  <c:v>-13.151600999999999</c:v>
                </c:pt>
                <c:pt idx="6792">
                  <c:v>-13.147913000000001</c:v>
                </c:pt>
                <c:pt idx="6793">
                  <c:v>-13.144227000000001</c:v>
                </c:pt>
                <c:pt idx="6794">
                  <c:v>-13.140542</c:v>
                </c:pt>
                <c:pt idx="6795">
                  <c:v>-13.136856999999999</c:v>
                </c:pt>
                <c:pt idx="6796">
                  <c:v>-13.133175</c:v>
                </c:pt>
                <c:pt idx="6797">
                  <c:v>-13.129493</c:v>
                </c:pt>
                <c:pt idx="6798">
                  <c:v>-13.125813000000001</c:v>
                </c:pt>
                <c:pt idx="6799">
                  <c:v>-13.122134000000001</c:v>
                </c:pt>
                <c:pt idx="6800">
                  <c:v>-13.118458</c:v>
                </c:pt>
                <c:pt idx="6801">
                  <c:v>-13.114781000000001</c:v>
                </c:pt>
                <c:pt idx="6802">
                  <c:v>-13.111107000000001</c:v>
                </c:pt>
                <c:pt idx="6803">
                  <c:v>-13.107434</c:v>
                </c:pt>
                <c:pt idx="6804">
                  <c:v>-13.103762</c:v>
                </c:pt>
                <c:pt idx="6805">
                  <c:v>-13.100091000000001</c:v>
                </c:pt>
                <c:pt idx="6806">
                  <c:v>-13.096420999999999</c:v>
                </c:pt>
                <c:pt idx="6807">
                  <c:v>-13.092753</c:v>
                </c:pt>
                <c:pt idx="6808">
                  <c:v>-13.089086999999999</c:v>
                </c:pt>
                <c:pt idx="6809">
                  <c:v>-13.085421999999999</c:v>
                </c:pt>
                <c:pt idx="6810">
                  <c:v>-13.081758000000001</c:v>
                </c:pt>
                <c:pt idx="6811">
                  <c:v>-13.078094</c:v>
                </c:pt>
                <c:pt idx="6812">
                  <c:v>-13.074434</c:v>
                </c:pt>
                <c:pt idx="6813">
                  <c:v>-13.070773000000001</c:v>
                </c:pt>
                <c:pt idx="6814">
                  <c:v>-13.067114</c:v>
                </c:pt>
                <c:pt idx="6815">
                  <c:v>-13.063456</c:v>
                </c:pt>
                <c:pt idx="6816">
                  <c:v>-13.059799999999999</c:v>
                </c:pt>
                <c:pt idx="6817">
                  <c:v>-13.056146</c:v>
                </c:pt>
                <c:pt idx="6818">
                  <c:v>-13.052493999999999</c:v>
                </c:pt>
                <c:pt idx="6819">
                  <c:v>-13.04884</c:v>
                </c:pt>
                <c:pt idx="6820">
                  <c:v>-13.04519</c:v>
                </c:pt>
                <c:pt idx="6821">
                  <c:v>-13.041539</c:v>
                </c:pt>
                <c:pt idx="6822">
                  <c:v>-13.037891999999999</c:v>
                </c:pt>
                <c:pt idx="6823">
                  <c:v>-13.034245</c:v>
                </c:pt>
                <c:pt idx="6824">
                  <c:v>-13.030597999999999</c:v>
                </c:pt>
                <c:pt idx="6825">
                  <c:v>-13.026954999999999</c:v>
                </c:pt>
                <c:pt idx="6826">
                  <c:v>-13.023312000000001</c:v>
                </c:pt>
                <c:pt idx="6827">
                  <c:v>-13.01967</c:v>
                </c:pt>
                <c:pt idx="6828">
                  <c:v>-13.016029</c:v>
                </c:pt>
                <c:pt idx="6829">
                  <c:v>-13.012389000000001</c:v>
                </c:pt>
                <c:pt idx="6830">
                  <c:v>-13.008751999999999</c:v>
                </c:pt>
                <c:pt idx="6831">
                  <c:v>-13.005115999999999</c:v>
                </c:pt>
                <c:pt idx="6832">
                  <c:v>-13.001481</c:v>
                </c:pt>
                <c:pt idx="6833">
                  <c:v>-12.997845</c:v>
                </c:pt>
                <c:pt idx="6834">
                  <c:v>-12.994213</c:v>
                </c:pt>
                <c:pt idx="6835">
                  <c:v>-12.990582</c:v>
                </c:pt>
                <c:pt idx="6836">
                  <c:v>-12.986953</c:v>
                </c:pt>
                <c:pt idx="6837">
                  <c:v>-12.983324</c:v>
                </c:pt>
                <c:pt idx="6838">
                  <c:v>-12.979695</c:v>
                </c:pt>
                <c:pt idx="6839">
                  <c:v>-12.976069000000001</c:v>
                </c:pt>
                <c:pt idx="6840">
                  <c:v>-12.972443999999999</c:v>
                </c:pt>
                <c:pt idx="6841">
                  <c:v>-12.968821</c:v>
                </c:pt>
                <c:pt idx="6842">
                  <c:v>-12.965198000000001</c:v>
                </c:pt>
                <c:pt idx="6843">
                  <c:v>-12.961577</c:v>
                </c:pt>
                <c:pt idx="6844">
                  <c:v>-12.957957</c:v>
                </c:pt>
                <c:pt idx="6845">
                  <c:v>-12.954338</c:v>
                </c:pt>
                <c:pt idx="6846">
                  <c:v>-12.950721</c:v>
                </c:pt>
                <c:pt idx="6847">
                  <c:v>-12.947106</c:v>
                </c:pt>
                <c:pt idx="6848">
                  <c:v>-12.943490000000001</c:v>
                </c:pt>
                <c:pt idx="6849">
                  <c:v>-12.939876999999999</c:v>
                </c:pt>
                <c:pt idx="6850">
                  <c:v>-12.936265000000001</c:v>
                </c:pt>
                <c:pt idx="6851">
                  <c:v>-12.932653999999999</c:v>
                </c:pt>
                <c:pt idx="6852">
                  <c:v>-12.929043999999999</c:v>
                </c:pt>
                <c:pt idx="6853">
                  <c:v>-12.925435999999999</c:v>
                </c:pt>
                <c:pt idx="6854">
                  <c:v>-12.921829000000001</c:v>
                </c:pt>
                <c:pt idx="6855">
                  <c:v>-12.918222999999999</c:v>
                </c:pt>
                <c:pt idx="6856">
                  <c:v>-12.914619</c:v>
                </c:pt>
                <c:pt idx="6857">
                  <c:v>-12.911016</c:v>
                </c:pt>
                <c:pt idx="6858">
                  <c:v>-12.907413</c:v>
                </c:pt>
                <c:pt idx="6859">
                  <c:v>-12.903812</c:v>
                </c:pt>
                <c:pt idx="6860">
                  <c:v>-12.900213000000001</c:v>
                </c:pt>
                <c:pt idx="6861">
                  <c:v>-12.896615000000001</c:v>
                </c:pt>
                <c:pt idx="6862">
                  <c:v>-12.893019000000001</c:v>
                </c:pt>
                <c:pt idx="6863">
                  <c:v>-12.889422</c:v>
                </c:pt>
                <c:pt idx="6864">
                  <c:v>-12.885828</c:v>
                </c:pt>
                <c:pt idx="6865">
                  <c:v>-12.882235</c:v>
                </c:pt>
                <c:pt idx="6866">
                  <c:v>-12.878641999999999</c:v>
                </c:pt>
                <c:pt idx="6867">
                  <c:v>-12.875052</c:v>
                </c:pt>
                <c:pt idx="6868">
                  <c:v>-12.871463</c:v>
                </c:pt>
                <c:pt idx="6869">
                  <c:v>-12.867875</c:v>
                </c:pt>
                <c:pt idx="6870">
                  <c:v>-12.864288999999999</c:v>
                </c:pt>
                <c:pt idx="6871">
                  <c:v>-12.860703000000001</c:v>
                </c:pt>
                <c:pt idx="6872">
                  <c:v>-12.85712</c:v>
                </c:pt>
                <c:pt idx="6873">
                  <c:v>-12.853535000000001</c:v>
                </c:pt>
                <c:pt idx="6874">
                  <c:v>-12.849954</c:v>
                </c:pt>
                <c:pt idx="6875">
                  <c:v>-12.846373</c:v>
                </c:pt>
                <c:pt idx="6876">
                  <c:v>-12.842793</c:v>
                </c:pt>
                <c:pt idx="6877">
                  <c:v>-12.839216</c:v>
                </c:pt>
                <c:pt idx="6878">
                  <c:v>-12.83564</c:v>
                </c:pt>
                <c:pt idx="6879">
                  <c:v>-12.832065</c:v>
                </c:pt>
                <c:pt idx="6880">
                  <c:v>-12.82849</c:v>
                </c:pt>
                <c:pt idx="6881">
                  <c:v>-12.824916</c:v>
                </c:pt>
                <c:pt idx="6882">
                  <c:v>-12.821344</c:v>
                </c:pt>
                <c:pt idx="6883">
                  <c:v>-12.817774</c:v>
                </c:pt>
                <c:pt idx="6884">
                  <c:v>-12.814206</c:v>
                </c:pt>
                <c:pt idx="6885">
                  <c:v>-12.810637</c:v>
                </c:pt>
                <c:pt idx="6886">
                  <c:v>-12.80707</c:v>
                </c:pt>
                <c:pt idx="6887">
                  <c:v>-12.803504</c:v>
                </c:pt>
                <c:pt idx="6888">
                  <c:v>-12.799941</c:v>
                </c:pt>
                <c:pt idx="6889">
                  <c:v>-12.796377</c:v>
                </c:pt>
                <c:pt idx="6890">
                  <c:v>-12.792814999999999</c:v>
                </c:pt>
                <c:pt idx="6891">
                  <c:v>-12.789255000000001</c:v>
                </c:pt>
                <c:pt idx="6892">
                  <c:v>-12.785695</c:v>
                </c:pt>
                <c:pt idx="6893">
                  <c:v>-12.782137000000001</c:v>
                </c:pt>
                <c:pt idx="6894">
                  <c:v>-12.778581000000001</c:v>
                </c:pt>
                <c:pt idx="6895">
                  <c:v>-12.775024</c:v>
                </c:pt>
                <c:pt idx="6896">
                  <c:v>-12.771470000000001</c:v>
                </c:pt>
                <c:pt idx="6897">
                  <c:v>-12.767918</c:v>
                </c:pt>
                <c:pt idx="6898">
                  <c:v>-12.764365</c:v>
                </c:pt>
                <c:pt idx="6899">
                  <c:v>-12.760814999999999</c:v>
                </c:pt>
                <c:pt idx="6900">
                  <c:v>-12.757263999999999</c:v>
                </c:pt>
                <c:pt idx="6901">
                  <c:v>-12.753717</c:v>
                </c:pt>
                <c:pt idx="6902">
                  <c:v>-12.750170000000001</c:v>
                </c:pt>
                <c:pt idx="6903">
                  <c:v>-12.746624000000001</c:v>
                </c:pt>
                <c:pt idx="6904">
                  <c:v>-12.743079</c:v>
                </c:pt>
                <c:pt idx="6905">
                  <c:v>-12.739534000000001</c:v>
                </c:pt>
                <c:pt idx="6906">
                  <c:v>-12.735993000000001</c:v>
                </c:pt>
                <c:pt idx="6907">
                  <c:v>-12.732450999999999</c:v>
                </c:pt>
                <c:pt idx="6908">
                  <c:v>-12.728913</c:v>
                </c:pt>
                <c:pt idx="6909">
                  <c:v>-12.725374</c:v>
                </c:pt>
                <c:pt idx="6910">
                  <c:v>-12.721836</c:v>
                </c:pt>
                <c:pt idx="6911">
                  <c:v>-12.718299999999999</c:v>
                </c:pt>
                <c:pt idx="6912">
                  <c:v>-12.714765</c:v>
                </c:pt>
                <c:pt idx="6913">
                  <c:v>-12.711232000000001</c:v>
                </c:pt>
                <c:pt idx="6914">
                  <c:v>-12.707700000000001</c:v>
                </c:pt>
                <c:pt idx="6915">
                  <c:v>-12.704167</c:v>
                </c:pt>
                <c:pt idx="6916">
                  <c:v>-12.700638</c:v>
                </c:pt>
                <c:pt idx="6917">
                  <c:v>-12.697108999999999</c:v>
                </c:pt>
                <c:pt idx="6918">
                  <c:v>-12.693581999999999</c:v>
                </c:pt>
                <c:pt idx="6919">
                  <c:v>-12.690056999999999</c:v>
                </c:pt>
                <c:pt idx="6920">
                  <c:v>-12.686531</c:v>
                </c:pt>
                <c:pt idx="6921">
                  <c:v>-12.683006000000001</c:v>
                </c:pt>
                <c:pt idx="6922">
                  <c:v>-12.679482999999999</c:v>
                </c:pt>
                <c:pt idx="6923">
                  <c:v>-12.675962</c:v>
                </c:pt>
                <c:pt idx="6924">
                  <c:v>-12.672442</c:v>
                </c:pt>
                <c:pt idx="6925">
                  <c:v>-12.668922999999999</c:v>
                </c:pt>
                <c:pt idx="6926">
                  <c:v>-12.665405</c:v>
                </c:pt>
                <c:pt idx="6927">
                  <c:v>-12.661887</c:v>
                </c:pt>
                <c:pt idx="6928">
                  <c:v>-12.658372999999999</c:v>
                </c:pt>
                <c:pt idx="6929">
                  <c:v>-12.654858000000001</c:v>
                </c:pt>
                <c:pt idx="6930">
                  <c:v>-12.651346</c:v>
                </c:pt>
                <c:pt idx="6931">
                  <c:v>-12.647833</c:v>
                </c:pt>
                <c:pt idx="6932">
                  <c:v>-12.644323</c:v>
                </c:pt>
                <c:pt idx="6933">
                  <c:v>-12.640814000000001</c:v>
                </c:pt>
                <c:pt idx="6934">
                  <c:v>-12.637305</c:v>
                </c:pt>
                <c:pt idx="6935">
                  <c:v>-12.633798000000001</c:v>
                </c:pt>
                <c:pt idx="6936">
                  <c:v>-12.630292000000001</c:v>
                </c:pt>
                <c:pt idx="6937">
                  <c:v>-12.626787</c:v>
                </c:pt>
                <c:pt idx="6938">
                  <c:v>-12.623284</c:v>
                </c:pt>
                <c:pt idx="6939">
                  <c:v>-12.619781</c:v>
                </c:pt>
                <c:pt idx="6940">
                  <c:v>-12.616279</c:v>
                </c:pt>
                <c:pt idx="6941">
                  <c:v>-12.612780000000001</c:v>
                </c:pt>
                <c:pt idx="6942">
                  <c:v>-12.609280999999999</c:v>
                </c:pt>
                <c:pt idx="6943">
                  <c:v>-12.605784</c:v>
                </c:pt>
                <c:pt idx="6944">
                  <c:v>-12.602288</c:v>
                </c:pt>
                <c:pt idx="6945">
                  <c:v>-12.598792</c:v>
                </c:pt>
                <c:pt idx="6946">
                  <c:v>-12.595298</c:v>
                </c:pt>
                <c:pt idx="6947">
                  <c:v>-12.591805000000001</c:v>
                </c:pt>
                <c:pt idx="6948">
                  <c:v>-12.588312999999999</c:v>
                </c:pt>
                <c:pt idx="6949">
                  <c:v>-12.584823</c:v>
                </c:pt>
                <c:pt idx="6950">
                  <c:v>-12.581333000000001</c:v>
                </c:pt>
                <c:pt idx="6951">
                  <c:v>-12.577847</c:v>
                </c:pt>
                <c:pt idx="6952">
                  <c:v>-12.574358</c:v>
                </c:pt>
                <c:pt idx="6953">
                  <c:v>-12.570872</c:v>
                </c:pt>
                <c:pt idx="6954">
                  <c:v>-12.567387999999999</c:v>
                </c:pt>
                <c:pt idx="6955">
                  <c:v>-12.563905</c:v>
                </c:pt>
                <c:pt idx="6956">
                  <c:v>-12.560423999999999</c:v>
                </c:pt>
                <c:pt idx="6957">
                  <c:v>-12.556941999999999</c:v>
                </c:pt>
                <c:pt idx="6958">
                  <c:v>-12.553461</c:v>
                </c:pt>
                <c:pt idx="6959">
                  <c:v>-12.549984</c:v>
                </c:pt>
                <c:pt idx="6960">
                  <c:v>-12.546506000000001</c:v>
                </c:pt>
                <c:pt idx="6961">
                  <c:v>-12.543029000000001</c:v>
                </c:pt>
                <c:pt idx="6962">
                  <c:v>-12.539554000000001</c:v>
                </c:pt>
                <c:pt idx="6963">
                  <c:v>-12.536080999999999</c:v>
                </c:pt>
                <c:pt idx="6964">
                  <c:v>-12.532608</c:v>
                </c:pt>
                <c:pt idx="6965">
                  <c:v>-12.529135999999999</c:v>
                </c:pt>
                <c:pt idx="6966">
                  <c:v>-12.525667</c:v>
                </c:pt>
                <c:pt idx="6967">
                  <c:v>-12.522195</c:v>
                </c:pt>
                <c:pt idx="6968">
                  <c:v>-12.518727999999999</c:v>
                </c:pt>
                <c:pt idx="6969">
                  <c:v>-12.515261000000001</c:v>
                </c:pt>
                <c:pt idx="6970">
                  <c:v>-12.511794999999999</c:v>
                </c:pt>
                <c:pt idx="6971">
                  <c:v>-12.508331</c:v>
                </c:pt>
                <c:pt idx="6972">
                  <c:v>-12.504867000000001</c:v>
                </c:pt>
                <c:pt idx="6973">
                  <c:v>-12.501405</c:v>
                </c:pt>
                <c:pt idx="6974">
                  <c:v>-12.497942999999999</c:v>
                </c:pt>
                <c:pt idx="6975">
                  <c:v>-12.494484</c:v>
                </c:pt>
                <c:pt idx="6976">
                  <c:v>-12.491023999999999</c:v>
                </c:pt>
                <c:pt idx="6977">
                  <c:v>-12.487565999999999</c:v>
                </c:pt>
                <c:pt idx="6978">
                  <c:v>-12.484109999999999</c:v>
                </c:pt>
                <c:pt idx="6979">
                  <c:v>-12.480655</c:v>
                </c:pt>
                <c:pt idx="6980">
                  <c:v>-12.477201000000001</c:v>
                </c:pt>
                <c:pt idx="6981">
                  <c:v>-12.473748000000001</c:v>
                </c:pt>
                <c:pt idx="6982">
                  <c:v>-12.470295999999999</c:v>
                </c:pt>
                <c:pt idx="6983">
                  <c:v>-12.466844999999999</c:v>
                </c:pt>
                <c:pt idx="6984">
                  <c:v>-12.463397000000001</c:v>
                </c:pt>
                <c:pt idx="6985">
                  <c:v>-12.459946</c:v>
                </c:pt>
                <c:pt idx="6986">
                  <c:v>-12.4565</c:v>
                </c:pt>
                <c:pt idx="6987">
                  <c:v>-12.453053000000001</c:v>
                </c:pt>
                <c:pt idx="6988">
                  <c:v>-12.449608</c:v>
                </c:pt>
                <c:pt idx="6989">
                  <c:v>-12.446166</c:v>
                </c:pt>
                <c:pt idx="6990">
                  <c:v>-12.442722</c:v>
                </c:pt>
                <c:pt idx="6991">
                  <c:v>-12.439280999999999</c:v>
                </c:pt>
                <c:pt idx="6992">
                  <c:v>-12.435840000000001</c:v>
                </c:pt>
                <c:pt idx="6993">
                  <c:v>-12.432401</c:v>
                </c:pt>
                <c:pt idx="6994">
                  <c:v>-12.428962</c:v>
                </c:pt>
                <c:pt idx="6995">
                  <c:v>-12.425525</c:v>
                </c:pt>
                <c:pt idx="6996">
                  <c:v>-12.422091</c:v>
                </c:pt>
                <c:pt idx="6997">
                  <c:v>-12.418654999999999</c:v>
                </c:pt>
                <c:pt idx="6998">
                  <c:v>-12.415222999999999</c:v>
                </c:pt>
                <c:pt idx="6999">
                  <c:v>-12.411789000000001</c:v>
                </c:pt>
                <c:pt idx="7000">
                  <c:v>-12.408357000000001</c:v>
                </c:pt>
                <c:pt idx="7001">
                  <c:v>-12.404928</c:v>
                </c:pt>
                <c:pt idx="7002">
                  <c:v>-12.401498999999999</c:v>
                </c:pt>
                <c:pt idx="7003">
                  <c:v>-12.398070000000001</c:v>
                </c:pt>
                <c:pt idx="7004">
                  <c:v>-12.394643</c:v>
                </c:pt>
                <c:pt idx="7005">
                  <c:v>-12.391219</c:v>
                </c:pt>
                <c:pt idx="7006">
                  <c:v>-12.387794</c:v>
                </c:pt>
                <c:pt idx="7007">
                  <c:v>-12.384371</c:v>
                </c:pt>
                <c:pt idx="7008">
                  <c:v>-12.380948</c:v>
                </c:pt>
                <c:pt idx="7009">
                  <c:v>-12.377527000000001</c:v>
                </c:pt>
                <c:pt idx="7010">
                  <c:v>-12.374108</c:v>
                </c:pt>
                <c:pt idx="7011">
                  <c:v>-12.370687999999999</c:v>
                </c:pt>
                <c:pt idx="7012">
                  <c:v>-12.36727</c:v>
                </c:pt>
                <c:pt idx="7013">
                  <c:v>-12.363854999999999</c:v>
                </c:pt>
                <c:pt idx="7014">
                  <c:v>-12.360440000000001</c:v>
                </c:pt>
                <c:pt idx="7015">
                  <c:v>-12.357023999999999</c:v>
                </c:pt>
                <c:pt idx="7016">
                  <c:v>-12.353612</c:v>
                </c:pt>
                <c:pt idx="7017">
                  <c:v>-12.350199999999999</c:v>
                </c:pt>
                <c:pt idx="7018">
                  <c:v>-12.346788999999999</c:v>
                </c:pt>
                <c:pt idx="7019">
                  <c:v>-12.343379000000001</c:v>
                </c:pt>
                <c:pt idx="7020">
                  <c:v>-12.339969999999999</c:v>
                </c:pt>
                <c:pt idx="7021">
                  <c:v>-12.336561</c:v>
                </c:pt>
                <c:pt idx="7022">
                  <c:v>-12.333156000000001</c:v>
                </c:pt>
                <c:pt idx="7023">
                  <c:v>-12.329751</c:v>
                </c:pt>
                <c:pt idx="7024">
                  <c:v>-12.326347</c:v>
                </c:pt>
                <c:pt idx="7025">
                  <c:v>-12.322943</c:v>
                </c:pt>
                <c:pt idx="7026">
                  <c:v>-12.319542</c:v>
                </c:pt>
                <c:pt idx="7027">
                  <c:v>-12.316140000000001</c:v>
                </c:pt>
                <c:pt idx="7028">
                  <c:v>-12.312742</c:v>
                </c:pt>
                <c:pt idx="7029">
                  <c:v>-12.309341999999999</c:v>
                </c:pt>
                <c:pt idx="7030">
                  <c:v>-12.305944999999999</c:v>
                </c:pt>
                <c:pt idx="7031">
                  <c:v>-12.302548</c:v>
                </c:pt>
                <c:pt idx="7032">
                  <c:v>-12.299154</c:v>
                </c:pt>
                <c:pt idx="7033">
                  <c:v>-12.295759</c:v>
                </c:pt>
                <c:pt idx="7034">
                  <c:v>-12.292365</c:v>
                </c:pt>
                <c:pt idx="7035">
                  <c:v>-12.288973</c:v>
                </c:pt>
                <c:pt idx="7036">
                  <c:v>-12.285583000000001</c:v>
                </c:pt>
                <c:pt idx="7037">
                  <c:v>-12.282194</c:v>
                </c:pt>
                <c:pt idx="7038">
                  <c:v>-12.278803999999999</c:v>
                </c:pt>
                <c:pt idx="7039">
                  <c:v>-12.275418</c:v>
                </c:pt>
                <c:pt idx="7040">
                  <c:v>-12.272031</c:v>
                </c:pt>
                <c:pt idx="7041">
                  <c:v>-12.268644999999999</c:v>
                </c:pt>
                <c:pt idx="7042">
                  <c:v>-12.265261000000001</c:v>
                </c:pt>
                <c:pt idx="7043">
                  <c:v>-12.261877</c:v>
                </c:pt>
                <c:pt idx="7044">
                  <c:v>-12.258497</c:v>
                </c:pt>
                <c:pt idx="7045">
                  <c:v>-12.255115</c:v>
                </c:pt>
                <c:pt idx="7046">
                  <c:v>-12.251735999999999</c:v>
                </c:pt>
                <c:pt idx="7047">
                  <c:v>-12.248357</c:v>
                </c:pt>
                <c:pt idx="7048">
                  <c:v>-12.244979000000001</c:v>
                </c:pt>
                <c:pt idx="7049">
                  <c:v>-12.241603</c:v>
                </c:pt>
                <c:pt idx="7050">
                  <c:v>-12.238227</c:v>
                </c:pt>
                <c:pt idx="7051">
                  <c:v>-12.234852999999999</c:v>
                </c:pt>
                <c:pt idx="7052">
                  <c:v>-12.231479999999999</c:v>
                </c:pt>
                <c:pt idx="7053">
                  <c:v>-12.228107</c:v>
                </c:pt>
                <c:pt idx="7054">
                  <c:v>-12.224736</c:v>
                </c:pt>
                <c:pt idx="7055">
                  <c:v>-12.221366</c:v>
                </c:pt>
                <c:pt idx="7056">
                  <c:v>-12.217998</c:v>
                </c:pt>
                <c:pt idx="7057">
                  <c:v>-12.214631000000001</c:v>
                </c:pt>
                <c:pt idx="7058">
                  <c:v>-12.211262</c:v>
                </c:pt>
                <c:pt idx="7059">
                  <c:v>-12.207898</c:v>
                </c:pt>
                <c:pt idx="7060">
                  <c:v>-12.204533</c:v>
                </c:pt>
                <c:pt idx="7061">
                  <c:v>-12.201169999999999</c:v>
                </c:pt>
                <c:pt idx="7062">
                  <c:v>-12.197808</c:v>
                </c:pt>
                <c:pt idx="7063">
                  <c:v>-12.194445999999999</c:v>
                </c:pt>
                <c:pt idx="7064">
                  <c:v>-12.191086</c:v>
                </c:pt>
                <c:pt idx="7065">
                  <c:v>-12.187727000000001</c:v>
                </c:pt>
                <c:pt idx="7066">
                  <c:v>-12.184369</c:v>
                </c:pt>
                <c:pt idx="7067">
                  <c:v>-12.181012000000001</c:v>
                </c:pt>
                <c:pt idx="7068">
                  <c:v>-12.177657</c:v>
                </c:pt>
                <c:pt idx="7069">
                  <c:v>-12.174302000000001</c:v>
                </c:pt>
                <c:pt idx="7070">
                  <c:v>-12.170947999999999</c:v>
                </c:pt>
                <c:pt idx="7071">
                  <c:v>-12.167595</c:v>
                </c:pt>
                <c:pt idx="7072">
                  <c:v>-12.164244</c:v>
                </c:pt>
                <c:pt idx="7073">
                  <c:v>-12.160894000000001</c:v>
                </c:pt>
                <c:pt idx="7074">
                  <c:v>-12.157545000000001</c:v>
                </c:pt>
                <c:pt idx="7075">
                  <c:v>-12.154196000000001</c:v>
                </c:pt>
                <c:pt idx="7076">
                  <c:v>-12.15085</c:v>
                </c:pt>
                <c:pt idx="7077">
                  <c:v>-12.147503</c:v>
                </c:pt>
                <c:pt idx="7078">
                  <c:v>-12.144157999999999</c:v>
                </c:pt>
                <c:pt idx="7079">
                  <c:v>-12.140815</c:v>
                </c:pt>
                <c:pt idx="7080">
                  <c:v>-12.137472000000001</c:v>
                </c:pt>
                <c:pt idx="7081">
                  <c:v>-12.134129</c:v>
                </c:pt>
                <c:pt idx="7082">
                  <c:v>-12.130789</c:v>
                </c:pt>
                <c:pt idx="7083">
                  <c:v>-12.127449</c:v>
                </c:pt>
                <c:pt idx="7084">
                  <c:v>-12.124110999999999</c:v>
                </c:pt>
                <c:pt idx="7085">
                  <c:v>-12.120773</c:v>
                </c:pt>
                <c:pt idx="7086">
                  <c:v>-12.117437000000001</c:v>
                </c:pt>
                <c:pt idx="7087">
                  <c:v>-12.114102000000001</c:v>
                </c:pt>
                <c:pt idx="7088">
                  <c:v>-12.110766999999999</c:v>
                </c:pt>
                <c:pt idx="7089">
                  <c:v>-12.107433</c:v>
                </c:pt>
                <c:pt idx="7090">
                  <c:v>-12.104101</c:v>
                </c:pt>
                <c:pt idx="7091">
                  <c:v>-12.100770000000001</c:v>
                </c:pt>
                <c:pt idx="7092">
                  <c:v>-12.097439</c:v>
                </c:pt>
                <c:pt idx="7093">
                  <c:v>-12.094112000000001</c:v>
                </c:pt>
                <c:pt idx="7094">
                  <c:v>-12.090783</c:v>
                </c:pt>
                <c:pt idx="7095">
                  <c:v>-12.087457000000001</c:v>
                </c:pt>
                <c:pt idx="7096">
                  <c:v>-12.08413</c:v>
                </c:pt>
                <c:pt idx="7097">
                  <c:v>-12.080806000000001</c:v>
                </c:pt>
                <c:pt idx="7098">
                  <c:v>-12.077483000000001</c:v>
                </c:pt>
                <c:pt idx="7099">
                  <c:v>-12.074159999999999</c:v>
                </c:pt>
                <c:pt idx="7100">
                  <c:v>-12.070838</c:v>
                </c:pt>
                <c:pt idx="7101">
                  <c:v>-12.067517</c:v>
                </c:pt>
                <c:pt idx="7102">
                  <c:v>-12.064199</c:v>
                </c:pt>
                <c:pt idx="7103">
                  <c:v>-12.060879999999999</c:v>
                </c:pt>
                <c:pt idx="7104">
                  <c:v>-12.057563</c:v>
                </c:pt>
                <c:pt idx="7105">
                  <c:v>-12.054247</c:v>
                </c:pt>
                <c:pt idx="7106">
                  <c:v>-12.050932</c:v>
                </c:pt>
                <c:pt idx="7107">
                  <c:v>-12.047618</c:v>
                </c:pt>
                <c:pt idx="7108">
                  <c:v>-12.044305</c:v>
                </c:pt>
                <c:pt idx="7109">
                  <c:v>-12.040991999999999</c:v>
                </c:pt>
                <c:pt idx="7110">
                  <c:v>-12.037680999999999</c:v>
                </c:pt>
                <c:pt idx="7111">
                  <c:v>-12.034371</c:v>
                </c:pt>
                <c:pt idx="7112">
                  <c:v>-12.031063</c:v>
                </c:pt>
                <c:pt idx="7113">
                  <c:v>-12.027754</c:v>
                </c:pt>
                <c:pt idx="7114">
                  <c:v>-12.024447</c:v>
                </c:pt>
                <c:pt idx="7115">
                  <c:v>-12.021141999999999</c:v>
                </c:pt>
                <c:pt idx="7116">
                  <c:v>-12.017837</c:v>
                </c:pt>
                <c:pt idx="7117">
                  <c:v>-12.014533999999999</c:v>
                </c:pt>
                <c:pt idx="7118">
                  <c:v>-12.011229999999999</c:v>
                </c:pt>
                <c:pt idx="7119">
                  <c:v>-12.007929000000001</c:v>
                </c:pt>
                <c:pt idx="7120">
                  <c:v>-12.004628</c:v>
                </c:pt>
                <c:pt idx="7121">
                  <c:v>-12.001329</c:v>
                </c:pt>
                <c:pt idx="7122">
                  <c:v>-11.998030999999999</c:v>
                </c:pt>
                <c:pt idx="7123">
                  <c:v>-11.994733</c:v>
                </c:pt>
                <c:pt idx="7124">
                  <c:v>-11.991438</c:v>
                </c:pt>
                <c:pt idx="7125">
                  <c:v>-11.988141000000001</c:v>
                </c:pt>
                <c:pt idx="7126">
                  <c:v>-11.984847</c:v>
                </c:pt>
                <c:pt idx="7127">
                  <c:v>-11.981555</c:v>
                </c:pt>
                <c:pt idx="7128">
                  <c:v>-11.978261</c:v>
                </c:pt>
                <c:pt idx="7129">
                  <c:v>-11.974971999999999</c:v>
                </c:pt>
                <c:pt idx="7130">
                  <c:v>-11.971681</c:v>
                </c:pt>
                <c:pt idx="7131">
                  <c:v>-11.968389999999999</c:v>
                </c:pt>
                <c:pt idx="7132">
                  <c:v>-11.965102999999999</c:v>
                </c:pt>
                <c:pt idx="7133">
                  <c:v>-11.961816000000001</c:v>
                </c:pt>
                <c:pt idx="7134">
                  <c:v>-11.958531000000001</c:v>
                </c:pt>
                <c:pt idx="7135">
                  <c:v>-11.955245</c:v>
                </c:pt>
                <c:pt idx="7136">
                  <c:v>-11.951962</c:v>
                </c:pt>
                <c:pt idx="7137">
                  <c:v>-11.948679</c:v>
                </c:pt>
                <c:pt idx="7138">
                  <c:v>-11.945397</c:v>
                </c:pt>
                <c:pt idx="7139">
                  <c:v>-11.942117</c:v>
                </c:pt>
                <c:pt idx="7140">
                  <c:v>-11.938834999999999</c:v>
                </c:pt>
                <c:pt idx="7141">
                  <c:v>-11.935558</c:v>
                </c:pt>
                <c:pt idx="7142">
                  <c:v>-11.932278999999999</c:v>
                </c:pt>
                <c:pt idx="7143">
                  <c:v>-11.929002000000001</c:v>
                </c:pt>
                <c:pt idx="7144">
                  <c:v>-11.925727</c:v>
                </c:pt>
                <c:pt idx="7145">
                  <c:v>-11.922453000000001</c:v>
                </c:pt>
                <c:pt idx="7146">
                  <c:v>-11.919179</c:v>
                </c:pt>
                <c:pt idx="7147">
                  <c:v>-11.915906</c:v>
                </c:pt>
                <c:pt idx="7148">
                  <c:v>-11.912634000000001</c:v>
                </c:pt>
                <c:pt idx="7149">
                  <c:v>-11.909364</c:v>
                </c:pt>
                <c:pt idx="7150">
                  <c:v>-11.906095000000001</c:v>
                </c:pt>
                <c:pt idx="7151">
                  <c:v>-11.902825</c:v>
                </c:pt>
                <c:pt idx="7152">
                  <c:v>-11.899558000000001</c:v>
                </c:pt>
                <c:pt idx="7153">
                  <c:v>-11.896291</c:v>
                </c:pt>
                <c:pt idx="7154">
                  <c:v>-11.893027</c:v>
                </c:pt>
                <c:pt idx="7155">
                  <c:v>-11.889761999999999</c:v>
                </c:pt>
                <c:pt idx="7156">
                  <c:v>-11.886499000000001</c:v>
                </c:pt>
                <c:pt idx="7157">
                  <c:v>-11.883236</c:v>
                </c:pt>
                <c:pt idx="7158">
                  <c:v>-11.879973</c:v>
                </c:pt>
                <c:pt idx="7159">
                  <c:v>-11.876715000000001</c:v>
                </c:pt>
                <c:pt idx="7160">
                  <c:v>-11.873454000000001</c:v>
                </c:pt>
                <c:pt idx="7161">
                  <c:v>-11.870196</c:v>
                </c:pt>
                <c:pt idx="7162">
                  <c:v>-11.866937</c:v>
                </c:pt>
                <c:pt idx="7163">
                  <c:v>-11.863682000000001</c:v>
                </c:pt>
                <c:pt idx="7164">
                  <c:v>-11.860427</c:v>
                </c:pt>
                <c:pt idx="7165">
                  <c:v>-11.857173</c:v>
                </c:pt>
                <c:pt idx="7166">
                  <c:v>-11.853918999999999</c:v>
                </c:pt>
                <c:pt idx="7167">
                  <c:v>-11.850667</c:v>
                </c:pt>
                <c:pt idx="7168">
                  <c:v>-11.847416000000001</c:v>
                </c:pt>
                <c:pt idx="7169">
                  <c:v>-11.844165</c:v>
                </c:pt>
                <c:pt idx="7170">
                  <c:v>-11.840916</c:v>
                </c:pt>
                <c:pt idx="7171">
                  <c:v>-11.837668000000001</c:v>
                </c:pt>
                <c:pt idx="7172">
                  <c:v>-11.834421000000001</c:v>
                </c:pt>
                <c:pt idx="7173">
                  <c:v>-11.831173</c:v>
                </c:pt>
                <c:pt idx="7174">
                  <c:v>-11.827928999999999</c:v>
                </c:pt>
                <c:pt idx="7175">
                  <c:v>-11.824684</c:v>
                </c:pt>
                <c:pt idx="7176">
                  <c:v>-11.821441999999999</c:v>
                </c:pt>
                <c:pt idx="7177">
                  <c:v>-11.818199</c:v>
                </c:pt>
                <c:pt idx="7178">
                  <c:v>-11.814958000000001</c:v>
                </c:pt>
                <c:pt idx="7179">
                  <c:v>-11.811717</c:v>
                </c:pt>
                <c:pt idx="7180">
                  <c:v>-11.808479</c:v>
                </c:pt>
                <c:pt idx="7181">
                  <c:v>-11.80524</c:v>
                </c:pt>
                <c:pt idx="7182">
                  <c:v>-11.802002999999999</c:v>
                </c:pt>
                <c:pt idx="7183">
                  <c:v>-11.798766000000001</c:v>
                </c:pt>
                <c:pt idx="7184">
                  <c:v>-11.795532</c:v>
                </c:pt>
                <c:pt idx="7185">
                  <c:v>-11.792297</c:v>
                </c:pt>
                <c:pt idx="7186">
                  <c:v>-11.789064</c:v>
                </c:pt>
                <c:pt idx="7187">
                  <c:v>-11.785831</c:v>
                </c:pt>
                <c:pt idx="7188">
                  <c:v>-11.7826</c:v>
                </c:pt>
                <c:pt idx="7189">
                  <c:v>-11.77937</c:v>
                </c:pt>
                <c:pt idx="7190">
                  <c:v>-11.776141000000001</c:v>
                </c:pt>
                <c:pt idx="7191">
                  <c:v>-11.772913000000001</c:v>
                </c:pt>
                <c:pt idx="7192">
                  <c:v>-11.769686</c:v>
                </c:pt>
                <c:pt idx="7193">
                  <c:v>-11.766458999999999</c:v>
                </c:pt>
                <c:pt idx="7194">
                  <c:v>-11.763234000000001</c:v>
                </c:pt>
                <c:pt idx="7195">
                  <c:v>-11.760007999999999</c:v>
                </c:pt>
                <c:pt idx="7196">
                  <c:v>-11.756785000000001</c:v>
                </c:pt>
                <c:pt idx="7197">
                  <c:v>-11.753563</c:v>
                </c:pt>
                <c:pt idx="7198">
                  <c:v>-11.750342</c:v>
                </c:pt>
                <c:pt idx="7199">
                  <c:v>-11.747121999999999</c:v>
                </c:pt>
                <c:pt idx="7200">
                  <c:v>-11.743902</c:v>
                </c:pt>
                <c:pt idx="7201">
                  <c:v>-11.740683000000001</c:v>
                </c:pt>
                <c:pt idx="7202">
                  <c:v>-11.737465</c:v>
                </c:pt>
                <c:pt idx="7203">
                  <c:v>-11.734249999999999</c:v>
                </c:pt>
                <c:pt idx="7204">
                  <c:v>-11.731033999999999</c:v>
                </c:pt>
                <c:pt idx="7205">
                  <c:v>-11.727819999999999</c:v>
                </c:pt>
                <c:pt idx="7206">
                  <c:v>-11.724607000000001</c:v>
                </c:pt>
                <c:pt idx="7207">
                  <c:v>-11.721394</c:v>
                </c:pt>
                <c:pt idx="7208">
                  <c:v>-11.718183</c:v>
                </c:pt>
                <c:pt idx="7209">
                  <c:v>-11.714971999999999</c:v>
                </c:pt>
                <c:pt idx="7210">
                  <c:v>-11.711760999999999</c:v>
                </c:pt>
                <c:pt idx="7211">
                  <c:v>-11.708553</c:v>
                </c:pt>
                <c:pt idx="7212">
                  <c:v>-11.705346</c:v>
                </c:pt>
                <c:pt idx="7213">
                  <c:v>-11.702139000000001</c:v>
                </c:pt>
                <c:pt idx="7214">
                  <c:v>-11.698933</c:v>
                </c:pt>
                <c:pt idx="7215">
                  <c:v>-11.695727</c:v>
                </c:pt>
                <c:pt idx="7216">
                  <c:v>-11.692525</c:v>
                </c:pt>
                <c:pt idx="7217">
                  <c:v>-11.689322000000001</c:v>
                </c:pt>
                <c:pt idx="7218">
                  <c:v>-11.686120000000001</c:v>
                </c:pt>
                <c:pt idx="7219">
                  <c:v>-11.682919</c:v>
                </c:pt>
                <c:pt idx="7220">
                  <c:v>-11.67972</c:v>
                </c:pt>
                <c:pt idx="7221">
                  <c:v>-11.676520999999999</c:v>
                </c:pt>
                <c:pt idx="7222">
                  <c:v>-11.673323</c:v>
                </c:pt>
                <c:pt idx="7223">
                  <c:v>-11.670126</c:v>
                </c:pt>
                <c:pt idx="7224">
                  <c:v>-11.666929</c:v>
                </c:pt>
                <c:pt idx="7225">
                  <c:v>-11.663735000000001</c:v>
                </c:pt>
                <c:pt idx="7226">
                  <c:v>-11.660542</c:v>
                </c:pt>
                <c:pt idx="7227">
                  <c:v>-11.657349</c:v>
                </c:pt>
                <c:pt idx="7228">
                  <c:v>-11.654154999999999</c:v>
                </c:pt>
                <c:pt idx="7229">
                  <c:v>-11.650964999999999</c:v>
                </c:pt>
                <c:pt idx="7230">
                  <c:v>-11.647774</c:v>
                </c:pt>
                <c:pt idx="7231">
                  <c:v>-11.644584999999999</c:v>
                </c:pt>
                <c:pt idx="7232">
                  <c:v>-11.641398000000001</c:v>
                </c:pt>
                <c:pt idx="7233">
                  <c:v>-11.638210000000001</c:v>
                </c:pt>
                <c:pt idx="7234">
                  <c:v>-11.635024</c:v>
                </c:pt>
                <c:pt idx="7235">
                  <c:v>-11.631838</c:v>
                </c:pt>
                <c:pt idx="7236">
                  <c:v>-11.628653</c:v>
                </c:pt>
                <c:pt idx="7237">
                  <c:v>-11.625472</c:v>
                </c:pt>
                <c:pt idx="7238">
                  <c:v>-11.622287999999999</c:v>
                </c:pt>
                <c:pt idx="7239">
                  <c:v>-11.619107</c:v>
                </c:pt>
                <c:pt idx="7240">
                  <c:v>-11.615926999999999</c:v>
                </c:pt>
                <c:pt idx="7241">
                  <c:v>-11.612747000000001</c:v>
                </c:pt>
                <c:pt idx="7242">
                  <c:v>-11.609567999999999</c:v>
                </c:pt>
                <c:pt idx="7243">
                  <c:v>-11.606389999999999</c:v>
                </c:pt>
                <c:pt idx="7244">
                  <c:v>-11.603213999999999</c:v>
                </c:pt>
                <c:pt idx="7245">
                  <c:v>-11.600038</c:v>
                </c:pt>
                <c:pt idx="7246">
                  <c:v>-11.596864</c:v>
                </c:pt>
                <c:pt idx="7247">
                  <c:v>-11.593688999999999</c:v>
                </c:pt>
                <c:pt idx="7248">
                  <c:v>-11.590517</c:v>
                </c:pt>
                <c:pt idx="7249">
                  <c:v>-11.587344</c:v>
                </c:pt>
                <c:pt idx="7250">
                  <c:v>-11.584174000000001</c:v>
                </c:pt>
                <c:pt idx="7251">
                  <c:v>-11.581004</c:v>
                </c:pt>
                <c:pt idx="7252">
                  <c:v>-11.577833999999999</c:v>
                </c:pt>
                <c:pt idx="7253">
                  <c:v>-11.574666000000001</c:v>
                </c:pt>
                <c:pt idx="7254">
                  <c:v>-11.571498999999999</c:v>
                </c:pt>
                <c:pt idx="7255">
                  <c:v>-11.568333000000001</c:v>
                </c:pt>
                <c:pt idx="7256">
                  <c:v>-11.565168</c:v>
                </c:pt>
                <c:pt idx="7257">
                  <c:v>-11.562004</c:v>
                </c:pt>
                <c:pt idx="7258">
                  <c:v>-11.558840999999999</c:v>
                </c:pt>
                <c:pt idx="7259">
                  <c:v>-11.555679</c:v>
                </c:pt>
                <c:pt idx="7260">
                  <c:v>-11.552516000000001</c:v>
                </c:pt>
                <c:pt idx="7261">
                  <c:v>-11.549355</c:v>
                </c:pt>
                <c:pt idx="7262">
                  <c:v>-11.546196999999999</c:v>
                </c:pt>
                <c:pt idx="7263">
                  <c:v>-11.543037</c:v>
                </c:pt>
                <c:pt idx="7264">
                  <c:v>-11.53988</c:v>
                </c:pt>
                <c:pt idx="7265">
                  <c:v>-11.536723</c:v>
                </c:pt>
                <c:pt idx="7266">
                  <c:v>-11.533567</c:v>
                </c:pt>
                <c:pt idx="7267">
                  <c:v>-11.530412</c:v>
                </c:pt>
                <c:pt idx="7268">
                  <c:v>-11.527258</c:v>
                </c:pt>
                <c:pt idx="7269">
                  <c:v>-11.524103999999999</c:v>
                </c:pt>
                <c:pt idx="7270">
                  <c:v>-11.520954</c:v>
                </c:pt>
                <c:pt idx="7271">
                  <c:v>-11.517802</c:v>
                </c:pt>
                <c:pt idx="7272">
                  <c:v>-11.514652999999999</c:v>
                </c:pt>
                <c:pt idx="7273">
                  <c:v>-11.511502999999999</c:v>
                </c:pt>
                <c:pt idx="7274">
                  <c:v>-11.508355999999999</c:v>
                </c:pt>
                <c:pt idx="7275">
                  <c:v>-11.505209000000001</c:v>
                </c:pt>
                <c:pt idx="7276">
                  <c:v>-11.502060999999999</c:v>
                </c:pt>
                <c:pt idx="7277">
                  <c:v>-11.498915999999999</c:v>
                </c:pt>
                <c:pt idx="7278">
                  <c:v>-11.495772000000001</c:v>
                </c:pt>
                <c:pt idx="7279">
                  <c:v>-11.492628</c:v>
                </c:pt>
                <c:pt idx="7280">
                  <c:v>-11.489485</c:v>
                </c:pt>
                <c:pt idx="7281">
                  <c:v>-11.486344000000001</c:v>
                </c:pt>
                <c:pt idx="7282">
                  <c:v>-11.483202</c:v>
                </c:pt>
                <c:pt idx="7283">
                  <c:v>-11.480062</c:v>
                </c:pt>
                <c:pt idx="7284">
                  <c:v>-11.476922999999999</c:v>
                </c:pt>
                <c:pt idx="7285">
                  <c:v>-11.473786</c:v>
                </c:pt>
                <c:pt idx="7286">
                  <c:v>-11.470649</c:v>
                </c:pt>
                <c:pt idx="7287">
                  <c:v>-11.467511999999999</c:v>
                </c:pt>
                <c:pt idx="7288">
                  <c:v>-11.464378</c:v>
                </c:pt>
                <c:pt idx="7289">
                  <c:v>-11.461243</c:v>
                </c:pt>
                <c:pt idx="7290">
                  <c:v>-11.458109</c:v>
                </c:pt>
                <c:pt idx="7291">
                  <c:v>-11.454977</c:v>
                </c:pt>
                <c:pt idx="7292">
                  <c:v>-11.451846</c:v>
                </c:pt>
                <c:pt idx="7293">
                  <c:v>-11.448715</c:v>
                </c:pt>
                <c:pt idx="7294">
                  <c:v>-11.445586</c:v>
                </c:pt>
                <c:pt idx="7295">
                  <c:v>-11.442458</c:v>
                </c:pt>
                <c:pt idx="7296">
                  <c:v>-11.439327</c:v>
                </c:pt>
                <c:pt idx="7297">
                  <c:v>-11.436202</c:v>
                </c:pt>
                <c:pt idx="7298">
                  <c:v>-11.433077000000001</c:v>
                </c:pt>
                <c:pt idx="7299">
                  <c:v>-11.42995</c:v>
                </c:pt>
                <c:pt idx="7300">
                  <c:v>-11.426826</c:v>
                </c:pt>
                <c:pt idx="7301">
                  <c:v>-11.423703</c:v>
                </c:pt>
                <c:pt idx="7302">
                  <c:v>-11.420582</c:v>
                </c:pt>
                <c:pt idx="7303">
                  <c:v>-11.417458</c:v>
                </c:pt>
                <c:pt idx="7304">
                  <c:v>-11.414339999999999</c:v>
                </c:pt>
                <c:pt idx="7305">
                  <c:v>-11.41122</c:v>
                </c:pt>
                <c:pt idx="7306">
                  <c:v>-11.408102</c:v>
                </c:pt>
                <c:pt idx="7307">
                  <c:v>-11.404984000000001</c:v>
                </c:pt>
                <c:pt idx="7308">
                  <c:v>-11.401866999999999</c:v>
                </c:pt>
                <c:pt idx="7309">
                  <c:v>-11.39875</c:v>
                </c:pt>
                <c:pt idx="7310">
                  <c:v>-11.395637000000001</c:v>
                </c:pt>
                <c:pt idx="7311">
                  <c:v>-11.392522</c:v>
                </c:pt>
                <c:pt idx="7312">
                  <c:v>-11.38941</c:v>
                </c:pt>
                <c:pt idx="7313">
                  <c:v>-11.386297000000001</c:v>
                </c:pt>
                <c:pt idx="7314">
                  <c:v>-11.383184999999999</c:v>
                </c:pt>
                <c:pt idx="7315">
                  <c:v>-11.380074</c:v>
                </c:pt>
                <c:pt idx="7316">
                  <c:v>-11.376965999999999</c:v>
                </c:pt>
                <c:pt idx="7317">
                  <c:v>-11.373855000000001</c:v>
                </c:pt>
                <c:pt idx="7318">
                  <c:v>-11.370748000000001</c:v>
                </c:pt>
                <c:pt idx="7319">
                  <c:v>-11.367642999999999</c:v>
                </c:pt>
                <c:pt idx="7320">
                  <c:v>-11.364537</c:v>
                </c:pt>
                <c:pt idx="7321">
                  <c:v>-11.361431</c:v>
                </c:pt>
                <c:pt idx="7322">
                  <c:v>-11.358328999999999</c:v>
                </c:pt>
                <c:pt idx="7323">
                  <c:v>-11.355224</c:v>
                </c:pt>
                <c:pt idx="7324">
                  <c:v>-11.352123000000001</c:v>
                </c:pt>
                <c:pt idx="7325">
                  <c:v>-11.349019999999999</c:v>
                </c:pt>
                <c:pt idx="7326">
                  <c:v>-11.34592</c:v>
                </c:pt>
                <c:pt idx="7327">
                  <c:v>-11.342821000000001</c:v>
                </c:pt>
                <c:pt idx="7328">
                  <c:v>-11.339722</c:v>
                </c:pt>
                <c:pt idx="7329">
                  <c:v>-11.336625</c:v>
                </c:pt>
                <c:pt idx="7330">
                  <c:v>-11.333527999999999</c:v>
                </c:pt>
                <c:pt idx="7331">
                  <c:v>-11.330432</c:v>
                </c:pt>
                <c:pt idx="7332">
                  <c:v>-11.327337999999999</c:v>
                </c:pt>
                <c:pt idx="7333">
                  <c:v>-11.324244</c:v>
                </c:pt>
                <c:pt idx="7334">
                  <c:v>-11.321149</c:v>
                </c:pt>
                <c:pt idx="7335">
                  <c:v>-11.318059</c:v>
                </c:pt>
                <c:pt idx="7336">
                  <c:v>-11.314966999999999</c:v>
                </c:pt>
                <c:pt idx="7337">
                  <c:v>-11.311876</c:v>
                </c:pt>
                <c:pt idx="7338">
                  <c:v>-11.308786</c:v>
                </c:pt>
                <c:pt idx="7339">
                  <c:v>-11.305697</c:v>
                </c:pt>
                <c:pt idx="7340">
                  <c:v>-11.30261</c:v>
                </c:pt>
                <c:pt idx="7341">
                  <c:v>-11.299523000000001</c:v>
                </c:pt>
                <c:pt idx="7342">
                  <c:v>-11.296436999999999</c:v>
                </c:pt>
                <c:pt idx="7343">
                  <c:v>-11.293352000000001</c:v>
                </c:pt>
                <c:pt idx="7344">
                  <c:v>-11.290269</c:v>
                </c:pt>
                <c:pt idx="7345">
                  <c:v>-11.287184</c:v>
                </c:pt>
                <c:pt idx="7346">
                  <c:v>-11.284102000000001</c:v>
                </c:pt>
                <c:pt idx="7347">
                  <c:v>-11.28102</c:v>
                </c:pt>
                <c:pt idx="7348">
                  <c:v>-11.277939999999999</c:v>
                </c:pt>
                <c:pt idx="7349">
                  <c:v>-11.274858999999999</c:v>
                </c:pt>
                <c:pt idx="7350">
                  <c:v>-11.271782</c:v>
                </c:pt>
                <c:pt idx="7351">
                  <c:v>-11.268703</c:v>
                </c:pt>
                <c:pt idx="7352">
                  <c:v>-11.265625</c:v>
                </c:pt>
                <c:pt idx="7353">
                  <c:v>-11.262549999999999</c:v>
                </c:pt>
                <c:pt idx="7354">
                  <c:v>-11.259475999999999</c:v>
                </c:pt>
                <c:pt idx="7355">
                  <c:v>-11.256401</c:v>
                </c:pt>
                <c:pt idx="7356">
                  <c:v>-11.253327000000001</c:v>
                </c:pt>
                <c:pt idx="7357">
                  <c:v>-11.250254</c:v>
                </c:pt>
                <c:pt idx="7358">
                  <c:v>-11.247184000000001</c:v>
                </c:pt>
                <c:pt idx="7359">
                  <c:v>-11.244111</c:v>
                </c:pt>
                <c:pt idx="7360">
                  <c:v>-11.241042</c:v>
                </c:pt>
                <c:pt idx="7361">
                  <c:v>-11.237971999999999</c:v>
                </c:pt>
                <c:pt idx="7362">
                  <c:v>-11.234904999999999</c:v>
                </c:pt>
                <c:pt idx="7363">
                  <c:v>-11.231838</c:v>
                </c:pt>
                <c:pt idx="7364">
                  <c:v>-11.228771</c:v>
                </c:pt>
                <c:pt idx="7365">
                  <c:v>-11.225705</c:v>
                </c:pt>
                <c:pt idx="7366">
                  <c:v>-11.222640999999999</c:v>
                </c:pt>
                <c:pt idx="7367">
                  <c:v>-11.219576999999999</c:v>
                </c:pt>
                <c:pt idx="7368">
                  <c:v>-11.216513000000001</c:v>
                </c:pt>
                <c:pt idx="7369">
                  <c:v>-11.213450999999999</c:v>
                </c:pt>
                <c:pt idx="7370">
                  <c:v>-11.210391</c:v>
                </c:pt>
                <c:pt idx="7371">
                  <c:v>-11.207330000000001</c:v>
                </c:pt>
                <c:pt idx="7372">
                  <c:v>-11.204271</c:v>
                </c:pt>
                <c:pt idx="7373">
                  <c:v>-11.201212999999999</c:v>
                </c:pt>
                <c:pt idx="7374">
                  <c:v>-11.198154000000001</c:v>
                </c:pt>
                <c:pt idx="7375">
                  <c:v>-11.195098</c:v>
                </c:pt>
                <c:pt idx="7376">
                  <c:v>-11.192043</c:v>
                </c:pt>
                <c:pt idx="7377">
                  <c:v>-11.188986</c:v>
                </c:pt>
                <c:pt idx="7378">
                  <c:v>-11.185933</c:v>
                </c:pt>
                <c:pt idx="7379">
                  <c:v>-11.182879</c:v>
                </c:pt>
                <c:pt idx="7380">
                  <c:v>-11.179827</c:v>
                </c:pt>
                <c:pt idx="7381">
                  <c:v>-11.176774999999999</c:v>
                </c:pt>
                <c:pt idx="7382">
                  <c:v>-11.173724999999999</c:v>
                </c:pt>
                <c:pt idx="7383">
                  <c:v>-11.170674999999999</c:v>
                </c:pt>
                <c:pt idx="7384">
                  <c:v>-11.167626</c:v>
                </c:pt>
                <c:pt idx="7385">
                  <c:v>-11.164578000000001</c:v>
                </c:pt>
                <c:pt idx="7386">
                  <c:v>-11.161530000000001</c:v>
                </c:pt>
                <c:pt idx="7387">
                  <c:v>-11.158485000000001</c:v>
                </c:pt>
                <c:pt idx="7388">
                  <c:v>-11.15544</c:v>
                </c:pt>
                <c:pt idx="7389">
                  <c:v>-11.152396</c:v>
                </c:pt>
                <c:pt idx="7390">
                  <c:v>-11.149350999999999</c:v>
                </c:pt>
                <c:pt idx="7391">
                  <c:v>-11.146309</c:v>
                </c:pt>
                <c:pt idx="7392">
                  <c:v>-11.143267</c:v>
                </c:pt>
                <c:pt idx="7393">
                  <c:v>-11.140224999999999</c:v>
                </c:pt>
                <c:pt idx="7394">
                  <c:v>-11.137185000000001</c:v>
                </c:pt>
                <c:pt idx="7395">
                  <c:v>-11.134145999999999</c:v>
                </c:pt>
                <c:pt idx="7396">
                  <c:v>-11.131107</c:v>
                </c:pt>
                <c:pt idx="7397">
                  <c:v>-11.128069999999999</c:v>
                </c:pt>
                <c:pt idx="7398">
                  <c:v>-11.125033</c:v>
                </c:pt>
                <c:pt idx="7399">
                  <c:v>-11.121997</c:v>
                </c:pt>
                <c:pt idx="7400">
                  <c:v>-11.118962</c:v>
                </c:pt>
                <c:pt idx="7401">
                  <c:v>-11.115929</c:v>
                </c:pt>
                <c:pt idx="7402">
                  <c:v>-11.112895</c:v>
                </c:pt>
                <c:pt idx="7403">
                  <c:v>-11.109862</c:v>
                </c:pt>
                <c:pt idx="7404">
                  <c:v>-11.106831</c:v>
                </c:pt>
                <c:pt idx="7405">
                  <c:v>-11.103801000000001</c:v>
                </c:pt>
                <c:pt idx="7406">
                  <c:v>-11.100770000000001</c:v>
                </c:pt>
                <c:pt idx="7407">
                  <c:v>-11.097740999999999</c:v>
                </c:pt>
                <c:pt idx="7408">
                  <c:v>-11.094713</c:v>
                </c:pt>
                <c:pt idx="7409">
                  <c:v>-11.091685999999999</c:v>
                </c:pt>
                <c:pt idx="7410">
                  <c:v>-11.088659</c:v>
                </c:pt>
                <c:pt idx="7411">
                  <c:v>-11.085633</c:v>
                </c:pt>
                <c:pt idx="7412">
                  <c:v>-11.082608</c:v>
                </c:pt>
                <c:pt idx="7413">
                  <c:v>-11.079586000000001</c:v>
                </c:pt>
                <c:pt idx="7414">
                  <c:v>-11.076561999999999</c:v>
                </c:pt>
                <c:pt idx="7415">
                  <c:v>-11.073539999999999</c:v>
                </c:pt>
                <c:pt idx="7416">
                  <c:v>-11.070518</c:v>
                </c:pt>
                <c:pt idx="7417">
                  <c:v>-11.067498000000001</c:v>
                </c:pt>
                <c:pt idx="7418">
                  <c:v>-11.064477999999999</c:v>
                </c:pt>
                <c:pt idx="7419">
                  <c:v>-11.06146</c:v>
                </c:pt>
                <c:pt idx="7420">
                  <c:v>-11.058443</c:v>
                </c:pt>
                <c:pt idx="7421">
                  <c:v>-11.055425</c:v>
                </c:pt>
                <c:pt idx="7422">
                  <c:v>-11.052408</c:v>
                </c:pt>
                <c:pt idx="7423">
                  <c:v>-11.049393999999999</c:v>
                </c:pt>
                <c:pt idx="7424">
                  <c:v>-11.046379</c:v>
                </c:pt>
                <c:pt idx="7425">
                  <c:v>-11.043366000000001</c:v>
                </c:pt>
                <c:pt idx="7426">
                  <c:v>-11.040352</c:v>
                </c:pt>
                <c:pt idx="7427">
                  <c:v>-11.03734</c:v>
                </c:pt>
                <c:pt idx="7428">
                  <c:v>-11.034330000000001</c:v>
                </c:pt>
                <c:pt idx="7429">
                  <c:v>-11.031319999999999</c:v>
                </c:pt>
                <c:pt idx="7430">
                  <c:v>-11.028309</c:v>
                </c:pt>
                <c:pt idx="7431">
                  <c:v>-11.0253</c:v>
                </c:pt>
                <c:pt idx="7432">
                  <c:v>-11.022294</c:v>
                </c:pt>
                <c:pt idx="7433">
                  <c:v>-11.019287</c:v>
                </c:pt>
                <c:pt idx="7434">
                  <c:v>-11.01628</c:v>
                </c:pt>
                <c:pt idx="7435">
                  <c:v>-11.013273999999999</c:v>
                </c:pt>
                <c:pt idx="7436">
                  <c:v>-11.010272000000001</c:v>
                </c:pt>
                <c:pt idx="7437">
                  <c:v>-11.007269000000001</c:v>
                </c:pt>
                <c:pt idx="7438">
                  <c:v>-11.004263999999999</c:v>
                </c:pt>
                <c:pt idx="7439">
                  <c:v>-11.001263</c:v>
                </c:pt>
                <c:pt idx="7440">
                  <c:v>-10.998263</c:v>
                </c:pt>
                <c:pt idx="7441">
                  <c:v>-10.995263</c:v>
                </c:pt>
                <c:pt idx="7442">
                  <c:v>-10.992262</c:v>
                </c:pt>
                <c:pt idx="7443">
                  <c:v>-10.989264</c:v>
                </c:pt>
                <c:pt idx="7444">
                  <c:v>-10.986266000000001</c:v>
                </c:pt>
                <c:pt idx="7445">
                  <c:v>-10.983269</c:v>
                </c:pt>
                <c:pt idx="7446">
                  <c:v>-10.980274</c:v>
                </c:pt>
                <c:pt idx="7447">
                  <c:v>-10.977278999999999</c:v>
                </c:pt>
                <c:pt idx="7448">
                  <c:v>-10.974284000000001</c:v>
                </c:pt>
                <c:pt idx="7449">
                  <c:v>-10.971291000000001</c:v>
                </c:pt>
                <c:pt idx="7450">
                  <c:v>-10.968298000000001</c:v>
                </c:pt>
                <c:pt idx="7451">
                  <c:v>-10.965306</c:v>
                </c:pt>
                <c:pt idx="7452">
                  <c:v>-10.962316</c:v>
                </c:pt>
                <c:pt idx="7453">
                  <c:v>-10.959326000000001</c:v>
                </c:pt>
                <c:pt idx="7454">
                  <c:v>-10.956337</c:v>
                </c:pt>
                <c:pt idx="7455">
                  <c:v>-10.953348</c:v>
                </c:pt>
                <c:pt idx="7456">
                  <c:v>-10.95036</c:v>
                </c:pt>
                <c:pt idx="7457">
                  <c:v>-10.947373000000001</c:v>
                </c:pt>
                <c:pt idx="7458">
                  <c:v>-10.944388</c:v>
                </c:pt>
                <c:pt idx="7459">
                  <c:v>-10.941402999999999</c:v>
                </c:pt>
                <c:pt idx="7460">
                  <c:v>-10.938420000000001</c:v>
                </c:pt>
                <c:pt idx="7461">
                  <c:v>-10.935435</c:v>
                </c:pt>
                <c:pt idx="7462">
                  <c:v>-10.932452</c:v>
                </c:pt>
                <c:pt idx="7463">
                  <c:v>-10.92947</c:v>
                </c:pt>
                <c:pt idx="7464">
                  <c:v>-10.926489999999999</c:v>
                </c:pt>
                <c:pt idx="7465">
                  <c:v>-10.923508</c:v>
                </c:pt>
                <c:pt idx="7466">
                  <c:v>-10.920529999999999</c:v>
                </c:pt>
                <c:pt idx="7467">
                  <c:v>-10.917552000000001</c:v>
                </c:pt>
                <c:pt idx="7468">
                  <c:v>-10.914574999999999</c:v>
                </c:pt>
                <c:pt idx="7469">
                  <c:v>-10.911597</c:v>
                </c:pt>
                <c:pt idx="7470">
                  <c:v>-10.908621</c:v>
                </c:pt>
                <c:pt idx="7471">
                  <c:v>-10.905647999999999</c:v>
                </c:pt>
                <c:pt idx="7472">
                  <c:v>-10.902671</c:v>
                </c:pt>
                <c:pt idx="7473">
                  <c:v>-10.899699</c:v>
                </c:pt>
                <c:pt idx="7474">
                  <c:v>-10.896725</c:v>
                </c:pt>
                <c:pt idx="7475">
                  <c:v>-10.893753999999999</c:v>
                </c:pt>
                <c:pt idx="7476">
                  <c:v>-10.890782</c:v>
                </c:pt>
                <c:pt idx="7477">
                  <c:v>-10.887812</c:v>
                </c:pt>
                <c:pt idx="7478">
                  <c:v>-10.884843</c:v>
                </c:pt>
                <c:pt idx="7479">
                  <c:v>-10.881874</c:v>
                </c:pt>
                <c:pt idx="7480">
                  <c:v>-10.878907</c:v>
                </c:pt>
                <c:pt idx="7481">
                  <c:v>-10.875939000000001</c:v>
                </c:pt>
                <c:pt idx="7482">
                  <c:v>-10.872973</c:v>
                </c:pt>
                <c:pt idx="7483">
                  <c:v>-10.870006</c:v>
                </c:pt>
                <c:pt idx="7484">
                  <c:v>-10.867044</c:v>
                </c:pt>
                <c:pt idx="7485">
                  <c:v>-10.864079</c:v>
                </c:pt>
                <c:pt idx="7486">
                  <c:v>-10.861117</c:v>
                </c:pt>
                <c:pt idx="7487">
                  <c:v>-10.858155</c:v>
                </c:pt>
                <c:pt idx="7488">
                  <c:v>-10.855193</c:v>
                </c:pt>
                <c:pt idx="7489">
                  <c:v>-10.852233</c:v>
                </c:pt>
                <c:pt idx="7490">
                  <c:v>-10.849273999999999</c:v>
                </c:pt>
                <c:pt idx="7491">
                  <c:v>-10.846314</c:v>
                </c:pt>
                <c:pt idx="7492">
                  <c:v>-10.843356</c:v>
                </c:pt>
                <c:pt idx="7493">
                  <c:v>-10.840400000000001</c:v>
                </c:pt>
                <c:pt idx="7494">
                  <c:v>-10.837443</c:v>
                </c:pt>
                <c:pt idx="7495">
                  <c:v>-10.834486999999999</c:v>
                </c:pt>
                <c:pt idx="7496">
                  <c:v>-10.831531999999999</c:v>
                </c:pt>
                <c:pt idx="7497">
                  <c:v>-10.828579</c:v>
                </c:pt>
                <c:pt idx="7498">
                  <c:v>-10.825626</c:v>
                </c:pt>
                <c:pt idx="7499">
                  <c:v>-10.822673999999999</c:v>
                </c:pt>
                <c:pt idx="7500">
                  <c:v>-10.819722000000001</c:v>
                </c:pt>
                <c:pt idx="7501">
                  <c:v>-10.816770999999999</c:v>
                </c:pt>
                <c:pt idx="7502">
                  <c:v>-10.813821000000001</c:v>
                </c:pt>
                <c:pt idx="7503">
                  <c:v>-10.810872</c:v>
                </c:pt>
                <c:pt idx="7504">
                  <c:v>-10.807923000000001</c:v>
                </c:pt>
                <c:pt idx="7505">
                  <c:v>-10.804976</c:v>
                </c:pt>
                <c:pt idx="7506">
                  <c:v>-10.802030999999999</c:v>
                </c:pt>
                <c:pt idx="7507">
                  <c:v>-10.799083</c:v>
                </c:pt>
                <c:pt idx="7508">
                  <c:v>-10.796137999999999</c:v>
                </c:pt>
                <c:pt idx="7509">
                  <c:v>-10.793195000000001</c:v>
                </c:pt>
                <c:pt idx="7510">
                  <c:v>-10.79025</c:v>
                </c:pt>
                <c:pt idx="7511">
                  <c:v>-10.787307999999999</c:v>
                </c:pt>
                <c:pt idx="7512">
                  <c:v>-10.784367</c:v>
                </c:pt>
                <c:pt idx="7513">
                  <c:v>-10.781425</c:v>
                </c:pt>
                <c:pt idx="7514">
                  <c:v>-10.778485999999999</c:v>
                </c:pt>
                <c:pt idx="7515">
                  <c:v>-10.775546</c:v>
                </c:pt>
                <c:pt idx="7516">
                  <c:v>-10.772607000000001</c:v>
                </c:pt>
                <c:pt idx="7517">
                  <c:v>-10.76967</c:v>
                </c:pt>
                <c:pt idx="7518">
                  <c:v>-10.766734</c:v>
                </c:pt>
                <c:pt idx="7519">
                  <c:v>-10.763795999999999</c:v>
                </c:pt>
                <c:pt idx="7520">
                  <c:v>-10.760861</c:v>
                </c:pt>
                <c:pt idx="7521">
                  <c:v>-10.757925999999999</c:v>
                </c:pt>
                <c:pt idx="7522">
                  <c:v>-10.754992</c:v>
                </c:pt>
                <c:pt idx="7523">
                  <c:v>-10.752058999999999</c:v>
                </c:pt>
                <c:pt idx="7524">
                  <c:v>-10.749127</c:v>
                </c:pt>
                <c:pt idx="7525">
                  <c:v>-10.746195999999999</c:v>
                </c:pt>
                <c:pt idx="7526">
                  <c:v>-10.743264999999999</c:v>
                </c:pt>
                <c:pt idx="7527">
                  <c:v>-10.740335999999999</c:v>
                </c:pt>
                <c:pt idx="7528">
                  <c:v>-10.737406</c:v>
                </c:pt>
                <c:pt idx="7529">
                  <c:v>-10.734477</c:v>
                </c:pt>
                <c:pt idx="7530">
                  <c:v>-10.731548999999999</c:v>
                </c:pt>
                <c:pt idx="7531">
                  <c:v>-10.728624</c:v>
                </c:pt>
                <c:pt idx="7532">
                  <c:v>-10.725699000000001</c:v>
                </c:pt>
                <c:pt idx="7533">
                  <c:v>-10.722773</c:v>
                </c:pt>
                <c:pt idx="7534">
                  <c:v>-10.719848000000001</c:v>
                </c:pt>
                <c:pt idx="7535">
                  <c:v>-10.716925</c:v>
                </c:pt>
                <c:pt idx="7536">
                  <c:v>-10.714002000000001</c:v>
                </c:pt>
                <c:pt idx="7537">
                  <c:v>-10.711080000000001</c:v>
                </c:pt>
                <c:pt idx="7538">
                  <c:v>-10.708159</c:v>
                </c:pt>
                <c:pt idx="7539">
                  <c:v>-10.705239000000001</c:v>
                </c:pt>
                <c:pt idx="7540">
                  <c:v>-10.70232</c:v>
                </c:pt>
                <c:pt idx="7541">
                  <c:v>-10.699401</c:v>
                </c:pt>
                <c:pt idx="7542">
                  <c:v>-10.696482</c:v>
                </c:pt>
                <c:pt idx="7543">
                  <c:v>-10.693565</c:v>
                </c:pt>
                <c:pt idx="7544">
                  <c:v>-10.690647999999999</c:v>
                </c:pt>
                <c:pt idx="7545">
                  <c:v>-10.687732</c:v>
                </c:pt>
                <c:pt idx="7546">
                  <c:v>-10.684818</c:v>
                </c:pt>
                <c:pt idx="7547">
                  <c:v>-10.681903999999999</c:v>
                </c:pt>
                <c:pt idx="7548">
                  <c:v>-10.678991999999999</c:v>
                </c:pt>
                <c:pt idx="7549">
                  <c:v>-10.676080000000001</c:v>
                </c:pt>
                <c:pt idx="7550">
                  <c:v>-10.673166</c:v>
                </c:pt>
                <c:pt idx="7551">
                  <c:v>-10.670256</c:v>
                </c:pt>
                <c:pt idx="7552">
                  <c:v>-10.667346</c:v>
                </c:pt>
                <c:pt idx="7553">
                  <c:v>-10.664437</c:v>
                </c:pt>
                <c:pt idx="7554">
                  <c:v>-10.661528000000001</c:v>
                </c:pt>
                <c:pt idx="7555">
                  <c:v>-10.658620000000001</c:v>
                </c:pt>
                <c:pt idx="7556">
                  <c:v>-10.655714</c:v>
                </c:pt>
                <c:pt idx="7557">
                  <c:v>-10.652806999999999</c:v>
                </c:pt>
                <c:pt idx="7558">
                  <c:v>-10.649902000000001</c:v>
                </c:pt>
                <c:pt idx="7559">
                  <c:v>-10.646997000000001</c:v>
                </c:pt>
                <c:pt idx="7560">
                  <c:v>-10.644093</c:v>
                </c:pt>
                <c:pt idx="7561">
                  <c:v>-10.641190999999999</c:v>
                </c:pt>
                <c:pt idx="7562">
                  <c:v>-10.638289</c:v>
                </c:pt>
                <c:pt idx="7563">
                  <c:v>-10.635387</c:v>
                </c:pt>
                <c:pt idx="7564">
                  <c:v>-10.632486</c:v>
                </c:pt>
                <c:pt idx="7565">
                  <c:v>-10.629587000000001</c:v>
                </c:pt>
                <c:pt idx="7566">
                  <c:v>-10.626687</c:v>
                </c:pt>
                <c:pt idx="7567">
                  <c:v>-10.623787999999999</c:v>
                </c:pt>
                <c:pt idx="7568">
                  <c:v>-10.620891</c:v>
                </c:pt>
                <c:pt idx="7569">
                  <c:v>-10.617993</c:v>
                </c:pt>
                <c:pt idx="7570">
                  <c:v>-10.615098</c:v>
                </c:pt>
                <c:pt idx="7571">
                  <c:v>-10.612202999999999</c:v>
                </c:pt>
                <c:pt idx="7572">
                  <c:v>-10.609308</c:v>
                </c:pt>
                <c:pt idx="7573">
                  <c:v>-10.606413</c:v>
                </c:pt>
                <c:pt idx="7574">
                  <c:v>-10.603521000000001</c:v>
                </c:pt>
                <c:pt idx="7575">
                  <c:v>-10.600628</c:v>
                </c:pt>
                <c:pt idx="7576">
                  <c:v>-10.597738</c:v>
                </c:pt>
                <c:pt idx="7577">
                  <c:v>-10.594847</c:v>
                </c:pt>
                <c:pt idx="7578">
                  <c:v>-10.591957000000001</c:v>
                </c:pt>
                <c:pt idx="7579">
                  <c:v>-10.589067999999999</c:v>
                </c:pt>
                <c:pt idx="7580">
                  <c:v>-10.586180000000001</c:v>
                </c:pt>
                <c:pt idx="7581">
                  <c:v>-10.583290999999999</c:v>
                </c:pt>
                <c:pt idx="7582">
                  <c:v>-10.580405000000001</c:v>
                </c:pt>
                <c:pt idx="7583">
                  <c:v>-10.577518</c:v>
                </c:pt>
                <c:pt idx="7584">
                  <c:v>-10.574633</c:v>
                </c:pt>
                <c:pt idx="7585">
                  <c:v>-10.571749000000001</c:v>
                </c:pt>
                <c:pt idx="7586">
                  <c:v>-10.568865000000001</c:v>
                </c:pt>
                <c:pt idx="7587">
                  <c:v>-10.565982999999999</c:v>
                </c:pt>
                <c:pt idx="7588">
                  <c:v>-10.563098999999999</c:v>
                </c:pt>
                <c:pt idx="7589">
                  <c:v>-10.560219</c:v>
                </c:pt>
                <c:pt idx="7590">
                  <c:v>-10.557338</c:v>
                </c:pt>
                <c:pt idx="7591">
                  <c:v>-10.554458</c:v>
                </c:pt>
                <c:pt idx="7592">
                  <c:v>-10.55158</c:v>
                </c:pt>
                <c:pt idx="7593">
                  <c:v>-10.5487</c:v>
                </c:pt>
                <c:pt idx="7594">
                  <c:v>-10.545823</c:v>
                </c:pt>
                <c:pt idx="7595">
                  <c:v>-10.542947</c:v>
                </c:pt>
                <c:pt idx="7596">
                  <c:v>-10.54007</c:v>
                </c:pt>
                <c:pt idx="7597">
                  <c:v>-10.537195000000001</c:v>
                </c:pt>
                <c:pt idx="7598">
                  <c:v>-10.534319999999999</c:v>
                </c:pt>
                <c:pt idx="7599">
                  <c:v>-10.531446000000001</c:v>
                </c:pt>
                <c:pt idx="7600">
                  <c:v>-10.528574000000001</c:v>
                </c:pt>
                <c:pt idx="7601">
                  <c:v>-10.525700000000001</c:v>
                </c:pt>
                <c:pt idx="7602">
                  <c:v>-10.522828000000001</c:v>
                </c:pt>
                <c:pt idx="7603">
                  <c:v>-10.519959</c:v>
                </c:pt>
                <c:pt idx="7604">
                  <c:v>-10.517089</c:v>
                </c:pt>
                <c:pt idx="7605">
                  <c:v>-10.514219000000001</c:v>
                </c:pt>
                <c:pt idx="7606">
                  <c:v>-10.511350999999999</c:v>
                </c:pt>
                <c:pt idx="7607">
                  <c:v>-10.508483</c:v>
                </c:pt>
                <c:pt idx="7608">
                  <c:v>-10.505615000000001</c:v>
                </c:pt>
                <c:pt idx="7609">
                  <c:v>-10.502750000000001</c:v>
                </c:pt>
                <c:pt idx="7610">
                  <c:v>-10.499884</c:v>
                </c:pt>
                <c:pt idx="7611">
                  <c:v>-10.497019999999999</c:v>
                </c:pt>
                <c:pt idx="7612">
                  <c:v>-10.494156</c:v>
                </c:pt>
                <c:pt idx="7613">
                  <c:v>-10.491292</c:v>
                </c:pt>
                <c:pt idx="7614">
                  <c:v>-10.488429999999999</c:v>
                </c:pt>
                <c:pt idx="7615">
                  <c:v>-10.485569</c:v>
                </c:pt>
                <c:pt idx="7616">
                  <c:v>-10.482707</c:v>
                </c:pt>
                <c:pt idx="7617">
                  <c:v>-10.479848</c:v>
                </c:pt>
                <c:pt idx="7618">
                  <c:v>-10.476988</c:v>
                </c:pt>
                <c:pt idx="7619">
                  <c:v>-10.474129</c:v>
                </c:pt>
                <c:pt idx="7620">
                  <c:v>-10.471271</c:v>
                </c:pt>
                <c:pt idx="7621">
                  <c:v>-10.468413999999999</c:v>
                </c:pt>
                <c:pt idx="7622">
                  <c:v>-10.465558</c:v>
                </c:pt>
                <c:pt idx="7623">
                  <c:v>-10.462702</c:v>
                </c:pt>
                <c:pt idx="7624">
                  <c:v>-10.459847999999999</c:v>
                </c:pt>
                <c:pt idx="7625">
                  <c:v>-10.456991</c:v>
                </c:pt>
                <c:pt idx="7626">
                  <c:v>-10.454140000000001</c:v>
                </c:pt>
                <c:pt idx="7627">
                  <c:v>-10.451286</c:v>
                </c:pt>
                <c:pt idx="7628">
                  <c:v>-10.448435</c:v>
                </c:pt>
                <c:pt idx="7629">
                  <c:v>-10.445584</c:v>
                </c:pt>
                <c:pt idx="7630">
                  <c:v>-10.442733</c:v>
                </c:pt>
                <c:pt idx="7631">
                  <c:v>-10.439883999999999</c:v>
                </c:pt>
                <c:pt idx="7632">
                  <c:v>-10.437034000000001</c:v>
                </c:pt>
                <c:pt idx="7633">
                  <c:v>-10.434186</c:v>
                </c:pt>
                <c:pt idx="7634">
                  <c:v>-10.431338999999999</c:v>
                </c:pt>
                <c:pt idx="7635">
                  <c:v>-10.428492</c:v>
                </c:pt>
                <c:pt idx="7636">
                  <c:v>-10.425647</c:v>
                </c:pt>
                <c:pt idx="7637">
                  <c:v>-10.422800000000001</c:v>
                </c:pt>
                <c:pt idx="7638">
                  <c:v>-10.419957</c:v>
                </c:pt>
                <c:pt idx="7639">
                  <c:v>-10.417111999999999</c:v>
                </c:pt>
                <c:pt idx="7640">
                  <c:v>-10.414269000000001</c:v>
                </c:pt>
                <c:pt idx="7641">
                  <c:v>-10.411427</c:v>
                </c:pt>
                <c:pt idx="7642">
                  <c:v>-10.408587000000001</c:v>
                </c:pt>
                <c:pt idx="7643">
                  <c:v>-10.405744</c:v>
                </c:pt>
                <c:pt idx="7644">
                  <c:v>-10.402906</c:v>
                </c:pt>
                <c:pt idx="7645">
                  <c:v>-10.400066000000001</c:v>
                </c:pt>
                <c:pt idx="7646">
                  <c:v>-10.397227000000001</c:v>
                </c:pt>
                <c:pt idx="7647">
                  <c:v>-10.394389</c:v>
                </c:pt>
                <c:pt idx="7648">
                  <c:v>-10.391552000000001</c:v>
                </c:pt>
                <c:pt idx="7649">
                  <c:v>-10.388716000000001</c:v>
                </c:pt>
                <c:pt idx="7650">
                  <c:v>-10.385880999999999</c:v>
                </c:pt>
                <c:pt idx="7651">
                  <c:v>-10.383046</c:v>
                </c:pt>
                <c:pt idx="7652">
                  <c:v>-10.380210999999999</c:v>
                </c:pt>
                <c:pt idx="7653">
                  <c:v>-10.377378</c:v>
                </c:pt>
                <c:pt idx="7654">
                  <c:v>-10.374546</c:v>
                </c:pt>
                <c:pt idx="7655">
                  <c:v>-10.371714000000001</c:v>
                </c:pt>
                <c:pt idx="7656">
                  <c:v>-10.368881999999999</c:v>
                </c:pt>
                <c:pt idx="7657">
                  <c:v>-10.366052</c:v>
                </c:pt>
                <c:pt idx="7658">
                  <c:v>-10.363222</c:v>
                </c:pt>
                <c:pt idx="7659">
                  <c:v>-10.360393</c:v>
                </c:pt>
                <c:pt idx="7660">
                  <c:v>-10.357566</c:v>
                </c:pt>
                <c:pt idx="7661">
                  <c:v>-10.354737</c:v>
                </c:pt>
                <c:pt idx="7662">
                  <c:v>-10.351912</c:v>
                </c:pt>
                <c:pt idx="7663">
                  <c:v>-10.349085000000001</c:v>
                </c:pt>
                <c:pt idx="7664">
                  <c:v>-10.346259999999999</c:v>
                </c:pt>
                <c:pt idx="7665">
                  <c:v>-10.343436000000001</c:v>
                </c:pt>
                <c:pt idx="7666">
                  <c:v>-10.340611000000001</c:v>
                </c:pt>
                <c:pt idx="7667">
                  <c:v>-10.337789000000001</c:v>
                </c:pt>
                <c:pt idx="7668">
                  <c:v>-10.334965</c:v>
                </c:pt>
                <c:pt idx="7669">
                  <c:v>-10.332145000000001</c:v>
                </c:pt>
                <c:pt idx="7670">
                  <c:v>-10.329321999999999</c:v>
                </c:pt>
                <c:pt idx="7671">
                  <c:v>-10.326503000000001</c:v>
                </c:pt>
                <c:pt idx="7672">
                  <c:v>-10.323684999999999</c:v>
                </c:pt>
                <c:pt idx="7673">
                  <c:v>-10.320865</c:v>
                </c:pt>
                <c:pt idx="7674">
                  <c:v>-10.318047</c:v>
                </c:pt>
                <c:pt idx="7675">
                  <c:v>-10.31523</c:v>
                </c:pt>
                <c:pt idx="7676">
                  <c:v>-10.312412999999999</c:v>
                </c:pt>
                <c:pt idx="7677">
                  <c:v>-10.309597999999999</c:v>
                </c:pt>
                <c:pt idx="7678">
                  <c:v>-10.306782999999999</c:v>
                </c:pt>
                <c:pt idx="7679">
                  <c:v>-10.303967999999999</c:v>
                </c:pt>
                <c:pt idx="7680">
                  <c:v>-10.301155</c:v>
                </c:pt>
                <c:pt idx="7681">
                  <c:v>-10.298342</c:v>
                </c:pt>
                <c:pt idx="7682">
                  <c:v>-10.295529999999999</c:v>
                </c:pt>
                <c:pt idx="7683">
                  <c:v>-10.292717</c:v>
                </c:pt>
                <c:pt idx="7684">
                  <c:v>-10.289906</c:v>
                </c:pt>
                <c:pt idx="7685">
                  <c:v>-10.287096999999999</c:v>
                </c:pt>
                <c:pt idx="7686">
                  <c:v>-10.284288999999999</c:v>
                </c:pt>
                <c:pt idx="7687">
                  <c:v>-10.28148</c:v>
                </c:pt>
                <c:pt idx="7688">
                  <c:v>-10.278672</c:v>
                </c:pt>
                <c:pt idx="7689">
                  <c:v>-10.275864</c:v>
                </c:pt>
                <c:pt idx="7690">
                  <c:v>-10.273058000000001</c:v>
                </c:pt>
                <c:pt idx="7691">
                  <c:v>-10.270251999999999</c:v>
                </c:pt>
                <c:pt idx="7692">
                  <c:v>-10.267448</c:v>
                </c:pt>
                <c:pt idx="7693">
                  <c:v>-10.264643</c:v>
                </c:pt>
                <c:pt idx="7694">
                  <c:v>-10.261839999999999</c:v>
                </c:pt>
                <c:pt idx="7695">
                  <c:v>-10.259036</c:v>
                </c:pt>
                <c:pt idx="7696">
                  <c:v>-10.256233999999999</c:v>
                </c:pt>
                <c:pt idx="7697">
                  <c:v>-10.253434</c:v>
                </c:pt>
                <c:pt idx="7698">
                  <c:v>-10.250632</c:v>
                </c:pt>
                <c:pt idx="7699">
                  <c:v>-10.247833</c:v>
                </c:pt>
                <c:pt idx="7700">
                  <c:v>-10.245032999999999</c:v>
                </c:pt>
                <c:pt idx="7701">
                  <c:v>-10.242235000000001</c:v>
                </c:pt>
                <c:pt idx="7702">
                  <c:v>-10.239437000000001</c:v>
                </c:pt>
                <c:pt idx="7703">
                  <c:v>-10.23664</c:v>
                </c:pt>
                <c:pt idx="7704">
                  <c:v>-10.233843</c:v>
                </c:pt>
                <c:pt idx="7705">
                  <c:v>-10.231047999999999</c:v>
                </c:pt>
                <c:pt idx="7706">
                  <c:v>-10.228253</c:v>
                </c:pt>
                <c:pt idx="7707">
                  <c:v>-10.225459000000001</c:v>
                </c:pt>
                <c:pt idx="7708">
                  <c:v>-10.222666</c:v>
                </c:pt>
                <c:pt idx="7709">
                  <c:v>-10.219873</c:v>
                </c:pt>
                <c:pt idx="7710">
                  <c:v>-10.217079999999999</c:v>
                </c:pt>
                <c:pt idx="7711">
                  <c:v>-10.214288</c:v>
                </c:pt>
                <c:pt idx="7712">
                  <c:v>-10.211498000000001</c:v>
                </c:pt>
                <c:pt idx="7713">
                  <c:v>-10.208709000000001</c:v>
                </c:pt>
                <c:pt idx="7714">
                  <c:v>-10.205920000000001</c:v>
                </c:pt>
                <c:pt idx="7715">
                  <c:v>-10.20313</c:v>
                </c:pt>
                <c:pt idx="7716">
                  <c:v>-10.200343</c:v>
                </c:pt>
                <c:pt idx="7717">
                  <c:v>-10.197556000000001</c:v>
                </c:pt>
                <c:pt idx="7718">
                  <c:v>-10.19477</c:v>
                </c:pt>
                <c:pt idx="7719">
                  <c:v>-10.191985000000001</c:v>
                </c:pt>
                <c:pt idx="7720">
                  <c:v>-10.189197999999999</c:v>
                </c:pt>
                <c:pt idx="7721">
                  <c:v>-10.186415</c:v>
                </c:pt>
                <c:pt idx="7722">
                  <c:v>-10.183631999999999</c:v>
                </c:pt>
                <c:pt idx="7723">
                  <c:v>-10.180847999999999</c:v>
                </c:pt>
                <c:pt idx="7724">
                  <c:v>-10.178065999999999</c:v>
                </c:pt>
                <c:pt idx="7725">
                  <c:v>-10.175286</c:v>
                </c:pt>
                <c:pt idx="7726">
                  <c:v>-10.172504</c:v>
                </c:pt>
                <c:pt idx="7727">
                  <c:v>-10.169724</c:v>
                </c:pt>
                <c:pt idx="7728">
                  <c:v>-10.166945</c:v>
                </c:pt>
                <c:pt idx="7729">
                  <c:v>-10.164166</c:v>
                </c:pt>
                <c:pt idx="7730">
                  <c:v>-10.161389</c:v>
                </c:pt>
                <c:pt idx="7731">
                  <c:v>-10.158609999999999</c:v>
                </c:pt>
                <c:pt idx="7732">
                  <c:v>-10.155834</c:v>
                </c:pt>
                <c:pt idx="7733">
                  <c:v>-10.153058</c:v>
                </c:pt>
                <c:pt idx="7734">
                  <c:v>-10.150283999999999</c:v>
                </c:pt>
                <c:pt idx="7735">
                  <c:v>-10.14751</c:v>
                </c:pt>
                <c:pt idx="7736">
                  <c:v>-10.144735000000001</c:v>
                </c:pt>
                <c:pt idx="7737">
                  <c:v>-10.141961999999999</c:v>
                </c:pt>
                <c:pt idx="7738">
                  <c:v>-10.139191</c:v>
                </c:pt>
                <c:pt idx="7739">
                  <c:v>-10.136418000000001</c:v>
                </c:pt>
                <c:pt idx="7740">
                  <c:v>-10.133648000000001</c:v>
                </c:pt>
                <c:pt idx="7741">
                  <c:v>-10.130877</c:v>
                </c:pt>
                <c:pt idx="7742">
                  <c:v>-10.128107999999999</c:v>
                </c:pt>
                <c:pt idx="7743">
                  <c:v>-10.12534</c:v>
                </c:pt>
                <c:pt idx="7744">
                  <c:v>-10.122572</c:v>
                </c:pt>
                <c:pt idx="7745">
                  <c:v>-10.119804</c:v>
                </c:pt>
                <c:pt idx="7746">
                  <c:v>-10.117037</c:v>
                </c:pt>
                <c:pt idx="7747">
                  <c:v>-10.114272</c:v>
                </c:pt>
                <c:pt idx="7748">
                  <c:v>-10.111506</c:v>
                </c:pt>
                <c:pt idx="7749">
                  <c:v>-10.108743</c:v>
                </c:pt>
                <c:pt idx="7750">
                  <c:v>-10.105976999999999</c:v>
                </c:pt>
                <c:pt idx="7751">
                  <c:v>-10.103213</c:v>
                </c:pt>
                <c:pt idx="7752">
                  <c:v>-10.100453</c:v>
                </c:pt>
                <c:pt idx="7753">
                  <c:v>-10.09769</c:v>
                </c:pt>
                <c:pt idx="7754">
                  <c:v>-10.094929</c:v>
                </c:pt>
                <c:pt idx="7755">
                  <c:v>-10.092169</c:v>
                </c:pt>
                <c:pt idx="7756">
                  <c:v>-10.089408000000001</c:v>
                </c:pt>
                <c:pt idx="7757">
                  <c:v>-10.086651</c:v>
                </c:pt>
                <c:pt idx="7758">
                  <c:v>-10.083890999999999</c:v>
                </c:pt>
                <c:pt idx="7759">
                  <c:v>-10.081135</c:v>
                </c:pt>
                <c:pt idx="7760">
                  <c:v>-10.078377</c:v>
                </c:pt>
                <c:pt idx="7761">
                  <c:v>-10.075621</c:v>
                </c:pt>
                <c:pt idx="7762">
                  <c:v>-10.072863999999999</c:v>
                </c:pt>
                <c:pt idx="7763">
                  <c:v>-10.070109</c:v>
                </c:pt>
                <c:pt idx="7764">
                  <c:v>-10.067356</c:v>
                </c:pt>
                <c:pt idx="7765">
                  <c:v>-10.064603</c:v>
                </c:pt>
                <c:pt idx="7766">
                  <c:v>-10.061851000000001</c:v>
                </c:pt>
                <c:pt idx="7767">
                  <c:v>-10.059097</c:v>
                </c:pt>
                <c:pt idx="7768">
                  <c:v>-10.056347000000001</c:v>
                </c:pt>
                <c:pt idx="7769">
                  <c:v>-10.053597</c:v>
                </c:pt>
                <c:pt idx="7770">
                  <c:v>-10.050845000000001</c:v>
                </c:pt>
                <c:pt idx="7771">
                  <c:v>-10.048097</c:v>
                </c:pt>
                <c:pt idx="7772">
                  <c:v>-10.045348000000001</c:v>
                </c:pt>
                <c:pt idx="7773">
                  <c:v>-10.0426</c:v>
                </c:pt>
                <c:pt idx="7774">
                  <c:v>-10.039852</c:v>
                </c:pt>
                <c:pt idx="7775">
                  <c:v>-10.037106</c:v>
                </c:pt>
                <c:pt idx="7776">
                  <c:v>-10.03436</c:v>
                </c:pt>
                <c:pt idx="7777">
                  <c:v>-10.031613999999999</c:v>
                </c:pt>
                <c:pt idx="7778">
                  <c:v>-10.02887</c:v>
                </c:pt>
                <c:pt idx="7779">
                  <c:v>-10.026126</c:v>
                </c:pt>
                <c:pt idx="7780">
                  <c:v>-10.023383000000001</c:v>
                </c:pt>
                <c:pt idx="7781">
                  <c:v>-10.02064</c:v>
                </c:pt>
                <c:pt idx="7782">
                  <c:v>-10.017899</c:v>
                </c:pt>
                <c:pt idx="7783">
                  <c:v>-10.015158</c:v>
                </c:pt>
                <c:pt idx="7784">
                  <c:v>-10.012416999999999</c:v>
                </c:pt>
                <c:pt idx="7785">
                  <c:v>-10.009677</c:v>
                </c:pt>
                <c:pt idx="7786">
                  <c:v>-10.006938</c:v>
                </c:pt>
                <c:pt idx="7787">
                  <c:v>-10.004199</c:v>
                </c:pt>
                <c:pt idx="7788">
                  <c:v>-10.001462999999999</c:v>
                </c:pt>
                <c:pt idx="7789">
                  <c:v>-9.9987241000000004</c:v>
                </c:pt>
                <c:pt idx="7790">
                  <c:v>-9.9959880999999999</c:v>
                </c:pt>
                <c:pt idx="7791">
                  <c:v>-9.9932534999999998</c:v>
                </c:pt>
                <c:pt idx="7792">
                  <c:v>-9.9905177999999992</c:v>
                </c:pt>
                <c:pt idx="7793">
                  <c:v>-9.9877828999999991</c:v>
                </c:pt>
                <c:pt idx="7794">
                  <c:v>-9.9850499999999993</c:v>
                </c:pt>
                <c:pt idx="7795">
                  <c:v>-9.9823170999999995</c:v>
                </c:pt>
                <c:pt idx="7796">
                  <c:v>-9.9795850000000002</c:v>
                </c:pt>
                <c:pt idx="7797">
                  <c:v>-9.9768533999999995</c:v>
                </c:pt>
                <c:pt idx="7798">
                  <c:v>-9.9741219999999995</c:v>
                </c:pt>
                <c:pt idx="7799">
                  <c:v>-9.9713917999999993</c:v>
                </c:pt>
                <c:pt idx="7800">
                  <c:v>-9.9686614999999996</c:v>
                </c:pt>
                <c:pt idx="7801">
                  <c:v>-9.9659338999999996</c:v>
                </c:pt>
                <c:pt idx="7802">
                  <c:v>-9.9632047999999998</c:v>
                </c:pt>
                <c:pt idx="7803">
                  <c:v>-9.9604769999999991</c:v>
                </c:pt>
                <c:pt idx="7804">
                  <c:v>-9.9577519999999993</c:v>
                </c:pt>
                <c:pt idx="7805">
                  <c:v>-9.9550239000000005</c:v>
                </c:pt>
                <c:pt idx="7806">
                  <c:v>-9.9522992000000006</c:v>
                </c:pt>
                <c:pt idx="7807">
                  <c:v>-9.9495737999999996</c:v>
                </c:pt>
                <c:pt idx="7808">
                  <c:v>-9.9468501000000007</c:v>
                </c:pt>
                <c:pt idx="7809">
                  <c:v>-9.9441269999999999</c:v>
                </c:pt>
                <c:pt idx="7810">
                  <c:v>-9.9414040000000004</c:v>
                </c:pt>
                <c:pt idx="7811">
                  <c:v>-9.9386825000000005</c:v>
                </c:pt>
                <c:pt idx="7812">
                  <c:v>-9.9359587999999999</c:v>
                </c:pt>
                <c:pt idx="7813">
                  <c:v>-9.9332398000000008</c:v>
                </c:pt>
                <c:pt idx="7814">
                  <c:v>-9.9305195000000008</c:v>
                </c:pt>
                <c:pt idx="7815">
                  <c:v>-9.9277996000000002</c:v>
                </c:pt>
                <c:pt idx="7816">
                  <c:v>-9.9250810999999999</c:v>
                </c:pt>
                <c:pt idx="7817">
                  <c:v>-9.9223622000000002</c:v>
                </c:pt>
                <c:pt idx="7818">
                  <c:v>-9.9196457000000002</c:v>
                </c:pt>
                <c:pt idx="7819">
                  <c:v>-9.9169289999999997</c:v>
                </c:pt>
                <c:pt idx="7820">
                  <c:v>-9.9142123000000009</c:v>
                </c:pt>
                <c:pt idx="7821">
                  <c:v>-9.9114979000000005</c:v>
                </c:pt>
                <c:pt idx="7822">
                  <c:v>-9.9087827999999991</c:v>
                </c:pt>
                <c:pt idx="7823">
                  <c:v>-9.9060676000000001</c:v>
                </c:pt>
                <c:pt idx="7824">
                  <c:v>-9.9033555999999994</c:v>
                </c:pt>
                <c:pt idx="7825">
                  <c:v>-9.9006427000000006</c:v>
                </c:pt>
                <c:pt idx="7826">
                  <c:v>-9.8979303000000005</c:v>
                </c:pt>
                <c:pt idx="7827">
                  <c:v>-9.8952191000000003</c:v>
                </c:pt>
                <c:pt idx="7828">
                  <c:v>-9.8925084000000005</c:v>
                </c:pt>
                <c:pt idx="7829">
                  <c:v>-9.8897977000000008</c:v>
                </c:pt>
                <c:pt idx="7830">
                  <c:v>-9.8870877000000004</c:v>
                </c:pt>
                <c:pt idx="7831">
                  <c:v>-9.8843789999999991</c:v>
                </c:pt>
                <c:pt idx="7832">
                  <c:v>-9.8816711000000002</c:v>
                </c:pt>
                <c:pt idx="7833">
                  <c:v>-9.8789633000000006</c:v>
                </c:pt>
                <c:pt idx="7834">
                  <c:v>-9.8762571999999995</c:v>
                </c:pt>
                <c:pt idx="7835">
                  <c:v>-9.8735508000000003</c:v>
                </c:pt>
                <c:pt idx="7836">
                  <c:v>-9.8708446999999992</c:v>
                </c:pt>
                <c:pt idx="7837">
                  <c:v>-9.8681395999999992</c:v>
                </c:pt>
                <c:pt idx="7838">
                  <c:v>-9.8654367999999995</c:v>
                </c:pt>
                <c:pt idx="7839">
                  <c:v>-9.8627334999999992</c:v>
                </c:pt>
                <c:pt idx="7840">
                  <c:v>-9.8600300000000001</c:v>
                </c:pt>
                <c:pt idx="7841">
                  <c:v>-9.8573283000000007</c:v>
                </c:pt>
                <c:pt idx="7842">
                  <c:v>-9.8546268999999995</c:v>
                </c:pt>
                <c:pt idx="7843">
                  <c:v>-9.8519258000000001</c:v>
                </c:pt>
                <c:pt idx="7844">
                  <c:v>-9.8492256999999999</c:v>
                </c:pt>
                <c:pt idx="7845">
                  <c:v>-9.8465258999999996</c:v>
                </c:pt>
                <c:pt idx="7846">
                  <c:v>-9.8438274999999997</c:v>
                </c:pt>
                <c:pt idx="7847">
                  <c:v>-9.8411296000000004</c:v>
                </c:pt>
                <c:pt idx="7848">
                  <c:v>-9.8384321999999997</c:v>
                </c:pt>
                <c:pt idx="7849">
                  <c:v>-9.8357349999999997</c:v>
                </c:pt>
                <c:pt idx="7850">
                  <c:v>-9.8330392999999994</c:v>
                </c:pt>
                <c:pt idx="7851">
                  <c:v>-9.8303425999999998</c:v>
                </c:pt>
                <c:pt idx="7852">
                  <c:v>-9.8276483999999993</c:v>
                </c:pt>
                <c:pt idx="7853">
                  <c:v>-9.8249537999999994</c:v>
                </c:pt>
                <c:pt idx="7854">
                  <c:v>-9.8222612999999992</c:v>
                </c:pt>
                <c:pt idx="7855">
                  <c:v>-9.8195675999999992</c:v>
                </c:pt>
                <c:pt idx="7856">
                  <c:v>-9.8168749000000002</c:v>
                </c:pt>
                <c:pt idx="7857">
                  <c:v>-9.8141826999999999</c:v>
                </c:pt>
                <c:pt idx="7858">
                  <c:v>-9.8114930999999999</c:v>
                </c:pt>
                <c:pt idx="7859">
                  <c:v>-9.8088017999999995</c:v>
                </c:pt>
                <c:pt idx="7860">
                  <c:v>-9.8061126999999999</c:v>
                </c:pt>
                <c:pt idx="7861">
                  <c:v>-9.8034233000000004</c:v>
                </c:pt>
                <c:pt idx="7862">
                  <c:v>-9.8007352999999995</c:v>
                </c:pt>
                <c:pt idx="7863">
                  <c:v>-9.7980470999999998</c:v>
                </c:pt>
                <c:pt idx="7864">
                  <c:v>-9.7953618999999996</c:v>
                </c:pt>
                <c:pt idx="7865">
                  <c:v>-9.7926742000000004</c:v>
                </c:pt>
                <c:pt idx="7866">
                  <c:v>-9.7899890000000003</c:v>
                </c:pt>
                <c:pt idx="7867">
                  <c:v>-9.7873038000000001</c:v>
                </c:pt>
                <c:pt idx="7868">
                  <c:v>-9.7846177000000001</c:v>
                </c:pt>
                <c:pt idx="7869">
                  <c:v>-9.7819345999999996</c:v>
                </c:pt>
                <c:pt idx="7870">
                  <c:v>-9.7792516999999997</c:v>
                </c:pt>
                <c:pt idx="7871">
                  <c:v>-9.7765690999999997</c:v>
                </c:pt>
                <c:pt idx="7872">
                  <c:v>-9.7738879999999995</c:v>
                </c:pt>
                <c:pt idx="7873">
                  <c:v>-9.7712065999999993</c:v>
                </c:pt>
                <c:pt idx="7874">
                  <c:v>-9.7685264000000007</c:v>
                </c:pt>
                <c:pt idx="7875">
                  <c:v>-9.7658459000000004</c:v>
                </c:pt>
                <c:pt idx="7876">
                  <c:v>-9.7631665999999999</c:v>
                </c:pt>
                <c:pt idx="7877">
                  <c:v>-9.7604886999999998</c:v>
                </c:pt>
                <c:pt idx="7878">
                  <c:v>-9.7578093999999993</c:v>
                </c:pt>
                <c:pt idx="7879">
                  <c:v>-9.7551324000000008</c:v>
                </c:pt>
                <c:pt idx="7880">
                  <c:v>-9.7524560000000005</c:v>
                </c:pt>
                <c:pt idx="7881">
                  <c:v>-9.7497796000000001</c:v>
                </c:pt>
                <c:pt idx="7882">
                  <c:v>-9.7471057999999999</c:v>
                </c:pt>
                <c:pt idx="7883">
                  <c:v>-9.7444296000000001</c:v>
                </c:pt>
                <c:pt idx="7884">
                  <c:v>-9.7417572999999997</c:v>
                </c:pt>
                <c:pt idx="7885">
                  <c:v>-9.7390825000000003</c:v>
                </c:pt>
                <c:pt idx="7886">
                  <c:v>-9.7364096</c:v>
                </c:pt>
                <c:pt idx="7887">
                  <c:v>-9.7337383000000006</c:v>
                </c:pt>
                <c:pt idx="7888">
                  <c:v>-9.7310665000000007</c:v>
                </c:pt>
                <c:pt idx="7889">
                  <c:v>-9.7283950000000008</c:v>
                </c:pt>
                <c:pt idx="7890">
                  <c:v>-9.7257245000000001</c:v>
                </c:pt>
                <c:pt idx="7891">
                  <c:v>-9.7230562000000003</c:v>
                </c:pt>
                <c:pt idx="7892">
                  <c:v>-9.7203870000000006</c:v>
                </c:pt>
                <c:pt idx="7893">
                  <c:v>-9.7177199000000005</c:v>
                </c:pt>
                <c:pt idx="7894">
                  <c:v>-9.7150510000000008</c:v>
                </c:pt>
                <c:pt idx="7895">
                  <c:v>-9.7123848000000006</c:v>
                </c:pt>
                <c:pt idx="7896">
                  <c:v>-9.7097175999999994</c:v>
                </c:pt>
                <c:pt idx="7897">
                  <c:v>-9.7070532000000007</c:v>
                </c:pt>
                <c:pt idx="7898">
                  <c:v>-9.7043867000000006</c:v>
                </c:pt>
                <c:pt idx="7899">
                  <c:v>-9.7017225000000007</c:v>
                </c:pt>
                <c:pt idx="7900">
                  <c:v>-9.6990595000000006</c:v>
                </c:pt>
                <c:pt idx="7901">
                  <c:v>-9.6963954999999995</c:v>
                </c:pt>
                <c:pt idx="7902">
                  <c:v>-9.6937335999999998</c:v>
                </c:pt>
                <c:pt idx="7903">
                  <c:v>-9.6910716000000008</c:v>
                </c:pt>
                <c:pt idx="7904">
                  <c:v>-9.6884098999999999</c:v>
                </c:pt>
                <c:pt idx="7905">
                  <c:v>-9.6857501999999993</c:v>
                </c:pt>
                <c:pt idx="7906">
                  <c:v>-9.6830899000000006</c:v>
                </c:pt>
                <c:pt idx="7907">
                  <c:v>-9.6804307000000005</c:v>
                </c:pt>
                <c:pt idx="7908">
                  <c:v>-9.6777727000000002</c:v>
                </c:pt>
                <c:pt idx="7909">
                  <c:v>-9.6751135999999995</c:v>
                </c:pt>
                <c:pt idx="7910">
                  <c:v>-9.6724568000000009</c:v>
                </c:pt>
                <c:pt idx="7911">
                  <c:v>-9.6698000000000004</c:v>
                </c:pt>
                <c:pt idx="7912">
                  <c:v>-9.6671429</c:v>
                </c:pt>
                <c:pt idx="7913">
                  <c:v>-9.6644892999999996</c:v>
                </c:pt>
                <c:pt idx="7914">
                  <c:v>-9.6618329999999997</c:v>
                </c:pt>
                <c:pt idx="7915">
                  <c:v>-9.6591795999999999</c:v>
                </c:pt>
                <c:pt idx="7916">
                  <c:v>-9.6565253999999996</c:v>
                </c:pt>
                <c:pt idx="7917">
                  <c:v>-9.6538722000000003</c:v>
                </c:pt>
                <c:pt idx="7918">
                  <c:v>-9.6512200999999997</c:v>
                </c:pt>
                <c:pt idx="7919">
                  <c:v>-9.6485687999999996</c:v>
                </c:pt>
                <c:pt idx="7920">
                  <c:v>-9.6459174999999995</c:v>
                </c:pt>
                <c:pt idx="7921">
                  <c:v>-9.6432678000000003</c:v>
                </c:pt>
                <c:pt idx="7922">
                  <c:v>-9.6406167000000007</c:v>
                </c:pt>
                <c:pt idx="7923">
                  <c:v>-9.6379693</c:v>
                </c:pt>
                <c:pt idx="7924">
                  <c:v>-9.6353199000000007</c:v>
                </c:pt>
                <c:pt idx="7925">
                  <c:v>-9.6326725</c:v>
                </c:pt>
                <c:pt idx="7926">
                  <c:v>-9.6300244999999993</c:v>
                </c:pt>
                <c:pt idx="7927">
                  <c:v>-9.6273780000000002</c:v>
                </c:pt>
                <c:pt idx="7928">
                  <c:v>-9.6247317999999993</c:v>
                </c:pt>
                <c:pt idx="7929">
                  <c:v>-9.6220870999999999</c:v>
                </c:pt>
                <c:pt idx="7930">
                  <c:v>-9.6194421999999999</c:v>
                </c:pt>
                <c:pt idx="7931">
                  <c:v>-9.6167978999999999</c:v>
                </c:pt>
                <c:pt idx="7932">
                  <c:v>-9.6141549000000008</c:v>
                </c:pt>
                <c:pt idx="7933">
                  <c:v>-9.6115106000000008</c:v>
                </c:pt>
                <c:pt idx="7934">
                  <c:v>-9.6088690999999997</c:v>
                </c:pt>
                <c:pt idx="7935">
                  <c:v>-9.6062285000000003</c:v>
                </c:pt>
                <c:pt idx="7936">
                  <c:v>-9.6035866999999993</c:v>
                </c:pt>
                <c:pt idx="7937">
                  <c:v>-9.6009477000000008</c:v>
                </c:pt>
                <c:pt idx="7938">
                  <c:v>-9.5983066000000008</c:v>
                </c:pt>
                <c:pt idx="7939">
                  <c:v>-9.5956676999999999</c:v>
                </c:pt>
                <c:pt idx="7940">
                  <c:v>-9.5930292999999995</c:v>
                </c:pt>
                <c:pt idx="7941">
                  <c:v>-9.5903922000000001</c:v>
                </c:pt>
                <c:pt idx="7942">
                  <c:v>-9.5877551000000008</c:v>
                </c:pt>
                <c:pt idx="7943">
                  <c:v>-9.5851191</c:v>
                </c:pt>
                <c:pt idx="7944">
                  <c:v>-9.5824817000000007</c:v>
                </c:pt>
                <c:pt idx="7945">
                  <c:v>-9.5798463999999992</c:v>
                </c:pt>
                <c:pt idx="7946">
                  <c:v>-9.5772124999999999</c:v>
                </c:pt>
                <c:pt idx="7947">
                  <c:v>-9.5745769999999997</c:v>
                </c:pt>
                <c:pt idx="7948">
                  <c:v>-9.5719437999999997</c:v>
                </c:pt>
                <c:pt idx="7949">
                  <c:v>-9.5693114999999995</c:v>
                </c:pt>
                <c:pt idx="7950">
                  <c:v>-9.5666805000000004</c:v>
                </c:pt>
                <c:pt idx="7951">
                  <c:v>-9.5640493000000006</c:v>
                </c:pt>
                <c:pt idx="7952">
                  <c:v>-9.5614179999999998</c:v>
                </c:pt>
                <c:pt idx="7953">
                  <c:v>-9.5587873000000005</c:v>
                </c:pt>
                <c:pt idx="7954">
                  <c:v>-9.5561579999999999</c:v>
                </c:pt>
                <c:pt idx="7955">
                  <c:v>-9.5535285000000005</c:v>
                </c:pt>
                <c:pt idx="7956">
                  <c:v>-9.5508997999999998</c:v>
                </c:pt>
                <c:pt idx="7957">
                  <c:v>-9.5482724000000001</c:v>
                </c:pt>
                <c:pt idx="7958">
                  <c:v>-9.5456441999999999</c:v>
                </c:pt>
                <c:pt idx="7959">
                  <c:v>-9.5430173000000007</c:v>
                </c:pt>
                <c:pt idx="7960">
                  <c:v>-9.5403915999999995</c:v>
                </c:pt>
                <c:pt idx="7961">
                  <c:v>-9.5377656999999996</c:v>
                </c:pt>
                <c:pt idx="7962">
                  <c:v>-9.5351423999999998</c:v>
                </c:pt>
                <c:pt idx="7963">
                  <c:v>-9.5325176000000003</c:v>
                </c:pt>
                <c:pt idx="7964">
                  <c:v>-9.5298946999999998</c:v>
                </c:pt>
                <c:pt idx="7965">
                  <c:v>-9.5272714999999994</c:v>
                </c:pt>
                <c:pt idx="7966">
                  <c:v>-9.5246479999999991</c:v>
                </c:pt>
                <c:pt idx="7967">
                  <c:v>-9.5220280000000006</c:v>
                </c:pt>
                <c:pt idx="7968">
                  <c:v>-9.5194062000000006</c:v>
                </c:pt>
                <c:pt idx="7969">
                  <c:v>-9.5167868000000002</c:v>
                </c:pt>
                <c:pt idx="7970">
                  <c:v>-9.5141659999999995</c:v>
                </c:pt>
                <c:pt idx="7971">
                  <c:v>-9.5115459999999992</c:v>
                </c:pt>
                <c:pt idx="7972">
                  <c:v>-9.5089278000000004</c:v>
                </c:pt>
                <c:pt idx="7973">
                  <c:v>-9.5063109000000008</c:v>
                </c:pt>
                <c:pt idx="7974">
                  <c:v>-9.5036930000000002</c:v>
                </c:pt>
                <c:pt idx="7975">
                  <c:v>-9.5010768999999993</c:v>
                </c:pt>
                <c:pt idx="7976">
                  <c:v>-9.4984602999999996</c:v>
                </c:pt>
                <c:pt idx="7977">
                  <c:v>-9.4958448999999998</c:v>
                </c:pt>
                <c:pt idx="7978">
                  <c:v>-9.4932292999999994</c:v>
                </c:pt>
                <c:pt idx="7979">
                  <c:v>-9.4906141000000002</c:v>
                </c:pt>
                <c:pt idx="7980">
                  <c:v>-9.4880022000000004</c:v>
                </c:pt>
                <c:pt idx="7981">
                  <c:v>-9.4853898999999995</c:v>
                </c:pt>
                <c:pt idx="7982">
                  <c:v>-9.4827767999999999</c:v>
                </c:pt>
                <c:pt idx="7983">
                  <c:v>-9.4801640999999996</c:v>
                </c:pt>
                <c:pt idx="7984">
                  <c:v>-9.4775530000000003</c:v>
                </c:pt>
                <c:pt idx="7985">
                  <c:v>-9.4749429999999997</c:v>
                </c:pt>
                <c:pt idx="7986">
                  <c:v>-9.4723322999999997</c:v>
                </c:pt>
                <c:pt idx="7987">
                  <c:v>-9.4697227999999996</c:v>
                </c:pt>
                <c:pt idx="7988">
                  <c:v>-9.4671140000000005</c:v>
                </c:pt>
                <c:pt idx="7989">
                  <c:v>-9.4645063999999994</c:v>
                </c:pt>
                <c:pt idx="7990">
                  <c:v>-9.4618987000000008</c:v>
                </c:pt>
                <c:pt idx="7991">
                  <c:v>-9.4592928000000001</c:v>
                </c:pt>
                <c:pt idx="7992">
                  <c:v>-9.4566859000000001</c:v>
                </c:pt>
                <c:pt idx="7993">
                  <c:v>-9.4540807000000004</c:v>
                </c:pt>
                <c:pt idx="7994">
                  <c:v>-9.4514753999999996</c:v>
                </c:pt>
                <c:pt idx="7995">
                  <c:v>-9.4488705</c:v>
                </c:pt>
                <c:pt idx="7996">
                  <c:v>-9.4462665999999995</c:v>
                </c:pt>
                <c:pt idx="7997">
                  <c:v>-9.4436640000000001</c:v>
                </c:pt>
                <c:pt idx="7998">
                  <c:v>-9.4410602000000008</c:v>
                </c:pt>
                <c:pt idx="7999">
                  <c:v>-9.4384575999999996</c:v>
                </c:pt>
                <c:pt idx="8000">
                  <c:v>-9.4358574999999991</c:v>
                </c:pt>
                <c:pt idx="8001">
                  <c:v>-9.4332566</c:v>
                </c:pt>
                <c:pt idx="8002">
                  <c:v>-9.4306553999999991</c:v>
                </c:pt>
                <c:pt idx="8003">
                  <c:v>-9.4280554999999993</c:v>
                </c:pt>
                <c:pt idx="8004">
                  <c:v>-9.4254563000000005</c:v>
                </c:pt>
                <c:pt idx="8005">
                  <c:v>-9.4228591000000002</c:v>
                </c:pt>
                <c:pt idx="8006">
                  <c:v>-9.4202604000000001</c:v>
                </c:pt>
                <c:pt idx="8007">
                  <c:v>-9.4176626999999993</c:v>
                </c:pt>
                <c:pt idx="8008">
                  <c:v>-9.4150679999999998</c:v>
                </c:pt>
                <c:pt idx="8009">
                  <c:v>-9.4124698000000002</c:v>
                </c:pt>
                <c:pt idx="8010">
                  <c:v>-9.4098761999999994</c:v>
                </c:pt>
                <c:pt idx="8011">
                  <c:v>-9.4072808999999999</c:v>
                </c:pt>
                <c:pt idx="8012">
                  <c:v>-9.4046856999999999</c:v>
                </c:pt>
                <c:pt idx="8013">
                  <c:v>-9.402094</c:v>
                </c:pt>
                <c:pt idx="8014">
                  <c:v>-9.3995007000000008</c:v>
                </c:pt>
                <c:pt idx="8015">
                  <c:v>-9.3969073999999999</c:v>
                </c:pt>
                <c:pt idx="8016">
                  <c:v>-9.3943157999999993</c:v>
                </c:pt>
                <c:pt idx="8017">
                  <c:v>-9.3917246999999993</c:v>
                </c:pt>
                <c:pt idx="8018">
                  <c:v>-9.3891331000000005</c:v>
                </c:pt>
                <c:pt idx="8019">
                  <c:v>-9.3865434000000008</c:v>
                </c:pt>
                <c:pt idx="8020">
                  <c:v>-9.3839550000000003</c:v>
                </c:pt>
                <c:pt idx="8021">
                  <c:v>-9.3813659000000005</c:v>
                </c:pt>
                <c:pt idx="8022">
                  <c:v>-9.3787780999999999</c:v>
                </c:pt>
                <c:pt idx="8023">
                  <c:v>-9.3761899999999994</c:v>
                </c:pt>
                <c:pt idx="8024">
                  <c:v>-9.3736028999999998</c:v>
                </c:pt>
                <c:pt idx="8025">
                  <c:v>-9.3710172000000007</c:v>
                </c:pt>
                <c:pt idx="8026">
                  <c:v>-9.3684308999999999</c:v>
                </c:pt>
                <c:pt idx="8027">
                  <c:v>-9.3658450999999996</c:v>
                </c:pt>
                <c:pt idx="8028">
                  <c:v>-9.3632609000000002</c:v>
                </c:pt>
                <c:pt idx="8029">
                  <c:v>-9.3606759000000004</c:v>
                </c:pt>
                <c:pt idx="8030">
                  <c:v>-9.3580939000000001</c:v>
                </c:pt>
                <c:pt idx="8031">
                  <c:v>-9.3555097000000007</c:v>
                </c:pt>
                <c:pt idx="8032">
                  <c:v>-9.3529291000000008</c:v>
                </c:pt>
                <c:pt idx="8033">
                  <c:v>-9.3503465000000006</c:v>
                </c:pt>
                <c:pt idx="8034">
                  <c:v>-9.3477657999999995</c:v>
                </c:pt>
                <c:pt idx="8035">
                  <c:v>-9.3451850000000007</c:v>
                </c:pt>
                <c:pt idx="8036">
                  <c:v>-9.3426054999999995</c:v>
                </c:pt>
                <c:pt idx="8037">
                  <c:v>-9.3400256000000006</c:v>
                </c:pt>
                <c:pt idx="8038">
                  <c:v>-9.3374479000000008</c:v>
                </c:pt>
                <c:pt idx="8039">
                  <c:v>-9.3348697999999999</c:v>
                </c:pt>
                <c:pt idx="8040">
                  <c:v>-9.3322915000000002</c:v>
                </c:pt>
                <c:pt idx="8041">
                  <c:v>-9.3297152000000008</c:v>
                </c:pt>
                <c:pt idx="8042">
                  <c:v>-9.3271400999999994</c:v>
                </c:pt>
                <c:pt idx="8043">
                  <c:v>-9.3245635999999994</c:v>
                </c:pt>
                <c:pt idx="8044">
                  <c:v>-9.3219884000000004</c:v>
                </c:pt>
                <c:pt idx="8045">
                  <c:v>-9.3194139000000007</c:v>
                </c:pt>
                <c:pt idx="8046">
                  <c:v>-9.3168401999999997</c:v>
                </c:pt>
                <c:pt idx="8047">
                  <c:v>-9.3142657</c:v>
                </c:pt>
                <c:pt idx="8048">
                  <c:v>-9.3116933</c:v>
                </c:pt>
                <c:pt idx="8049">
                  <c:v>-9.3091212999999993</c:v>
                </c:pt>
                <c:pt idx="8050">
                  <c:v>-9.3065496000000003</c:v>
                </c:pt>
                <c:pt idx="8051">
                  <c:v>-9.303979</c:v>
                </c:pt>
                <c:pt idx="8052">
                  <c:v>-9.3014092000000002</c:v>
                </c:pt>
                <c:pt idx="8053">
                  <c:v>-9.2988397000000003</c:v>
                </c:pt>
                <c:pt idx="8054">
                  <c:v>-9.2962699000000004</c:v>
                </c:pt>
                <c:pt idx="8055">
                  <c:v>-9.2937002</c:v>
                </c:pt>
                <c:pt idx="8056">
                  <c:v>-9.2911335000000008</c:v>
                </c:pt>
                <c:pt idx="8057">
                  <c:v>-9.2885661000000006</c:v>
                </c:pt>
                <c:pt idx="8058">
                  <c:v>-9.2859984999999998</c:v>
                </c:pt>
                <c:pt idx="8059">
                  <c:v>-9.2834337999999992</c:v>
                </c:pt>
                <c:pt idx="8060">
                  <c:v>-9.2808665000000001</c:v>
                </c:pt>
                <c:pt idx="8061">
                  <c:v>-9.2783026</c:v>
                </c:pt>
                <c:pt idx="8062">
                  <c:v>-9.2757372</c:v>
                </c:pt>
                <c:pt idx="8063">
                  <c:v>-9.2731729000000005</c:v>
                </c:pt>
                <c:pt idx="8064">
                  <c:v>-9.2706117999999993</c:v>
                </c:pt>
                <c:pt idx="8065">
                  <c:v>-9.2680477000000003</c:v>
                </c:pt>
                <c:pt idx="8066">
                  <c:v>-9.2654856999999993</c:v>
                </c:pt>
                <c:pt idx="8067">
                  <c:v>-9.2629239000000005</c:v>
                </c:pt>
                <c:pt idx="8068">
                  <c:v>-9.2603615000000001</c:v>
                </c:pt>
                <c:pt idx="8069">
                  <c:v>-9.2578028000000003</c:v>
                </c:pt>
                <c:pt idx="8070">
                  <c:v>-9.2552427000000002</c:v>
                </c:pt>
                <c:pt idx="8071">
                  <c:v>-9.2526846999999997</c:v>
                </c:pt>
                <c:pt idx="8072">
                  <c:v>-9.2501248</c:v>
                </c:pt>
                <c:pt idx="8073">
                  <c:v>-9.2475664000000002</c:v>
                </c:pt>
                <c:pt idx="8074">
                  <c:v>-9.2450095000000001</c:v>
                </c:pt>
                <c:pt idx="8075">
                  <c:v>-9.2424531999999999</c:v>
                </c:pt>
                <c:pt idx="8076">
                  <c:v>-9.2398965000000004</c:v>
                </c:pt>
                <c:pt idx="8077">
                  <c:v>-9.2373417999999994</c:v>
                </c:pt>
                <c:pt idx="8078">
                  <c:v>-9.2347851999999993</c:v>
                </c:pt>
                <c:pt idx="8079">
                  <c:v>-9.2322316999999998</c:v>
                </c:pt>
                <c:pt idx="8080">
                  <c:v>-9.2296773999999999</c:v>
                </c:pt>
                <c:pt idx="8081">
                  <c:v>-9.2271242999999998</c:v>
                </c:pt>
                <c:pt idx="8082">
                  <c:v>-9.2245722000000008</c:v>
                </c:pt>
                <c:pt idx="8083">
                  <c:v>-9.2220188000000007</c:v>
                </c:pt>
                <c:pt idx="8084">
                  <c:v>-9.2194664999999993</c:v>
                </c:pt>
                <c:pt idx="8085">
                  <c:v>-9.2169161000000006</c:v>
                </c:pt>
                <c:pt idx="8086">
                  <c:v>-9.2143666999999994</c:v>
                </c:pt>
                <c:pt idx="8087">
                  <c:v>-9.2118164</c:v>
                </c:pt>
                <c:pt idx="8088">
                  <c:v>-9.2092661000000007</c:v>
                </c:pt>
                <c:pt idx="8089">
                  <c:v>-9.2067178999999992</c:v>
                </c:pt>
                <c:pt idx="8090">
                  <c:v>-9.2041690999999997</c:v>
                </c:pt>
                <c:pt idx="8091">
                  <c:v>-9.2016215999999993</c:v>
                </c:pt>
                <c:pt idx="8092">
                  <c:v>-9.1990742000000001</c:v>
                </c:pt>
                <c:pt idx="8093">
                  <c:v>-9.1965287999999994</c:v>
                </c:pt>
                <c:pt idx="8094">
                  <c:v>-9.1939826</c:v>
                </c:pt>
                <c:pt idx="8095">
                  <c:v>-9.1914385000000003</c:v>
                </c:pt>
                <c:pt idx="8096">
                  <c:v>-9.1888930000000002</c:v>
                </c:pt>
                <c:pt idx="8097">
                  <c:v>-9.1863478000000001</c:v>
                </c:pt>
                <c:pt idx="8098">
                  <c:v>-9.1838045000000008</c:v>
                </c:pt>
                <c:pt idx="8099">
                  <c:v>-9.1812623000000002</c:v>
                </c:pt>
                <c:pt idx="8100">
                  <c:v>-9.1787202000000008</c:v>
                </c:pt>
                <c:pt idx="8101">
                  <c:v>-9.1761789</c:v>
                </c:pt>
                <c:pt idx="8102">
                  <c:v>-9.1736371000000005</c:v>
                </c:pt>
                <c:pt idx="8103">
                  <c:v>-9.1710957999999998</c:v>
                </c:pt>
                <c:pt idx="8104">
                  <c:v>-9.1685555000000001</c:v>
                </c:pt>
                <c:pt idx="8105">
                  <c:v>-9.1660161999999996</c:v>
                </c:pt>
                <c:pt idx="8106">
                  <c:v>-9.1634767999999998</c:v>
                </c:pt>
                <c:pt idx="8107">
                  <c:v>-9.1609391999999996</c:v>
                </c:pt>
                <c:pt idx="8108">
                  <c:v>-9.1584015000000001</c:v>
                </c:pt>
                <c:pt idx="8109">
                  <c:v>-9.1558636999999994</c:v>
                </c:pt>
                <c:pt idx="8110">
                  <c:v>-9.1533279000000007</c:v>
                </c:pt>
                <c:pt idx="8111">
                  <c:v>-9.1507915999999998</c:v>
                </c:pt>
                <c:pt idx="8112">
                  <c:v>-9.1482550000000007</c:v>
                </c:pt>
                <c:pt idx="8113">
                  <c:v>-9.1457210999999994</c:v>
                </c:pt>
                <c:pt idx="8114">
                  <c:v>-9.1431871999999998</c:v>
                </c:pt>
                <c:pt idx="8115">
                  <c:v>-9.1406542000000002</c:v>
                </c:pt>
                <c:pt idx="8116">
                  <c:v>-9.1381198999999995</c:v>
                </c:pt>
                <c:pt idx="8117">
                  <c:v>-9.1355871000000004</c:v>
                </c:pt>
                <c:pt idx="8118">
                  <c:v>-9.1330545999999995</c:v>
                </c:pt>
                <c:pt idx="8119">
                  <c:v>-9.1305239999999994</c:v>
                </c:pt>
                <c:pt idx="8120">
                  <c:v>-9.127993</c:v>
                </c:pt>
                <c:pt idx="8121">
                  <c:v>-9.1254611000000008</c:v>
                </c:pt>
                <c:pt idx="8122">
                  <c:v>-9.1229332000000003</c:v>
                </c:pt>
                <c:pt idx="8123">
                  <c:v>-9.1204025000000009</c:v>
                </c:pt>
                <c:pt idx="8124">
                  <c:v>-9.1178735999999994</c:v>
                </c:pt>
                <c:pt idx="8125">
                  <c:v>-9.1153466000000005</c:v>
                </c:pt>
                <c:pt idx="8126">
                  <c:v>-9.1128198000000005</c:v>
                </c:pt>
                <c:pt idx="8127">
                  <c:v>-9.1102924999999999</c:v>
                </c:pt>
                <c:pt idx="8128">
                  <c:v>-9.1077665999999997</c:v>
                </c:pt>
                <c:pt idx="8129">
                  <c:v>-9.1052397000000003</c:v>
                </c:pt>
                <c:pt idx="8130">
                  <c:v>-9.1027147999999993</c:v>
                </c:pt>
                <c:pt idx="8131">
                  <c:v>-9.1001898000000008</c:v>
                </c:pt>
                <c:pt idx="8132">
                  <c:v>-9.0976651000000004</c:v>
                </c:pt>
                <c:pt idx="8133">
                  <c:v>-9.0951426000000009</c:v>
                </c:pt>
                <c:pt idx="8134">
                  <c:v>-9.0926203000000001</c:v>
                </c:pt>
                <c:pt idx="8135">
                  <c:v>-9.0900970000000001</c:v>
                </c:pt>
                <c:pt idx="8136">
                  <c:v>-9.0875754999999998</c:v>
                </c:pt>
                <c:pt idx="8137">
                  <c:v>-9.0850542999999995</c:v>
                </c:pt>
                <c:pt idx="8138">
                  <c:v>-9.0825332999999997</c:v>
                </c:pt>
                <c:pt idx="8139">
                  <c:v>-9.0800134000000003</c:v>
                </c:pt>
                <c:pt idx="8140">
                  <c:v>-9.0774944000000009</c:v>
                </c:pt>
                <c:pt idx="8141">
                  <c:v>-9.0749738999999998</c:v>
                </c:pt>
                <c:pt idx="8142">
                  <c:v>-9.0724561000000001</c:v>
                </c:pt>
                <c:pt idx="8143">
                  <c:v>-9.0699390999999991</c:v>
                </c:pt>
                <c:pt idx="8144">
                  <c:v>-9.0674203000000002</c:v>
                </c:pt>
                <c:pt idx="8145">
                  <c:v>-9.0649034000000004</c:v>
                </c:pt>
                <c:pt idx="8146">
                  <c:v>-9.0623880999999997</c:v>
                </c:pt>
                <c:pt idx="8147">
                  <c:v>-9.0598717999999998</c:v>
                </c:pt>
                <c:pt idx="8148">
                  <c:v>-9.0573558999999992</c:v>
                </c:pt>
                <c:pt idx="8149">
                  <c:v>-9.0548427</c:v>
                </c:pt>
                <c:pt idx="8150">
                  <c:v>-9.0523282999999992</c:v>
                </c:pt>
                <c:pt idx="8151">
                  <c:v>-9.0498148999999994</c:v>
                </c:pt>
                <c:pt idx="8152">
                  <c:v>-9.0473020999999996</c:v>
                </c:pt>
                <c:pt idx="8153">
                  <c:v>-9.0447894000000009</c:v>
                </c:pt>
                <c:pt idx="8154">
                  <c:v>-9.0422776000000002</c:v>
                </c:pt>
                <c:pt idx="8155">
                  <c:v>-9.0397665000000007</c:v>
                </c:pt>
                <c:pt idx="8156">
                  <c:v>-9.0372561999999999</c:v>
                </c:pt>
                <c:pt idx="8157">
                  <c:v>-9.0347463000000001</c:v>
                </c:pt>
                <c:pt idx="8158">
                  <c:v>-9.0322370999999997</c:v>
                </c:pt>
                <c:pt idx="8159">
                  <c:v>-9.0297275999999993</c:v>
                </c:pt>
                <c:pt idx="8160">
                  <c:v>-9.0272199999999998</c:v>
                </c:pt>
                <c:pt idx="8161">
                  <c:v>-9.0247115000000004</c:v>
                </c:pt>
                <c:pt idx="8162">
                  <c:v>-9.0222046999999996</c:v>
                </c:pt>
                <c:pt idx="8163">
                  <c:v>-9.0196974999999995</c:v>
                </c:pt>
                <c:pt idx="8164">
                  <c:v>-9.0171922999999996</c:v>
                </c:pt>
                <c:pt idx="8165">
                  <c:v>-9.0146862999999993</c:v>
                </c:pt>
                <c:pt idx="8166">
                  <c:v>-9.0121803000000007</c:v>
                </c:pt>
                <c:pt idx="8167">
                  <c:v>-9.0096769000000005</c:v>
                </c:pt>
                <c:pt idx="8168">
                  <c:v>-9.0071715999999995</c:v>
                </c:pt>
                <c:pt idx="8169">
                  <c:v>-9.0046698000000003</c:v>
                </c:pt>
                <c:pt idx="8170">
                  <c:v>-9.0021658000000002</c:v>
                </c:pt>
                <c:pt idx="8171">
                  <c:v>-8.9996652000000008</c:v>
                </c:pt>
                <c:pt idx="8172">
                  <c:v>-8.9971616999999995</c:v>
                </c:pt>
                <c:pt idx="8173">
                  <c:v>-8.9946617</c:v>
                </c:pt>
                <c:pt idx="8174">
                  <c:v>-8.9921611000000006</c:v>
                </c:pt>
                <c:pt idx="8175">
                  <c:v>-8.9896607999999993</c:v>
                </c:pt>
                <c:pt idx="8176">
                  <c:v>-8.9871616999999997</c:v>
                </c:pt>
                <c:pt idx="8177">
                  <c:v>-8.9846634999999999</c:v>
                </c:pt>
                <c:pt idx="8178">
                  <c:v>-8.9821635000000004</c:v>
                </c:pt>
                <c:pt idx="8179">
                  <c:v>-8.9796662999999999</c:v>
                </c:pt>
                <c:pt idx="8180">
                  <c:v>-8.9771693999999993</c:v>
                </c:pt>
                <c:pt idx="8181">
                  <c:v>-8.9746732999999992</c:v>
                </c:pt>
                <c:pt idx="8182">
                  <c:v>-8.9721753999999994</c:v>
                </c:pt>
                <c:pt idx="8183">
                  <c:v>-8.9696798999999992</c:v>
                </c:pt>
                <c:pt idx="8184">
                  <c:v>-8.9671853000000006</c:v>
                </c:pt>
                <c:pt idx="8185">
                  <c:v>-8.9646916000000001</c:v>
                </c:pt>
                <c:pt idx="8186">
                  <c:v>-8.9621970999999991</c:v>
                </c:pt>
                <c:pt idx="8187">
                  <c:v>-8.9597020999999994</c:v>
                </c:pt>
                <c:pt idx="8188">
                  <c:v>-8.9572109999999991</c:v>
                </c:pt>
                <c:pt idx="8189">
                  <c:v>-8.9547191999999995</c:v>
                </c:pt>
                <c:pt idx="8190">
                  <c:v>-8.9522276000000005</c:v>
                </c:pt>
                <c:pt idx="8191">
                  <c:v>-8.9497345999999993</c:v>
                </c:pt>
                <c:pt idx="8192">
                  <c:v>-8.9472448</c:v>
                </c:pt>
                <c:pt idx="8193">
                  <c:v>-8.9447548000000001</c:v>
                </c:pt>
                <c:pt idx="8194">
                  <c:v>-8.9422653000000007</c:v>
                </c:pt>
                <c:pt idx="8195">
                  <c:v>-8.9397760000000002</c:v>
                </c:pt>
                <c:pt idx="8196">
                  <c:v>-8.9372872999999995</c:v>
                </c:pt>
                <c:pt idx="8197">
                  <c:v>-8.9348001000000004</c:v>
                </c:pt>
                <c:pt idx="8198">
                  <c:v>-8.9323131</c:v>
                </c:pt>
                <c:pt idx="8199">
                  <c:v>-8.9298263000000002</c:v>
                </c:pt>
                <c:pt idx="8200">
                  <c:v>-8.9273396999999992</c:v>
                </c:pt>
                <c:pt idx="8201">
                  <c:v>-8.9248537999999993</c:v>
                </c:pt>
                <c:pt idx="8202">
                  <c:v>-8.9223689999999998</c:v>
                </c:pt>
                <c:pt idx="8203">
                  <c:v>-8.9198837999999991</c:v>
                </c:pt>
                <c:pt idx="8204">
                  <c:v>-8.9174007</c:v>
                </c:pt>
                <c:pt idx="8205">
                  <c:v>-8.9149171000000003</c:v>
                </c:pt>
                <c:pt idx="8206">
                  <c:v>-8.9124326000000007</c:v>
                </c:pt>
                <c:pt idx="8207">
                  <c:v>-8.9099515999999994</c:v>
                </c:pt>
                <c:pt idx="8208">
                  <c:v>-8.9074694999999995</c:v>
                </c:pt>
                <c:pt idx="8209">
                  <c:v>-8.9049888999999993</c:v>
                </c:pt>
                <c:pt idx="8210">
                  <c:v>-8.9025069000000006</c:v>
                </c:pt>
                <c:pt idx="8211">
                  <c:v>-8.9000275000000002</c:v>
                </c:pt>
                <c:pt idx="8212">
                  <c:v>-8.8975483000000004</c:v>
                </c:pt>
                <c:pt idx="8213">
                  <c:v>-8.8950674999999997</c:v>
                </c:pt>
                <c:pt idx="8214">
                  <c:v>-8.8925900999999996</c:v>
                </c:pt>
                <c:pt idx="8215">
                  <c:v>-8.8901129999999995</c:v>
                </c:pt>
                <c:pt idx="8216">
                  <c:v>-8.8876345000000008</c:v>
                </c:pt>
                <c:pt idx="8217">
                  <c:v>-8.8851583000000005</c:v>
                </c:pt>
                <c:pt idx="8218">
                  <c:v>-8.8826812000000004</c:v>
                </c:pt>
                <c:pt idx="8219">
                  <c:v>-8.8802047000000002</c:v>
                </c:pt>
                <c:pt idx="8220">
                  <c:v>-8.8777296999999997</c:v>
                </c:pt>
                <c:pt idx="8221">
                  <c:v>-8.8752540999999994</c:v>
                </c:pt>
                <c:pt idx="8222">
                  <c:v>-8.8727803000000005</c:v>
                </c:pt>
                <c:pt idx="8223">
                  <c:v>-8.8703067000000004</c:v>
                </c:pt>
                <c:pt idx="8224">
                  <c:v>-8.8678346000000001</c:v>
                </c:pt>
                <c:pt idx="8225">
                  <c:v>-8.8653606000000007</c:v>
                </c:pt>
                <c:pt idx="8226">
                  <c:v>-8.8628885999999998</c:v>
                </c:pt>
                <c:pt idx="8227">
                  <c:v>-8.8604158999999996</c:v>
                </c:pt>
                <c:pt idx="8228">
                  <c:v>-8.8579460000000001</c:v>
                </c:pt>
                <c:pt idx="8229">
                  <c:v>-8.8554752000000008</c:v>
                </c:pt>
                <c:pt idx="8230">
                  <c:v>-8.8530066999999999</c:v>
                </c:pt>
                <c:pt idx="8231">
                  <c:v>-8.8505365000000005</c:v>
                </c:pt>
                <c:pt idx="8232">
                  <c:v>-8.8480670999999997</c:v>
                </c:pt>
                <c:pt idx="8233">
                  <c:v>-8.8455990999999994</c:v>
                </c:pt>
                <c:pt idx="8234">
                  <c:v>-8.8431303000000003</c:v>
                </c:pt>
                <c:pt idx="8235">
                  <c:v>-8.8406637000000003</c:v>
                </c:pt>
                <c:pt idx="8236">
                  <c:v>-8.8381969999999992</c:v>
                </c:pt>
                <c:pt idx="8237">
                  <c:v>-8.8357303999999992</c:v>
                </c:pt>
                <c:pt idx="8238">
                  <c:v>-8.8332650000000008</c:v>
                </c:pt>
                <c:pt idx="8239">
                  <c:v>-8.8308005000000005</c:v>
                </c:pt>
                <c:pt idx="8240">
                  <c:v>-8.8283356000000008</c:v>
                </c:pt>
                <c:pt idx="8241">
                  <c:v>-8.8258706999999994</c:v>
                </c:pt>
                <c:pt idx="8242">
                  <c:v>-8.8234084999999993</c:v>
                </c:pt>
                <c:pt idx="8243">
                  <c:v>-8.8209458000000005</c:v>
                </c:pt>
                <c:pt idx="8244">
                  <c:v>-8.8184818000000007</c:v>
                </c:pt>
                <c:pt idx="8245">
                  <c:v>-8.8160214999999997</c:v>
                </c:pt>
                <c:pt idx="8246">
                  <c:v>-8.8135592000000003</c:v>
                </c:pt>
                <c:pt idx="8247">
                  <c:v>-8.8110984000000006</c:v>
                </c:pt>
                <c:pt idx="8248">
                  <c:v>-8.8086369999999992</c:v>
                </c:pt>
                <c:pt idx="8249">
                  <c:v>-8.8061782999999991</c:v>
                </c:pt>
                <c:pt idx="8250">
                  <c:v>-8.8037191999999997</c:v>
                </c:pt>
                <c:pt idx="8251">
                  <c:v>-8.8012613999999996</c:v>
                </c:pt>
                <c:pt idx="8252">
                  <c:v>-8.7988022000000008</c:v>
                </c:pt>
                <c:pt idx="8253">
                  <c:v>-8.7963448</c:v>
                </c:pt>
                <c:pt idx="8254">
                  <c:v>-8.7938873999999991</c:v>
                </c:pt>
                <c:pt idx="8255">
                  <c:v>-8.7914320000000004</c:v>
                </c:pt>
                <c:pt idx="8256">
                  <c:v>-8.7889759999999999</c:v>
                </c:pt>
                <c:pt idx="8257">
                  <c:v>-8.7865202</c:v>
                </c:pt>
                <c:pt idx="8258">
                  <c:v>-8.7840649000000006</c:v>
                </c:pt>
                <c:pt idx="8259">
                  <c:v>-8.7816098999999994</c:v>
                </c:pt>
                <c:pt idx="8260">
                  <c:v>-8.7791552999999993</c:v>
                </c:pt>
                <c:pt idx="8261">
                  <c:v>-8.7767035</c:v>
                </c:pt>
                <c:pt idx="8262">
                  <c:v>-8.7742506999999996</c:v>
                </c:pt>
                <c:pt idx="8263">
                  <c:v>-8.7717978999999993</c:v>
                </c:pt>
                <c:pt idx="8264">
                  <c:v>-8.7693454000000006</c:v>
                </c:pt>
                <c:pt idx="8265">
                  <c:v>-8.7668944999999994</c:v>
                </c:pt>
                <c:pt idx="8266">
                  <c:v>-8.7644433999999993</c:v>
                </c:pt>
                <c:pt idx="8267">
                  <c:v>-8.7619954999999994</c:v>
                </c:pt>
                <c:pt idx="8268">
                  <c:v>-8.7595443</c:v>
                </c:pt>
                <c:pt idx="8269">
                  <c:v>-8.7570957000000007</c:v>
                </c:pt>
                <c:pt idx="8270">
                  <c:v>-8.7546470999999997</c:v>
                </c:pt>
                <c:pt idx="8271">
                  <c:v>-8.7521982000000005</c:v>
                </c:pt>
                <c:pt idx="8272">
                  <c:v>-8.7497503999999999</c:v>
                </c:pt>
                <c:pt idx="8273">
                  <c:v>-8.7473037999999992</c:v>
                </c:pt>
                <c:pt idx="8274">
                  <c:v>-8.7448595000000005</c:v>
                </c:pt>
                <c:pt idx="8275">
                  <c:v>-8.7424113999999999</c:v>
                </c:pt>
                <c:pt idx="8276">
                  <c:v>-8.7399667000000001</c:v>
                </c:pt>
                <c:pt idx="8277">
                  <c:v>-8.7375217000000003</c:v>
                </c:pt>
                <c:pt idx="8278">
                  <c:v>-8.7350770000000004</c:v>
                </c:pt>
                <c:pt idx="8279">
                  <c:v>-8.7326338000000003</c:v>
                </c:pt>
                <c:pt idx="8280">
                  <c:v>-8.7301912999999995</c:v>
                </c:pt>
                <c:pt idx="8281">
                  <c:v>-8.7277460999999992</c:v>
                </c:pt>
                <c:pt idx="8282">
                  <c:v>-8.7253036000000002</c:v>
                </c:pt>
                <c:pt idx="8283">
                  <c:v>-8.7228632000000008</c:v>
                </c:pt>
                <c:pt idx="8284">
                  <c:v>-8.7204222999999992</c:v>
                </c:pt>
                <c:pt idx="8285">
                  <c:v>-8.7179804000000001</c:v>
                </c:pt>
                <c:pt idx="8286">
                  <c:v>-8.7155412000000005</c:v>
                </c:pt>
                <c:pt idx="8287">
                  <c:v>-8.7131024999999998</c:v>
                </c:pt>
                <c:pt idx="8288">
                  <c:v>-8.7106629000000009</c:v>
                </c:pt>
                <c:pt idx="8289">
                  <c:v>-8.7082239000000001</c:v>
                </c:pt>
                <c:pt idx="8290">
                  <c:v>-8.7057857999999992</c:v>
                </c:pt>
                <c:pt idx="8291">
                  <c:v>-8.7033474000000002</c:v>
                </c:pt>
                <c:pt idx="8292">
                  <c:v>-8.7009112000000002</c:v>
                </c:pt>
                <c:pt idx="8293">
                  <c:v>-8.6984755000000007</c:v>
                </c:pt>
                <c:pt idx="8294">
                  <c:v>-8.6960385000000002</c:v>
                </c:pt>
                <c:pt idx="8295">
                  <c:v>-8.6936029000000001</c:v>
                </c:pt>
                <c:pt idx="8296">
                  <c:v>-8.6911684999999999</c:v>
                </c:pt>
                <c:pt idx="8297">
                  <c:v>-8.6887340999999996</c:v>
                </c:pt>
                <c:pt idx="8298">
                  <c:v>-8.6862998999999999</c:v>
                </c:pt>
                <c:pt idx="8299">
                  <c:v>-8.6838663</c:v>
                </c:pt>
                <c:pt idx="8300">
                  <c:v>-8.6814353000000004</c:v>
                </c:pt>
                <c:pt idx="8301">
                  <c:v>-8.6790023000000005</c:v>
                </c:pt>
                <c:pt idx="8302">
                  <c:v>-8.6765696999999999</c:v>
                </c:pt>
                <c:pt idx="8303">
                  <c:v>-8.6741384000000004</c:v>
                </c:pt>
                <c:pt idx="8304">
                  <c:v>-8.6717074000000007</c:v>
                </c:pt>
                <c:pt idx="8305">
                  <c:v>-8.6692775999999991</c:v>
                </c:pt>
                <c:pt idx="8306">
                  <c:v>-8.6668476999999999</c:v>
                </c:pt>
                <c:pt idx="8307">
                  <c:v>-8.6644182999999995</c:v>
                </c:pt>
                <c:pt idx="8308">
                  <c:v>-8.6619913000000004</c:v>
                </c:pt>
                <c:pt idx="8309">
                  <c:v>-8.6595619999999993</c:v>
                </c:pt>
                <c:pt idx="8310">
                  <c:v>-8.6571345999999991</c:v>
                </c:pt>
                <c:pt idx="8311">
                  <c:v>-8.6547073000000001</c:v>
                </c:pt>
                <c:pt idx="8312">
                  <c:v>-8.6522796999999994</c:v>
                </c:pt>
                <c:pt idx="8313">
                  <c:v>-8.6498532000000008</c:v>
                </c:pt>
                <c:pt idx="8314">
                  <c:v>-8.6474297999999994</c:v>
                </c:pt>
                <c:pt idx="8315">
                  <c:v>-8.6450043000000001</c:v>
                </c:pt>
                <c:pt idx="8316">
                  <c:v>-8.6425794000000007</c:v>
                </c:pt>
                <c:pt idx="8317">
                  <c:v>-8.6401553999999994</c:v>
                </c:pt>
                <c:pt idx="8318">
                  <c:v>-8.6377320999999991</c:v>
                </c:pt>
                <c:pt idx="8319">
                  <c:v>-8.6353077999999996</c:v>
                </c:pt>
                <c:pt idx="8320">
                  <c:v>-8.6328864000000003</c:v>
                </c:pt>
                <c:pt idx="8321">
                  <c:v>-8.6304648999999998</c:v>
                </c:pt>
                <c:pt idx="8322">
                  <c:v>-8.6280430999999993</c:v>
                </c:pt>
                <c:pt idx="8323">
                  <c:v>-8.6256228999999998</c:v>
                </c:pt>
                <c:pt idx="8324">
                  <c:v>-8.6232024999999997</c:v>
                </c:pt>
                <c:pt idx="8325">
                  <c:v>-8.6207822000000007</c:v>
                </c:pt>
                <c:pt idx="8326">
                  <c:v>-8.6183624999999999</c:v>
                </c:pt>
                <c:pt idx="8327">
                  <c:v>-8.6159446000000006</c:v>
                </c:pt>
                <c:pt idx="8328">
                  <c:v>-8.6135266999999995</c:v>
                </c:pt>
                <c:pt idx="8329">
                  <c:v>-8.6111079000000004</c:v>
                </c:pt>
                <c:pt idx="8330">
                  <c:v>-8.6086904999999998</c:v>
                </c:pt>
                <c:pt idx="8331">
                  <c:v>-8.6062729999999998</c:v>
                </c:pt>
                <c:pt idx="8332">
                  <c:v>-8.6038574000000008</c:v>
                </c:pt>
                <c:pt idx="8333">
                  <c:v>-8.6014418999999993</c:v>
                </c:pt>
                <c:pt idx="8334">
                  <c:v>-8.5990272000000001</c:v>
                </c:pt>
                <c:pt idx="8335">
                  <c:v>-8.5966123000000003</c:v>
                </c:pt>
                <c:pt idx="8336">
                  <c:v>-8.5941978999999993</c:v>
                </c:pt>
                <c:pt idx="8337">
                  <c:v>-8.5917841999999993</c:v>
                </c:pt>
                <c:pt idx="8338">
                  <c:v>-8.5893707999999993</c:v>
                </c:pt>
                <c:pt idx="8339">
                  <c:v>-8.5869584000000003</c:v>
                </c:pt>
                <c:pt idx="8340">
                  <c:v>-8.5845447000000004</c:v>
                </c:pt>
                <c:pt idx="8341">
                  <c:v>-8.5821343999999993</c:v>
                </c:pt>
                <c:pt idx="8342">
                  <c:v>-8.5797226000000002</c:v>
                </c:pt>
                <c:pt idx="8343">
                  <c:v>-8.5773127000000002</c:v>
                </c:pt>
                <c:pt idx="8344">
                  <c:v>-8.5749027000000009</c:v>
                </c:pt>
                <c:pt idx="8345">
                  <c:v>-8.5724923000000004</c:v>
                </c:pt>
                <c:pt idx="8346">
                  <c:v>-8.5700833999999997</c:v>
                </c:pt>
                <c:pt idx="8347">
                  <c:v>-8.5676751000000007</c:v>
                </c:pt>
                <c:pt idx="8348">
                  <c:v>-8.5652665999999993</c:v>
                </c:pt>
                <c:pt idx="8349">
                  <c:v>-8.5628594000000007</c:v>
                </c:pt>
                <c:pt idx="8350">
                  <c:v>-8.5604522999999997</c:v>
                </c:pt>
                <c:pt idx="8351">
                  <c:v>-8.5580463000000009</c:v>
                </c:pt>
                <c:pt idx="8352">
                  <c:v>-8.5556386999999994</c:v>
                </c:pt>
                <c:pt idx="8353">
                  <c:v>-8.5532348000000002</c:v>
                </c:pt>
                <c:pt idx="8354">
                  <c:v>-8.5508284999999997</c:v>
                </c:pt>
                <c:pt idx="8355">
                  <c:v>-8.5484244999999994</c:v>
                </c:pt>
                <c:pt idx="8356">
                  <c:v>-8.5460206000000003</c:v>
                </c:pt>
                <c:pt idx="8357">
                  <c:v>-8.5436177999999998</c:v>
                </c:pt>
                <c:pt idx="8358">
                  <c:v>-8.5412145000000006</c:v>
                </c:pt>
                <c:pt idx="8359">
                  <c:v>-8.5388117000000001</c:v>
                </c:pt>
                <c:pt idx="8360">
                  <c:v>-8.5364100000000001</c:v>
                </c:pt>
                <c:pt idx="8361">
                  <c:v>-8.5340077999999995</c:v>
                </c:pt>
                <c:pt idx="8362">
                  <c:v>-8.5316068999999999</c:v>
                </c:pt>
                <c:pt idx="8363">
                  <c:v>-8.5292060999999997</c:v>
                </c:pt>
                <c:pt idx="8364">
                  <c:v>-8.5268072999999998</c:v>
                </c:pt>
                <c:pt idx="8365">
                  <c:v>-8.5244067000000001</c:v>
                </c:pt>
                <c:pt idx="8366">
                  <c:v>-8.5220076999999996</c:v>
                </c:pt>
                <c:pt idx="8367">
                  <c:v>-8.5196082999999998</c:v>
                </c:pt>
                <c:pt idx="8368">
                  <c:v>-8.5172118999999995</c:v>
                </c:pt>
                <c:pt idx="8369">
                  <c:v>-8.5148141000000006</c:v>
                </c:pt>
                <c:pt idx="8370">
                  <c:v>-8.5124163999999993</c:v>
                </c:pt>
                <c:pt idx="8371">
                  <c:v>-8.5100218999999999</c:v>
                </c:pt>
                <c:pt idx="8372">
                  <c:v>-8.5076254999999996</c:v>
                </c:pt>
                <c:pt idx="8373">
                  <c:v>-8.5052289999999999</c:v>
                </c:pt>
                <c:pt idx="8374">
                  <c:v>-8.5028358999999991</c:v>
                </c:pt>
                <c:pt idx="8375">
                  <c:v>-8.5004405999999992</c:v>
                </c:pt>
                <c:pt idx="8376">
                  <c:v>-8.4980466000000003</c:v>
                </c:pt>
                <c:pt idx="8377">
                  <c:v>-8.4956516999999998</c:v>
                </c:pt>
                <c:pt idx="8378">
                  <c:v>-8.4932602999999993</c:v>
                </c:pt>
                <c:pt idx="8379">
                  <c:v>-8.4908681000000001</c:v>
                </c:pt>
                <c:pt idx="8380">
                  <c:v>-8.4884763999999997</c:v>
                </c:pt>
                <c:pt idx="8381">
                  <c:v>-8.4860843999999993</c:v>
                </c:pt>
                <c:pt idx="8382">
                  <c:v>-8.4836925999999995</c:v>
                </c:pt>
                <c:pt idx="8383">
                  <c:v>-8.4813037999999992</c:v>
                </c:pt>
                <c:pt idx="8384">
                  <c:v>-8.4789124000000005</c:v>
                </c:pt>
                <c:pt idx="8385">
                  <c:v>-8.4765236000000002</c:v>
                </c:pt>
                <c:pt idx="8386">
                  <c:v>-8.4741345999999993</c:v>
                </c:pt>
                <c:pt idx="8387">
                  <c:v>-8.4717455000000008</c:v>
                </c:pt>
                <c:pt idx="8388">
                  <c:v>-8.4693590000000007</c:v>
                </c:pt>
                <c:pt idx="8389">
                  <c:v>-8.4669714999999997</c:v>
                </c:pt>
                <c:pt idx="8390">
                  <c:v>-8.4645843000000003</c:v>
                </c:pt>
                <c:pt idx="8391">
                  <c:v>-8.4621972999999997</c:v>
                </c:pt>
                <c:pt idx="8392">
                  <c:v>-8.4598118000000007</c:v>
                </c:pt>
                <c:pt idx="8393">
                  <c:v>-8.4574266999999992</c:v>
                </c:pt>
                <c:pt idx="8394">
                  <c:v>-8.4550430999999993</c:v>
                </c:pt>
                <c:pt idx="8395">
                  <c:v>-8.4526570000000003</c:v>
                </c:pt>
                <c:pt idx="8396">
                  <c:v>-8.4502729999999993</c:v>
                </c:pt>
                <c:pt idx="8397">
                  <c:v>-8.4478901999999998</c:v>
                </c:pt>
                <c:pt idx="8398">
                  <c:v>-8.4455077000000003</c:v>
                </c:pt>
                <c:pt idx="8399">
                  <c:v>-8.4431249000000008</c:v>
                </c:pt>
                <c:pt idx="8400">
                  <c:v>-8.4407435</c:v>
                </c:pt>
                <c:pt idx="8401">
                  <c:v>-8.4383608999999993</c:v>
                </c:pt>
                <c:pt idx="8402">
                  <c:v>-8.4359809000000006</c:v>
                </c:pt>
                <c:pt idx="8403">
                  <c:v>-8.4335997999999996</c:v>
                </c:pt>
                <c:pt idx="8404">
                  <c:v>-8.4312196000000004</c:v>
                </c:pt>
                <c:pt idx="8405">
                  <c:v>-8.4288419999999995</c:v>
                </c:pt>
                <c:pt idx="8406">
                  <c:v>-8.4264618000000002</c:v>
                </c:pt>
                <c:pt idx="8407">
                  <c:v>-8.4240834000000007</c:v>
                </c:pt>
                <c:pt idx="8408">
                  <c:v>-8.4217065000000009</c:v>
                </c:pt>
                <c:pt idx="8409">
                  <c:v>-8.4193274000000002</c:v>
                </c:pt>
                <c:pt idx="8410">
                  <c:v>-8.4169517999999997</c:v>
                </c:pt>
                <c:pt idx="8411">
                  <c:v>-8.4145754999999998</c:v>
                </c:pt>
                <c:pt idx="8412">
                  <c:v>-8.4121983999999994</c:v>
                </c:pt>
                <c:pt idx="8413">
                  <c:v>-8.4098231999999999</c:v>
                </c:pt>
                <c:pt idx="8414">
                  <c:v>-8.4074492999999997</c:v>
                </c:pt>
                <c:pt idx="8415">
                  <c:v>-8.4050730999999992</c:v>
                </c:pt>
                <c:pt idx="8416">
                  <c:v>-8.4027005999999993</c:v>
                </c:pt>
                <c:pt idx="8417">
                  <c:v>-8.4003262000000003</c:v>
                </c:pt>
                <c:pt idx="8418">
                  <c:v>-8.3979546999999997</c:v>
                </c:pt>
                <c:pt idx="8419">
                  <c:v>-8.3955818000000004</c:v>
                </c:pt>
                <c:pt idx="8420">
                  <c:v>-8.3932079000000002</c:v>
                </c:pt>
                <c:pt idx="8421">
                  <c:v>-8.3908372999999994</c:v>
                </c:pt>
                <c:pt idx="8422">
                  <c:v>-8.3884676000000002</c:v>
                </c:pt>
                <c:pt idx="8423">
                  <c:v>-8.3860960999999996</c:v>
                </c:pt>
                <c:pt idx="8424">
                  <c:v>-8.3837258000000006</c:v>
                </c:pt>
                <c:pt idx="8425">
                  <c:v>-8.3813566000000002</c:v>
                </c:pt>
                <c:pt idx="8426">
                  <c:v>-8.3789874999999991</c:v>
                </c:pt>
                <c:pt idx="8427">
                  <c:v>-8.3766186999999999</c:v>
                </c:pt>
                <c:pt idx="8428">
                  <c:v>-8.3742520999999996</c:v>
                </c:pt>
                <c:pt idx="8429">
                  <c:v>-8.3718836999999997</c:v>
                </c:pt>
                <c:pt idx="8430">
                  <c:v>-8.3695149999999998</c:v>
                </c:pt>
                <c:pt idx="8431">
                  <c:v>-8.3671506000000004</c:v>
                </c:pt>
                <c:pt idx="8432">
                  <c:v>-8.3647822000000005</c:v>
                </c:pt>
                <c:pt idx="8433">
                  <c:v>-8.3624188999999998</c:v>
                </c:pt>
                <c:pt idx="8434">
                  <c:v>-8.3600525000000001</c:v>
                </c:pt>
                <c:pt idx="8435">
                  <c:v>-8.3576888</c:v>
                </c:pt>
                <c:pt idx="8436">
                  <c:v>-8.3553239999999995</c:v>
                </c:pt>
                <c:pt idx="8437">
                  <c:v>-8.3529598000000007</c:v>
                </c:pt>
                <c:pt idx="8438">
                  <c:v>-8.3505959999999995</c:v>
                </c:pt>
                <c:pt idx="8439">
                  <c:v>-8.3482342999999997</c:v>
                </c:pt>
                <c:pt idx="8440">
                  <c:v>-8.3458729999999992</c:v>
                </c:pt>
                <c:pt idx="8441">
                  <c:v>-8.3435100000000002</c:v>
                </c:pt>
                <c:pt idx="8442">
                  <c:v>-8.3411494000000008</c:v>
                </c:pt>
                <c:pt idx="8443">
                  <c:v>-8.3387881000000004</c:v>
                </c:pt>
                <c:pt idx="8444">
                  <c:v>-8.3364297000000001</c:v>
                </c:pt>
                <c:pt idx="8445">
                  <c:v>-8.3340686999999996</c:v>
                </c:pt>
                <c:pt idx="8446">
                  <c:v>-8.3317092000000006</c:v>
                </c:pt>
                <c:pt idx="8447">
                  <c:v>-8.3293514999999996</c:v>
                </c:pt>
                <c:pt idx="8448">
                  <c:v>-8.3269929000000005</c:v>
                </c:pt>
                <c:pt idx="8449">
                  <c:v>-8.3246338000000009</c:v>
                </c:pt>
                <c:pt idx="8450">
                  <c:v>-8.3222774000000008</c:v>
                </c:pt>
                <c:pt idx="8451">
                  <c:v>-8.3199208000000002</c:v>
                </c:pt>
                <c:pt idx="8452">
                  <c:v>-8.3175649000000007</c:v>
                </c:pt>
                <c:pt idx="8453">
                  <c:v>-8.3152071999999997</c:v>
                </c:pt>
                <c:pt idx="8454">
                  <c:v>-8.3128531999999993</c:v>
                </c:pt>
                <c:pt idx="8455">
                  <c:v>-8.3104973999999991</c:v>
                </c:pt>
                <c:pt idx="8456">
                  <c:v>-8.3081440999999998</c:v>
                </c:pt>
                <c:pt idx="8457">
                  <c:v>-8.3057896000000007</c:v>
                </c:pt>
                <c:pt idx="8458">
                  <c:v>-8.3034364000000007</c:v>
                </c:pt>
                <c:pt idx="8459">
                  <c:v>-8.3010833000000002</c:v>
                </c:pt>
                <c:pt idx="8460">
                  <c:v>-8.2987307999999995</c:v>
                </c:pt>
                <c:pt idx="8461">
                  <c:v>-8.2963793999999993</c:v>
                </c:pt>
                <c:pt idx="8462">
                  <c:v>-8.2940284000000002</c:v>
                </c:pt>
                <c:pt idx="8463">
                  <c:v>-8.2916766000000006</c:v>
                </c:pt>
                <c:pt idx="8464">
                  <c:v>-8.2893249999999998</c:v>
                </c:pt>
                <c:pt idx="8465">
                  <c:v>-8.2869756999999993</c:v>
                </c:pt>
                <c:pt idx="8466">
                  <c:v>-8.2846267999999998</c:v>
                </c:pt>
                <c:pt idx="8467">
                  <c:v>-8.2822779999999998</c:v>
                </c:pt>
                <c:pt idx="8468">
                  <c:v>-8.2799271000000001</c:v>
                </c:pt>
                <c:pt idx="8469">
                  <c:v>-8.2775803999999997</c:v>
                </c:pt>
                <c:pt idx="8470">
                  <c:v>-8.2752324999999995</c:v>
                </c:pt>
                <c:pt idx="8471">
                  <c:v>-8.2728865999999996</c:v>
                </c:pt>
                <c:pt idx="8472">
                  <c:v>-8.2705386000000001</c:v>
                </c:pt>
                <c:pt idx="8473">
                  <c:v>-8.2681930999999995</c:v>
                </c:pt>
                <c:pt idx="8474">
                  <c:v>-8.2658471000000002</c:v>
                </c:pt>
                <c:pt idx="8475">
                  <c:v>-8.2635024999999995</c:v>
                </c:pt>
                <c:pt idx="8476">
                  <c:v>-8.2611576000000007</c:v>
                </c:pt>
                <c:pt idx="8477">
                  <c:v>-8.2588132000000005</c:v>
                </c:pt>
                <c:pt idx="8478">
                  <c:v>-8.2564692999999991</c:v>
                </c:pt>
                <c:pt idx="8479">
                  <c:v>-8.2541250000000002</c:v>
                </c:pt>
                <c:pt idx="8480">
                  <c:v>-8.2517840000000007</c:v>
                </c:pt>
                <c:pt idx="8481">
                  <c:v>-8.2494406999999992</c:v>
                </c:pt>
                <c:pt idx="8482">
                  <c:v>-8.2470993000000004</c:v>
                </c:pt>
                <c:pt idx="8483">
                  <c:v>-8.2447572000000005</c:v>
                </c:pt>
                <c:pt idx="8484">
                  <c:v>-8.2424166000000003</c:v>
                </c:pt>
                <c:pt idx="8485">
                  <c:v>-8.2400760999999996</c:v>
                </c:pt>
                <c:pt idx="8486">
                  <c:v>-8.2377359000000006</c:v>
                </c:pt>
                <c:pt idx="8487">
                  <c:v>-8.2353965999999996</c:v>
                </c:pt>
                <c:pt idx="8488">
                  <c:v>-8.2330582000000003</c:v>
                </c:pt>
                <c:pt idx="8489">
                  <c:v>-8.2307200999999992</c:v>
                </c:pt>
                <c:pt idx="8490">
                  <c:v>-8.2283802000000001</c:v>
                </c:pt>
                <c:pt idx="8491">
                  <c:v>-8.2260443999999993</c:v>
                </c:pt>
                <c:pt idx="8492">
                  <c:v>-8.2237071000000004</c:v>
                </c:pt>
                <c:pt idx="8493">
                  <c:v>-8.2213700000000003</c:v>
                </c:pt>
                <c:pt idx="8494">
                  <c:v>-8.2190343000000006</c:v>
                </c:pt>
                <c:pt idx="8495">
                  <c:v>-8.2166979999999992</c:v>
                </c:pt>
                <c:pt idx="8496">
                  <c:v>-8.2143625</c:v>
                </c:pt>
                <c:pt idx="8497">
                  <c:v>-8.2120280000000001</c:v>
                </c:pt>
                <c:pt idx="8498">
                  <c:v>-8.2096932999999996</c:v>
                </c:pt>
                <c:pt idx="8499">
                  <c:v>-8.2073593000000002</c:v>
                </c:pt>
                <c:pt idx="8500">
                  <c:v>-8.2050272999999994</c:v>
                </c:pt>
                <c:pt idx="8501">
                  <c:v>-8.2026938999999999</c:v>
                </c:pt>
                <c:pt idx="8502">
                  <c:v>-8.2003611000000003</c:v>
                </c:pt>
                <c:pt idx="8503">
                  <c:v>-8.1980301000000004</c:v>
                </c:pt>
                <c:pt idx="8504">
                  <c:v>-8.1956986999999994</c:v>
                </c:pt>
                <c:pt idx="8505">
                  <c:v>-8.1933682999999995</c:v>
                </c:pt>
                <c:pt idx="8506">
                  <c:v>-8.1910381999999995</c:v>
                </c:pt>
                <c:pt idx="8507">
                  <c:v>-8.1887082000000007</c:v>
                </c:pt>
                <c:pt idx="8508">
                  <c:v>-8.1863779000000001</c:v>
                </c:pt>
                <c:pt idx="8509">
                  <c:v>-8.1840489999999999</c:v>
                </c:pt>
                <c:pt idx="8510">
                  <c:v>-8.1817203000000003</c:v>
                </c:pt>
                <c:pt idx="8511">
                  <c:v>-8.1793925999999999</c:v>
                </c:pt>
                <c:pt idx="8512">
                  <c:v>-8.1770648999999995</c:v>
                </c:pt>
                <c:pt idx="8513">
                  <c:v>-8.1747378000000008</c:v>
                </c:pt>
                <c:pt idx="8514">
                  <c:v>-8.1724093</c:v>
                </c:pt>
                <c:pt idx="8515">
                  <c:v>-8.1700842999999992</c:v>
                </c:pt>
                <c:pt idx="8516">
                  <c:v>-8.1677590999999996</c:v>
                </c:pt>
                <c:pt idx="8517">
                  <c:v>-8.1654341000000006</c:v>
                </c:pt>
                <c:pt idx="8518">
                  <c:v>-8.1631088999999992</c:v>
                </c:pt>
                <c:pt idx="8519">
                  <c:v>-8.1607854</c:v>
                </c:pt>
                <c:pt idx="8520">
                  <c:v>-8.1584617999999995</c:v>
                </c:pt>
                <c:pt idx="8521">
                  <c:v>-8.1561377999999998</c:v>
                </c:pt>
                <c:pt idx="8522">
                  <c:v>-8.1538150999999992</c:v>
                </c:pt>
                <c:pt idx="8523">
                  <c:v>-8.1514930000000003</c:v>
                </c:pt>
                <c:pt idx="8524">
                  <c:v>-8.1491710000000008</c:v>
                </c:pt>
                <c:pt idx="8525">
                  <c:v>-8.1468489999999996</c:v>
                </c:pt>
                <c:pt idx="8526">
                  <c:v>-8.1445290999999997</c:v>
                </c:pt>
                <c:pt idx="8527">
                  <c:v>-8.1422071000000003</c:v>
                </c:pt>
                <c:pt idx="8528">
                  <c:v>-8.1398884999999996</c:v>
                </c:pt>
                <c:pt idx="8529">
                  <c:v>-8.1375689999999992</c:v>
                </c:pt>
                <c:pt idx="8530">
                  <c:v>-8.1352498999999998</c:v>
                </c:pt>
                <c:pt idx="8531">
                  <c:v>-8.1329302999999999</c:v>
                </c:pt>
                <c:pt idx="8532">
                  <c:v>-8.1306124000000004</c:v>
                </c:pt>
                <c:pt idx="8533">
                  <c:v>-8.1282941999999991</c:v>
                </c:pt>
                <c:pt idx="8534">
                  <c:v>-8.1259774</c:v>
                </c:pt>
                <c:pt idx="8535">
                  <c:v>-8.1236607000000003</c:v>
                </c:pt>
                <c:pt idx="8536">
                  <c:v>-8.1213446999999999</c:v>
                </c:pt>
                <c:pt idx="8537">
                  <c:v>-8.1190288000000006</c:v>
                </c:pt>
                <c:pt idx="8538">
                  <c:v>-8.1167142000000005</c:v>
                </c:pt>
                <c:pt idx="8539">
                  <c:v>-8.1143979000000002</c:v>
                </c:pt>
                <c:pt idx="8540">
                  <c:v>-8.1120838000000006</c:v>
                </c:pt>
                <c:pt idx="8541">
                  <c:v>-8.1097693</c:v>
                </c:pt>
                <c:pt idx="8542">
                  <c:v>-8.1074567000000002</c:v>
                </c:pt>
                <c:pt idx="8543">
                  <c:v>-8.1051441999999998</c:v>
                </c:pt>
                <c:pt idx="8544">
                  <c:v>-8.1028310999999995</c:v>
                </c:pt>
                <c:pt idx="8545">
                  <c:v>-8.1005196999999995</c:v>
                </c:pt>
                <c:pt idx="8546">
                  <c:v>-8.0982079999999996</c:v>
                </c:pt>
                <c:pt idx="8547">
                  <c:v>-8.0958959000000004</c:v>
                </c:pt>
                <c:pt idx="8548">
                  <c:v>-8.0935851000000003</c:v>
                </c:pt>
                <c:pt idx="8549">
                  <c:v>-8.0912748000000008</c:v>
                </c:pt>
                <c:pt idx="8550">
                  <c:v>-8.0889652000000005</c:v>
                </c:pt>
                <c:pt idx="8551">
                  <c:v>-8.0866562999999996</c:v>
                </c:pt>
                <c:pt idx="8552">
                  <c:v>-8.0843475999999992</c:v>
                </c:pt>
                <c:pt idx="8553">
                  <c:v>-8.0820387999999994</c:v>
                </c:pt>
                <c:pt idx="8554">
                  <c:v>-8.0797305999999995</c:v>
                </c:pt>
                <c:pt idx="8555">
                  <c:v>-8.0774246999999999</c:v>
                </c:pt>
                <c:pt idx="8556">
                  <c:v>-8.0751168999999994</c:v>
                </c:pt>
                <c:pt idx="8557">
                  <c:v>-8.0728095999999994</c:v>
                </c:pt>
                <c:pt idx="8558">
                  <c:v>-8.0705030000000004</c:v>
                </c:pt>
                <c:pt idx="8559">
                  <c:v>-8.0681981999999994</c:v>
                </c:pt>
                <c:pt idx="8560">
                  <c:v>-8.0658930000000009</c:v>
                </c:pt>
                <c:pt idx="8561">
                  <c:v>-8.0635896000000002</c:v>
                </c:pt>
                <c:pt idx="8562">
                  <c:v>-8.0612855000000003</c:v>
                </c:pt>
                <c:pt idx="8563">
                  <c:v>-8.0589805000000005</c:v>
                </c:pt>
                <c:pt idx="8564">
                  <c:v>-8.0566782000000003</c:v>
                </c:pt>
                <c:pt idx="8565">
                  <c:v>-8.0543742999999992</c:v>
                </c:pt>
                <c:pt idx="8566">
                  <c:v>-8.0520723000000007</c:v>
                </c:pt>
                <c:pt idx="8567">
                  <c:v>-8.0497710999999992</c:v>
                </c:pt>
                <c:pt idx="8568">
                  <c:v>-8.0474697000000006</c:v>
                </c:pt>
                <c:pt idx="8569">
                  <c:v>-8.0451671999999999</c:v>
                </c:pt>
                <c:pt idx="8570">
                  <c:v>-8.0428680000000004</c:v>
                </c:pt>
                <c:pt idx="8571">
                  <c:v>-8.0405677999999998</c:v>
                </c:pt>
                <c:pt idx="8572">
                  <c:v>-8.0382674999999999</c:v>
                </c:pt>
                <c:pt idx="8573">
                  <c:v>-8.0359698000000002</c:v>
                </c:pt>
                <c:pt idx="8574">
                  <c:v>-8.0336707000000001</c:v>
                </c:pt>
                <c:pt idx="8575">
                  <c:v>-8.0313727000000004</c:v>
                </c:pt>
                <c:pt idx="8576">
                  <c:v>-8.0290742000000002</c:v>
                </c:pt>
                <c:pt idx="8577">
                  <c:v>-8.0267774000000003</c:v>
                </c:pt>
                <c:pt idx="8578">
                  <c:v>-8.0244797000000005</c:v>
                </c:pt>
                <c:pt idx="8579">
                  <c:v>-8.0221839999999993</c:v>
                </c:pt>
                <c:pt idx="8580">
                  <c:v>-8.0198885999999998</c:v>
                </c:pt>
                <c:pt idx="8581">
                  <c:v>-8.0175918999999993</c:v>
                </c:pt>
                <c:pt idx="8582">
                  <c:v>-8.0152978000000008</c:v>
                </c:pt>
                <c:pt idx="8583">
                  <c:v>-8.0130034999999999</c:v>
                </c:pt>
                <c:pt idx="8584">
                  <c:v>-8.0107087000000003</c:v>
                </c:pt>
                <c:pt idx="8585">
                  <c:v>-8.0084154999999999</c:v>
                </c:pt>
                <c:pt idx="8586">
                  <c:v>-8.0061225999999994</c:v>
                </c:pt>
                <c:pt idx="8587">
                  <c:v>-8.0038294000000008</c:v>
                </c:pt>
                <c:pt idx="8588">
                  <c:v>-8.0015376000000007</c:v>
                </c:pt>
                <c:pt idx="8589">
                  <c:v>-7.9992451999999998</c:v>
                </c:pt>
                <c:pt idx="8590">
                  <c:v>-7.9969548000000001</c:v>
                </c:pt>
                <c:pt idx="8591">
                  <c:v>-7.9946633</c:v>
                </c:pt>
                <c:pt idx="8592">
                  <c:v>-7.9923735999999996</c:v>
                </c:pt>
                <c:pt idx="8593">
                  <c:v>-7.9900834999999999</c:v>
                </c:pt>
                <c:pt idx="8594">
                  <c:v>-7.9877935000000004</c:v>
                </c:pt>
                <c:pt idx="8595">
                  <c:v>-7.9855039999999997</c:v>
                </c:pt>
                <c:pt idx="8596">
                  <c:v>-7.9832153000000003</c:v>
                </c:pt>
                <c:pt idx="8597">
                  <c:v>-7.9809277999999999</c:v>
                </c:pt>
                <c:pt idx="8598">
                  <c:v>-7.9786399000000001</c:v>
                </c:pt>
                <c:pt idx="8599">
                  <c:v>-7.9763532000000001</c:v>
                </c:pt>
                <c:pt idx="8600">
                  <c:v>-7.9740662000000002</c:v>
                </c:pt>
                <c:pt idx="8601">
                  <c:v>-7.9717796999999999</c:v>
                </c:pt>
                <c:pt idx="8602">
                  <c:v>-7.9694943</c:v>
                </c:pt>
                <c:pt idx="8603">
                  <c:v>-7.9672080000000003</c:v>
                </c:pt>
                <c:pt idx="8604">
                  <c:v>-7.9649238000000002</c:v>
                </c:pt>
                <c:pt idx="8605">
                  <c:v>-7.9626399000000001</c:v>
                </c:pt>
                <c:pt idx="8606">
                  <c:v>-7.9603543999999999</c:v>
                </c:pt>
                <c:pt idx="8607">
                  <c:v>-7.9580715</c:v>
                </c:pt>
                <c:pt idx="8608">
                  <c:v>-7.9557887999999997</c:v>
                </c:pt>
                <c:pt idx="8609">
                  <c:v>-7.9535058999999997</c:v>
                </c:pt>
                <c:pt idx="8610">
                  <c:v>-7.9512229000000003</c:v>
                </c:pt>
                <c:pt idx="8611">
                  <c:v>-7.9489426999999999</c:v>
                </c:pt>
                <c:pt idx="8612">
                  <c:v>-7.9466612999999997</c:v>
                </c:pt>
                <c:pt idx="8613">
                  <c:v>-7.9443805999999997</c:v>
                </c:pt>
                <c:pt idx="8614">
                  <c:v>-7.9420998999999997</c:v>
                </c:pt>
                <c:pt idx="8615">
                  <c:v>-7.9398204999999997</c:v>
                </c:pt>
                <c:pt idx="8616">
                  <c:v>-7.9375403000000002</c:v>
                </c:pt>
                <c:pt idx="8617">
                  <c:v>-7.9352612000000002</c:v>
                </c:pt>
                <c:pt idx="8618">
                  <c:v>-7.9329828999999998</c:v>
                </c:pt>
                <c:pt idx="8619">
                  <c:v>-7.9307032</c:v>
                </c:pt>
                <c:pt idx="8620">
                  <c:v>-7.9284268000000004</c:v>
                </c:pt>
                <c:pt idx="8621">
                  <c:v>-7.9261492999999996</c:v>
                </c:pt>
                <c:pt idx="8622">
                  <c:v>-7.9238714999999997</c:v>
                </c:pt>
                <c:pt idx="8623">
                  <c:v>-7.9215971999999999</c:v>
                </c:pt>
                <c:pt idx="8624">
                  <c:v>-7.9193201000000002</c:v>
                </c:pt>
                <c:pt idx="8625">
                  <c:v>-7.9170451999999996</c:v>
                </c:pt>
                <c:pt idx="8626">
                  <c:v>-7.9147708000000003</c:v>
                </c:pt>
                <c:pt idx="8627">
                  <c:v>-7.9124949999999998</c:v>
                </c:pt>
                <c:pt idx="8628">
                  <c:v>-7.9102220000000001</c:v>
                </c:pt>
                <c:pt idx="8629">
                  <c:v>-7.9079477000000002</c:v>
                </c:pt>
                <c:pt idx="8630">
                  <c:v>-7.9056746999999996</c:v>
                </c:pt>
                <c:pt idx="8631">
                  <c:v>-7.9034022999999998</c:v>
                </c:pt>
                <c:pt idx="8632">
                  <c:v>-7.9011293</c:v>
                </c:pt>
                <c:pt idx="8633">
                  <c:v>-7.8988578</c:v>
                </c:pt>
                <c:pt idx="8634">
                  <c:v>-7.8965870999999996</c:v>
                </c:pt>
                <c:pt idx="8635">
                  <c:v>-7.8943155999999997</c:v>
                </c:pt>
                <c:pt idx="8636">
                  <c:v>-7.8920446000000002</c:v>
                </c:pt>
                <c:pt idx="8637">
                  <c:v>-7.8897750999999996</c:v>
                </c:pt>
                <c:pt idx="8638">
                  <c:v>-7.8875051999999997</c:v>
                </c:pt>
                <c:pt idx="8639">
                  <c:v>-7.8852362999999999</c:v>
                </c:pt>
                <c:pt idx="8640">
                  <c:v>-7.8829677</c:v>
                </c:pt>
                <c:pt idx="8641">
                  <c:v>-7.8806991000000002</c:v>
                </c:pt>
                <c:pt idx="8642">
                  <c:v>-7.8784318000000004</c:v>
                </c:pt>
                <c:pt idx="8643">
                  <c:v>-7.8761644000000004</c:v>
                </c:pt>
                <c:pt idx="8644">
                  <c:v>-7.8738970999999998</c:v>
                </c:pt>
                <c:pt idx="8645">
                  <c:v>-7.8716306999999999</c:v>
                </c:pt>
                <c:pt idx="8646">
                  <c:v>-7.8693638999999997</c:v>
                </c:pt>
                <c:pt idx="8647">
                  <c:v>-7.8670987999999999</c:v>
                </c:pt>
                <c:pt idx="8648">
                  <c:v>-7.8648341000000004</c:v>
                </c:pt>
                <c:pt idx="8649">
                  <c:v>-7.8625695000000002</c:v>
                </c:pt>
                <c:pt idx="8650">
                  <c:v>-7.8603053999999997</c:v>
                </c:pt>
                <c:pt idx="8651">
                  <c:v>-7.8580408999999998</c:v>
                </c:pt>
                <c:pt idx="8652">
                  <c:v>-7.8557775000000003</c:v>
                </c:pt>
                <c:pt idx="8653">
                  <c:v>-7.8535161999999996</c:v>
                </c:pt>
                <c:pt idx="8654">
                  <c:v>-7.8512532000000004</c:v>
                </c:pt>
                <c:pt idx="8655">
                  <c:v>-7.8489903999999999</c:v>
                </c:pt>
                <c:pt idx="8656">
                  <c:v>-7.8467301999999997</c:v>
                </c:pt>
                <c:pt idx="8657">
                  <c:v>-7.8444681999999997</c:v>
                </c:pt>
                <c:pt idx="8658">
                  <c:v>-7.8422074000000004</c:v>
                </c:pt>
                <c:pt idx="8659">
                  <c:v>-7.8399478</c:v>
                </c:pt>
                <c:pt idx="8660">
                  <c:v>-7.837688</c:v>
                </c:pt>
                <c:pt idx="8661">
                  <c:v>-7.8354273000000001</c:v>
                </c:pt>
                <c:pt idx="8662">
                  <c:v>-7.8331688000000002</c:v>
                </c:pt>
                <c:pt idx="8663">
                  <c:v>-7.8309103999999996</c:v>
                </c:pt>
                <c:pt idx="8664">
                  <c:v>-7.8286533</c:v>
                </c:pt>
                <c:pt idx="8665">
                  <c:v>-7.8263962999999999</c:v>
                </c:pt>
                <c:pt idx="8666">
                  <c:v>-7.8241383999999998</c:v>
                </c:pt>
                <c:pt idx="8667">
                  <c:v>-7.8218810999999997</c:v>
                </c:pt>
                <c:pt idx="8668">
                  <c:v>-7.8196250000000003</c:v>
                </c:pt>
                <c:pt idx="8669">
                  <c:v>-7.8173686</c:v>
                </c:pt>
                <c:pt idx="8670">
                  <c:v>-7.8151137999999998</c:v>
                </c:pt>
                <c:pt idx="8671">
                  <c:v>-7.8128580000000003</c:v>
                </c:pt>
                <c:pt idx="8672">
                  <c:v>-7.8106036999999997</c:v>
                </c:pt>
                <c:pt idx="8673">
                  <c:v>-7.8083511000000003</c:v>
                </c:pt>
                <c:pt idx="8674">
                  <c:v>-7.8060980999999998</c:v>
                </c:pt>
                <c:pt idx="8675">
                  <c:v>-7.8038429999999996</c:v>
                </c:pt>
                <c:pt idx="8676">
                  <c:v>-7.8015910999999996</c:v>
                </c:pt>
                <c:pt idx="8677">
                  <c:v>-7.7993382999999996</c:v>
                </c:pt>
                <c:pt idx="8678">
                  <c:v>-7.7970867999999998</c:v>
                </c:pt>
                <c:pt idx="8679">
                  <c:v>-7.7948344000000001</c:v>
                </c:pt>
                <c:pt idx="8680">
                  <c:v>-7.7925845000000002</c:v>
                </c:pt>
                <c:pt idx="8681">
                  <c:v>-7.7903343999999999</c:v>
                </c:pt>
                <c:pt idx="8682">
                  <c:v>-7.7880840999999998</c:v>
                </c:pt>
                <c:pt idx="8683">
                  <c:v>-7.7858340999999998</c:v>
                </c:pt>
                <c:pt idx="8684">
                  <c:v>-7.7835858</c:v>
                </c:pt>
                <c:pt idx="8685">
                  <c:v>-7.7813375000000002</c:v>
                </c:pt>
                <c:pt idx="8686">
                  <c:v>-7.7790885000000003</c:v>
                </c:pt>
                <c:pt idx="8687">
                  <c:v>-7.7768395000000003</c:v>
                </c:pt>
                <c:pt idx="8688">
                  <c:v>-7.7745923000000001</c:v>
                </c:pt>
                <c:pt idx="8689">
                  <c:v>-7.7723453999999998</c:v>
                </c:pt>
                <c:pt idx="8690">
                  <c:v>-7.7701001999999999</c:v>
                </c:pt>
                <c:pt idx="8691">
                  <c:v>-7.7678536999999999</c:v>
                </c:pt>
                <c:pt idx="8692">
                  <c:v>-7.7656086999999996</c:v>
                </c:pt>
                <c:pt idx="8693">
                  <c:v>-7.7633619999999999</c:v>
                </c:pt>
                <c:pt idx="8694">
                  <c:v>-7.7611179999999997</c:v>
                </c:pt>
                <c:pt idx="8695">
                  <c:v>-7.7588727999999998</c:v>
                </c:pt>
                <c:pt idx="8696">
                  <c:v>-7.7566293999999996</c:v>
                </c:pt>
                <c:pt idx="8697">
                  <c:v>-7.7543851999999998</c:v>
                </c:pt>
                <c:pt idx="8698">
                  <c:v>-7.7521421000000004</c:v>
                </c:pt>
                <c:pt idx="8699">
                  <c:v>-7.7499004999999999</c:v>
                </c:pt>
                <c:pt idx="8700">
                  <c:v>-7.7476586000000003</c:v>
                </c:pt>
                <c:pt idx="8701">
                  <c:v>-7.7454169000000004</c:v>
                </c:pt>
                <c:pt idx="8702">
                  <c:v>-7.7431742000000003</c:v>
                </c:pt>
                <c:pt idx="8703">
                  <c:v>-7.7409341999999999</c:v>
                </c:pt>
                <c:pt idx="8704">
                  <c:v>-7.7386938000000001</c:v>
                </c:pt>
                <c:pt idx="8705">
                  <c:v>-7.7364538999999999</c:v>
                </c:pt>
                <c:pt idx="8706">
                  <c:v>-7.7342133999999998</c:v>
                </c:pt>
                <c:pt idx="8707">
                  <c:v>-7.7319751999999999</c:v>
                </c:pt>
                <c:pt idx="8708">
                  <c:v>-7.7297359999999999</c:v>
                </c:pt>
                <c:pt idx="8709">
                  <c:v>-7.7274982999999997</c:v>
                </c:pt>
                <c:pt idx="8710">
                  <c:v>-7.7252600999999999</c:v>
                </c:pt>
                <c:pt idx="8711">
                  <c:v>-7.7230223000000002</c:v>
                </c:pt>
                <c:pt idx="8712">
                  <c:v>-7.7207853000000002</c:v>
                </c:pt>
                <c:pt idx="8713">
                  <c:v>-7.7185496000000002</c:v>
                </c:pt>
                <c:pt idx="8714">
                  <c:v>-7.7163136999999997</c:v>
                </c:pt>
                <c:pt idx="8715">
                  <c:v>-7.7140768</c:v>
                </c:pt>
                <c:pt idx="8716">
                  <c:v>-7.7118422000000004</c:v>
                </c:pt>
                <c:pt idx="8717">
                  <c:v>-7.7096083999999996</c:v>
                </c:pt>
                <c:pt idx="8718">
                  <c:v>-7.7073723000000003</c:v>
                </c:pt>
                <c:pt idx="8719">
                  <c:v>-7.7051397000000001</c:v>
                </c:pt>
                <c:pt idx="8720">
                  <c:v>-7.7029056000000002</c:v>
                </c:pt>
                <c:pt idx="8721">
                  <c:v>-7.7006730000000001</c:v>
                </c:pt>
                <c:pt idx="8722">
                  <c:v>-7.6984406999999999</c:v>
                </c:pt>
                <c:pt idx="8723">
                  <c:v>-7.6962083000000003</c:v>
                </c:pt>
                <c:pt idx="8724">
                  <c:v>-7.6939760000000001</c:v>
                </c:pt>
                <c:pt idx="8725">
                  <c:v>-7.6917445999999998</c:v>
                </c:pt>
                <c:pt idx="8726">
                  <c:v>-7.6895141000000002</c:v>
                </c:pt>
                <c:pt idx="8727">
                  <c:v>-7.6872832999999998</c:v>
                </c:pt>
                <c:pt idx="8728">
                  <c:v>-7.6850534000000001</c:v>
                </c:pt>
                <c:pt idx="8729">
                  <c:v>-7.6828232999999999</c:v>
                </c:pt>
                <c:pt idx="8730">
                  <c:v>-7.6805947000000003</c:v>
                </c:pt>
                <c:pt idx="8731">
                  <c:v>-7.6783656000000002</c:v>
                </c:pt>
                <c:pt idx="8732">
                  <c:v>-7.6761378999999996</c:v>
                </c:pt>
                <c:pt idx="8733">
                  <c:v>-7.6739091999999998</c:v>
                </c:pt>
                <c:pt idx="8734">
                  <c:v>-7.6716818</c:v>
                </c:pt>
                <c:pt idx="8735">
                  <c:v>-7.6694547000000002</c:v>
                </c:pt>
                <c:pt idx="8736">
                  <c:v>-7.6672286999999999</c:v>
                </c:pt>
                <c:pt idx="8737">
                  <c:v>-7.6650029000000002</c:v>
                </c:pt>
                <c:pt idx="8738">
                  <c:v>-7.6627773000000001</c:v>
                </c:pt>
                <c:pt idx="8739">
                  <c:v>-7.6605512999999998</c:v>
                </c:pt>
                <c:pt idx="8740">
                  <c:v>-7.6583265000000003</c:v>
                </c:pt>
                <c:pt idx="8741">
                  <c:v>-7.6561022000000003</c:v>
                </c:pt>
                <c:pt idx="8742">
                  <c:v>-7.6538782000000003</c:v>
                </c:pt>
                <c:pt idx="8743">
                  <c:v>-7.6516557000000001</c:v>
                </c:pt>
                <c:pt idx="8744">
                  <c:v>-7.649432</c:v>
                </c:pt>
                <c:pt idx="8745">
                  <c:v>-7.6472091999999998</c:v>
                </c:pt>
                <c:pt idx="8746">
                  <c:v>-7.6449873000000004</c:v>
                </c:pt>
                <c:pt idx="8747">
                  <c:v>-7.6427649999999998</c:v>
                </c:pt>
                <c:pt idx="8748">
                  <c:v>-7.6405431000000004</c:v>
                </c:pt>
                <c:pt idx="8749">
                  <c:v>-7.6383236999999999</c:v>
                </c:pt>
                <c:pt idx="8750">
                  <c:v>-7.6361018999999999</c:v>
                </c:pt>
                <c:pt idx="8751">
                  <c:v>-7.6338812000000003</c:v>
                </c:pt>
                <c:pt idx="8752">
                  <c:v>-7.6316628</c:v>
                </c:pt>
                <c:pt idx="8753">
                  <c:v>-7.6294430000000002</c:v>
                </c:pt>
                <c:pt idx="8754">
                  <c:v>-7.6272235000000004</c:v>
                </c:pt>
                <c:pt idx="8755">
                  <c:v>-7.6250055999999997</c:v>
                </c:pt>
                <c:pt idx="8756">
                  <c:v>-7.6227872999999997</c:v>
                </c:pt>
                <c:pt idx="8757">
                  <c:v>-7.6205691</c:v>
                </c:pt>
                <c:pt idx="8758">
                  <c:v>-7.6183519000000004</c:v>
                </c:pt>
                <c:pt idx="8759">
                  <c:v>-7.6161358000000003</c:v>
                </c:pt>
                <c:pt idx="8760">
                  <c:v>-7.6139194000000003</c:v>
                </c:pt>
                <c:pt idx="8761">
                  <c:v>-7.6117039000000002</c:v>
                </c:pt>
                <c:pt idx="8762">
                  <c:v>-7.6094885999999997</c:v>
                </c:pt>
                <c:pt idx="8763">
                  <c:v>-7.6072734999999998</c:v>
                </c:pt>
                <c:pt idx="8764">
                  <c:v>-7.6050585999999996</c:v>
                </c:pt>
                <c:pt idx="8765">
                  <c:v>-7.6028446000000001</c:v>
                </c:pt>
                <c:pt idx="8766">
                  <c:v>-7.6006299999999998</c:v>
                </c:pt>
                <c:pt idx="8767">
                  <c:v>-7.5984173999999998</c:v>
                </c:pt>
                <c:pt idx="8768">
                  <c:v>-7.5962038999999999</c:v>
                </c:pt>
                <c:pt idx="8769">
                  <c:v>-7.5939918999999998</c:v>
                </c:pt>
                <c:pt idx="8770">
                  <c:v>-7.5917801000000003</c:v>
                </c:pt>
                <c:pt idx="8771">
                  <c:v>-7.5895685000000004</c:v>
                </c:pt>
                <c:pt idx="8772">
                  <c:v>-7.5873572999999999</c:v>
                </c:pt>
                <c:pt idx="8773">
                  <c:v>-7.5851465999999999</c:v>
                </c:pt>
                <c:pt idx="8774">
                  <c:v>-7.5829354999999996</c:v>
                </c:pt>
                <c:pt idx="8775">
                  <c:v>-7.5807259</c:v>
                </c:pt>
                <c:pt idx="8776">
                  <c:v>-7.5785166000000004</c:v>
                </c:pt>
                <c:pt idx="8777">
                  <c:v>-7.5763084000000003</c:v>
                </c:pt>
                <c:pt idx="8778">
                  <c:v>-7.5740992</c:v>
                </c:pt>
                <c:pt idx="8779">
                  <c:v>-7.5718915999999998</c:v>
                </c:pt>
                <c:pt idx="8780">
                  <c:v>-7.5696842000000002</c:v>
                </c:pt>
                <c:pt idx="8781">
                  <c:v>-7.5674758000000004</c:v>
                </c:pt>
                <c:pt idx="8782">
                  <c:v>-7.5652682000000002</c:v>
                </c:pt>
                <c:pt idx="8783">
                  <c:v>-7.5630620999999998</c:v>
                </c:pt>
                <c:pt idx="8784">
                  <c:v>-7.5608554999999997</c:v>
                </c:pt>
                <c:pt idx="8785">
                  <c:v>-7.5586498000000004</c:v>
                </c:pt>
                <c:pt idx="8786">
                  <c:v>-7.5564448999999998</c:v>
                </c:pt>
                <c:pt idx="8787">
                  <c:v>-7.5542389999999999</c:v>
                </c:pt>
                <c:pt idx="8788">
                  <c:v>-7.5520354000000003</c:v>
                </c:pt>
                <c:pt idx="8789">
                  <c:v>-7.5498308999999999</c:v>
                </c:pt>
                <c:pt idx="8790">
                  <c:v>-7.5476285000000001</c:v>
                </c:pt>
                <c:pt idx="8791">
                  <c:v>-7.5454257</c:v>
                </c:pt>
                <c:pt idx="8792">
                  <c:v>-7.5432218000000004</c:v>
                </c:pt>
                <c:pt idx="8793">
                  <c:v>-7.5410193999999997</c:v>
                </c:pt>
                <c:pt idx="8794">
                  <c:v>-7.5388178999999997</c:v>
                </c:pt>
                <c:pt idx="8795">
                  <c:v>-7.5366163999999998</c:v>
                </c:pt>
                <c:pt idx="8796">
                  <c:v>-7.5344144000000002</c:v>
                </c:pt>
                <c:pt idx="8797">
                  <c:v>-7.5322158000000003</c:v>
                </c:pt>
                <c:pt idx="8798">
                  <c:v>-7.5300136999999996</c:v>
                </c:pt>
                <c:pt idx="8799">
                  <c:v>-7.5278153000000003</c:v>
                </c:pt>
                <c:pt idx="8800">
                  <c:v>-7.5256134000000001</c:v>
                </c:pt>
                <c:pt idx="8801">
                  <c:v>-7.5234170999999996</c:v>
                </c:pt>
                <c:pt idx="8802">
                  <c:v>-7.5212174000000003</c:v>
                </c:pt>
                <c:pt idx="8803">
                  <c:v>-7.5190190000000001</c:v>
                </c:pt>
                <c:pt idx="8804">
                  <c:v>-7.5168227999999999</c:v>
                </c:pt>
                <c:pt idx="8805">
                  <c:v>-7.5146233999999996</c:v>
                </c:pt>
                <c:pt idx="8806">
                  <c:v>-7.5124281000000002</c:v>
                </c:pt>
                <c:pt idx="8807">
                  <c:v>-7.5102311999999998</c:v>
                </c:pt>
                <c:pt idx="8808">
                  <c:v>-7.5080355000000001</c:v>
                </c:pt>
                <c:pt idx="8809">
                  <c:v>-7.5058394000000002</c:v>
                </c:pt>
                <c:pt idx="8810">
                  <c:v>-7.5036448</c:v>
                </c:pt>
                <c:pt idx="8811">
                  <c:v>-7.5014494999999997</c:v>
                </c:pt>
                <c:pt idx="8812">
                  <c:v>-7.4992539000000003</c:v>
                </c:pt>
                <c:pt idx="8813">
                  <c:v>-7.4970599</c:v>
                </c:pt>
                <c:pt idx="8814">
                  <c:v>-7.4948679</c:v>
                </c:pt>
                <c:pt idx="8815">
                  <c:v>-7.4926744999999997</c:v>
                </c:pt>
                <c:pt idx="8816">
                  <c:v>-7.4904821999999998</c:v>
                </c:pt>
                <c:pt idx="8817">
                  <c:v>-7.4882891999999996</c:v>
                </c:pt>
                <c:pt idx="8818">
                  <c:v>-7.4860984000000004</c:v>
                </c:pt>
                <c:pt idx="8819">
                  <c:v>-7.4839060000000002</c:v>
                </c:pt>
                <c:pt idx="8820">
                  <c:v>-7.4817155</c:v>
                </c:pt>
                <c:pt idx="8821">
                  <c:v>-7.4795252000000003</c:v>
                </c:pt>
                <c:pt idx="8822">
                  <c:v>-7.4773335999999997</c:v>
                </c:pt>
                <c:pt idx="8823">
                  <c:v>-7.4751440999999996</c:v>
                </c:pt>
                <c:pt idx="8824">
                  <c:v>-7.4729555000000003</c:v>
                </c:pt>
                <c:pt idx="8825">
                  <c:v>-7.4707657999999997</c:v>
                </c:pt>
                <c:pt idx="8826">
                  <c:v>-7.4685781000000002</c:v>
                </c:pt>
                <c:pt idx="8827">
                  <c:v>-7.4663899999999996</c:v>
                </c:pt>
                <c:pt idx="8828">
                  <c:v>-7.4642011999999998</c:v>
                </c:pt>
                <c:pt idx="8829">
                  <c:v>-7.4620141000000002</c:v>
                </c:pt>
                <c:pt idx="8830">
                  <c:v>-7.4598279999999999</c:v>
                </c:pt>
                <c:pt idx="8831">
                  <c:v>-7.4576412999999997</c:v>
                </c:pt>
                <c:pt idx="8832">
                  <c:v>-7.4554545000000001</c:v>
                </c:pt>
                <c:pt idx="8833">
                  <c:v>-7.4532696999999999</c:v>
                </c:pt>
                <c:pt idx="8834">
                  <c:v>-7.4510835999999996</c:v>
                </c:pt>
                <c:pt idx="8835">
                  <c:v>-7.4489001000000004</c:v>
                </c:pt>
                <c:pt idx="8836">
                  <c:v>-7.4467157000000004</c:v>
                </c:pt>
                <c:pt idx="8837">
                  <c:v>-7.4445307999999999</c:v>
                </c:pt>
                <c:pt idx="8838">
                  <c:v>-7.4423478999999997</c:v>
                </c:pt>
                <c:pt idx="8839">
                  <c:v>-7.4401647000000004</c:v>
                </c:pt>
                <c:pt idx="8840">
                  <c:v>-7.4379815999999996</c:v>
                </c:pt>
                <c:pt idx="8841">
                  <c:v>-7.4357972999999999</c:v>
                </c:pt>
                <c:pt idx="8842">
                  <c:v>-7.4336168999999996</c:v>
                </c:pt>
                <c:pt idx="8843">
                  <c:v>-7.4314352000000001</c:v>
                </c:pt>
                <c:pt idx="8844">
                  <c:v>-7.4292549000000001</c:v>
                </c:pt>
                <c:pt idx="8845">
                  <c:v>-7.4270740999999996</c:v>
                </c:pt>
                <c:pt idx="8846">
                  <c:v>-7.4248935999999999</c:v>
                </c:pt>
                <c:pt idx="8847">
                  <c:v>-7.4227135000000004</c:v>
                </c:pt>
                <c:pt idx="8848">
                  <c:v>-7.4205344999999996</c:v>
                </c:pt>
                <c:pt idx="8849">
                  <c:v>-7.4183548999999998</c:v>
                </c:pt>
                <c:pt idx="8850">
                  <c:v>-7.4161764999999997</c:v>
                </c:pt>
                <c:pt idx="8851">
                  <c:v>-7.4139983999999997</c:v>
                </c:pt>
                <c:pt idx="8852">
                  <c:v>-7.4118206999999998</c:v>
                </c:pt>
                <c:pt idx="8853">
                  <c:v>-7.4096447000000003</c:v>
                </c:pt>
                <c:pt idx="8854">
                  <c:v>-7.4074647999999996</c:v>
                </c:pt>
                <c:pt idx="8855">
                  <c:v>-7.4052898000000003</c:v>
                </c:pt>
                <c:pt idx="8856">
                  <c:v>-7.4031127999999997</c:v>
                </c:pt>
                <c:pt idx="8857">
                  <c:v>-7.4009372999999998</c:v>
                </c:pt>
                <c:pt idx="8858">
                  <c:v>-7.3987632000000003</c:v>
                </c:pt>
                <c:pt idx="8859">
                  <c:v>-7.3965870000000002</c:v>
                </c:pt>
                <c:pt idx="8860">
                  <c:v>-7.3944127000000002</c:v>
                </c:pt>
                <c:pt idx="8861">
                  <c:v>-7.3922394000000002</c:v>
                </c:pt>
                <c:pt idx="8862">
                  <c:v>-7.3900651999999996</c:v>
                </c:pt>
                <c:pt idx="8863">
                  <c:v>-7.387893</c:v>
                </c:pt>
                <c:pt idx="8864">
                  <c:v>-7.3857181000000001</c:v>
                </c:pt>
                <c:pt idx="8865">
                  <c:v>-7.3835461000000002</c:v>
                </c:pt>
                <c:pt idx="8866">
                  <c:v>-7.3813740000000001</c:v>
                </c:pt>
                <c:pt idx="8867">
                  <c:v>-7.3792033999999997</c:v>
                </c:pt>
                <c:pt idx="8868">
                  <c:v>-7.3770319999999998</c:v>
                </c:pt>
                <c:pt idx="8869">
                  <c:v>-7.3748608000000004</c:v>
                </c:pt>
                <c:pt idx="8870">
                  <c:v>-7.3726891999999999</c:v>
                </c:pt>
                <c:pt idx="8871">
                  <c:v>-7.3705207000000001</c:v>
                </c:pt>
                <c:pt idx="8872">
                  <c:v>-7.3683513999999999</c:v>
                </c:pt>
                <c:pt idx="8873">
                  <c:v>-7.3661804999999996</c:v>
                </c:pt>
                <c:pt idx="8874">
                  <c:v>-7.3640128999999996</c:v>
                </c:pt>
                <c:pt idx="8875">
                  <c:v>-7.3618433999999997</c:v>
                </c:pt>
                <c:pt idx="8876">
                  <c:v>-7.3596757000000004</c:v>
                </c:pt>
                <c:pt idx="8877">
                  <c:v>-7.3575077999999996</c:v>
                </c:pt>
                <c:pt idx="8878">
                  <c:v>-7.3553417999999997</c:v>
                </c:pt>
                <c:pt idx="8879">
                  <c:v>-7.3531744999999997</c:v>
                </c:pt>
                <c:pt idx="8880">
                  <c:v>-7.3510087000000004</c:v>
                </c:pt>
                <c:pt idx="8881">
                  <c:v>-7.3488416000000001</c:v>
                </c:pt>
                <c:pt idx="8882">
                  <c:v>-7.3466760000000004</c:v>
                </c:pt>
                <c:pt idx="8883">
                  <c:v>-7.3445105000000002</c:v>
                </c:pt>
                <c:pt idx="8884">
                  <c:v>-7.3423467000000002</c:v>
                </c:pt>
                <c:pt idx="8885">
                  <c:v>-7.3401819000000001</c:v>
                </c:pt>
                <c:pt idx="8886">
                  <c:v>-7.3380185999999998</c:v>
                </c:pt>
                <c:pt idx="8887">
                  <c:v>-7.3358547999999999</c:v>
                </c:pt>
                <c:pt idx="8888">
                  <c:v>-7.3336923000000001</c:v>
                </c:pt>
                <c:pt idx="8889">
                  <c:v>-7.3315291</c:v>
                </c:pt>
                <c:pt idx="8890">
                  <c:v>-7.3293666000000002</c:v>
                </c:pt>
                <c:pt idx="8891">
                  <c:v>-7.3272048999999999</c:v>
                </c:pt>
                <c:pt idx="8892">
                  <c:v>-7.3250432999999999</c:v>
                </c:pt>
                <c:pt idx="8893">
                  <c:v>-7.3228824000000001</c:v>
                </c:pt>
                <c:pt idx="8894">
                  <c:v>-7.3207217</c:v>
                </c:pt>
                <c:pt idx="8895">
                  <c:v>-7.3185615000000004</c:v>
                </c:pt>
                <c:pt idx="8896">
                  <c:v>-7.3164009999999999</c:v>
                </c:pt>
                <c:pt idx="8897">
                  <c:v>-7.314241</c:v>
                </c:pt>
                <c:pt idx="8898">
                  <c:v>-7.3120829000000001</c:v>
                </c:pt>
                <c:pt idx="8899">
                  <c:v>-7.3099238</c:v>
                </c:pt>
                <c:pt idx="8900">
                  <c:v>-7.307766</c:v>
                </c:pt>
                <c:pt idx="8901">
                  <c:v>-7.3056082</c:v>
                </c:pt>
                <c:pt idx="8902">
                  <c:v>-7.3034512999999999</c:v>
                </c:pt>
                <c:pt idx="8903">
                  <c:v>-7.3012936000000002</c:v>
                </c:pt>
                <c:pt idx="8904">
                  <c:v>-7.2991368999999997</c:v>
                </c:pt>
                <c:pt idx="8905">
                  <c:v>-7.2969812999999997</c:v>
                </c:pt>
                <c:pt idx="8906">
                  <c:v>-7.2948238999999999</c:v>
                </c:pt>
                <c:pt idx="8907">
                  <c:v>-7.2926697999999996</c:v>
                </c:pt>
                <c:pt idx="8908">
                  <c:v>-7.2905144999999996</c:v>
                </c:pt>
                <c:pt idx="8909">
                  <c:v>-7.2883604000000002</c:v>
                </c:pt>
                <c:pt idx="8910">
                  <c:v>-7.2862052000000004</c:v>
                </c:pt>
                <c:pt idx="8911">
                  <c:v>-7.2840525999999999</c:v>
                </c:pt>
                <c:pt idx="8912">
                  <c:v>-7.2818988999999998</c:v>
                </c:pt>
                <c:pt idx="8913">
                  <c:v>-7.2797457999999997</c:v>
                </c:pt>
                <c:pt idx="8914">
                  <c:v>-7.2775908999999999</c:v>
                </c:pt>
                <c:pt idx="8915">
                  <c:v>-7.2754402999999996</c:v>
                </c:pt>
                <c:pt idx="8916">
                  <c:v>-7.2732887000000002</c:v>
                </c:pt>
                <c:pt idx="8917">
                  <c:v>-7.2711364999999999</c:v>
                </c:pt>
                <c:pt idx="8918">
                  <c:v>-7.2689868999999998</c:v>
                </c:pt>
                <c:pt idx="8919">
                  <c:v>-7.2668359999999996</c:v>
                </c:pt>
                <c:pt idx="8920">
                  <c:v>-7.2646847000000001</c:v>
                </c:pt>
                <c:pt idx="8921">
                  <c:v>-7.2625356999999999</c:v>
                </c:pt>
                <c:pt idx="8922">
                  <c:v>-7.2603857999999999</c:v>
                </c:pt>
                <c:pt idx="8923">
                  <c:v>-7.2582364999999998</c:v>
                </c:pt>
                <c:pt idx="8924">
                  <c:v>-7.2560889</c:v>
                </c:pt>
                <c:pt idx="8925">
                  <c:v>-7.2539404000000003</c:v>
                </c:pt>
                <c:pt idx="8926">
                  <c:v>-7.2517923</c:v>
                </c:pt>
                <c:pt idx="8927">
                  <c:v>-7.2496445999999999</c:v>
                </c:pt>
                <c:pt idx="8928">
                  <c:v>-7.2474971999999998</c:v>
                </c:pt>
                <c:pt idx="8929">
                  <c:v>-7.2453513999999997</c:v>
                </c:pt>
                <c:pt idx="8930">
                  <c:v>-7.2432049000000003</c:v>
                </c:pt>
                <c:pt idx="8931">
                  <c:v>-7.2410585999999997</c:v>
                </c:pt>
                <c:pt idx="8932">
                  <c:v>-7.2389133000000001</c:v>
                </c:pt>
                <c:pt idx="8933">
                  <c:v>-7.2367682000000002</c:v>
                </c:pt>
                <c:pt idx="8934">
                  <c:v>-7.2346237999999996</c:v>
                </c:pt>
                <c:pt idx="8935">
                  <c:v>-7.2324793999999999</c:v>
                </c:pt>
                <c:pt idx="8936">
                  <c:v>-7.2303363000000003</c:v>
                </c:pt>
                <c:pt idx="8937">
                  <c:v>-7.2281914</c:v>
                </c:pt>
                <c:pt idx="8938">
                  <c:v>-7.2260491</c:v>
                </c:pt>
                <c:pt idx="8939">
                  <c:v>-7.2239062000000001</c:v>
                </c:pt>
                <c:pt idx="8940">
                  <c:v>-7.2217639</c:v>
                </c:pt>
                <c:pt idx="8941">
                  <c:v>-7.2196227999999998</c:v>
                </c:pt>
                <c:pt idx="8942">
                  <c:v>-7.2174813000000002</c:v>
                </c:pt>
                <c:pt idx="8943">
                  <c:v>-7.2153402</c:v>
                </c:pt>
                <c:pt idx="8944">
                  <c:v>-7.2131993000000003</c:v>
                </c:pt>
                <c:pt idx="8945">
                  <c:v>-7.2110590999999999</c:v>
                </c:pt>
                <c:pt idx="8946">
                  <c:v>-7.2089201999999997</c:v>
                </c:pt>
                <c:pt idx="8947">
                  <c:v>-7.2067800000000002</c:v>
                </c:pt>
                <c:pt idx="8948">
                  <c:v>-7.2046406000000003</c:v>
                </c:pt>
                <c:pt idx="8949">
                  <c:v>-7.2025022999999999</c:v>
                </c:pt>
                <c:pt idx="8950">
                  <c:v>-7.2003642000000001</c:v>
                </c:pt>
                <c:pt idx="8951">
                  <c:v>-7.1982252999999998</c:v>
                </c:pt>
                <c:pt idx="8952">
                  <c:v>-7.1960877999999999</c:v>
                </c:pt>
                <c:pt idx="8953">
                  <c:v>-7.1939514999999998</c:v>
                </c:pt>
                <c:pt idx="8954">
                  <c:v>-7.1918147000000001</c:v>
                </c:pt>
                <c:pt idx="8955">
                  <c:v>-7.1896785999999997</c:v>
                </c:pt>
                <c:pt idx="8956">
                  <c:v>-7.1875423999999999</c:v>
                </c:pt>
                <c:pt idx="8957">
                  <c:v>-7.1854069999999997</c:v>
                </c:pt>
                <c:pt idx="8958">
                  <c:v>-7.1832713999999998</c:v>
                </c:pt>
                <c:pt idx="8959">
                  <c:v>-7.1811372000000002</c:v>
                </c:pt>
                <c:pt idx="8960">
                  <c:v>-7.1790029999999998</c:v>
                </c:pt>
                <c:pt idx="8961">
                  <c:v>-7.1768681000000001</c:v>
                </c:pt>
                <c:pt idx="8962">
                  <c:v>-7.1747353</c:v>
                </c:pt>
                <c:pt idx="8963">
                  <c:v>-7.1726017999999998</c:v>
                </c:pt>
                <c:pt idx="8964">
                  <c:v>-7.1704701000000002</c:v>
                </c:pt>
                <c:pt idx="8965">
                  <c:v>-7.1683371999999999</c:v>
                </c:pt>
                <c:pt idx="8966">
                  <c:v>-7.1662055999999996</c:v>
                </c:pt>
                <c:pt idx="8967">
                  <c:v>-7.1640727999999996</c:v>
                </c:pt>
                <c:pt idx="8968">
                  <c:v>-7.1619431000000002</c:v>
                </c:pt>
                <c:pt idx="8969">
                  <c:v>-7.1598116000000003</c:v>
                </c:pt>
                <c:pt idx="8970">
                  <c:v>-7.1576819</c:v>
                </c:pt>
                <c:pt idx="8971">
                  <c:v>-7.155551</c:v>
                </c:pt>
                <c:pt idx="8972">
                  <c:v>-7.1534212999999998</c:v>
                </c:pt>
                <c:pt idx="8973">
                  <c:v>-7.1512916999999998</c:v>
                </c:pt>
                <c:pt idx="8974">
                  <c:v>-7.1491632999999997</c:v>
                </c:pt>
                <c:pt idx="8975">
                  <c:v>-7.1470355000000003</c:v>
                </c:pt>
                <c:pt idx="8976">
                  <c:v>-7.1449064</c:v>
                </c:pt>
                <c:pt idx="8977">
                  <c:v>-7.1427791999999997</c:v>
                </c:pt>
                <c:pt idx="8978">
                  <c:v>-7.1406533999999997</c:v>
                </c:pt>
                <c:pt idx="8979">
                  <c:v>-7.1385243999999997</c:v>
                </c:pt>
                <c:pt idx="8980">
                  <c:v>-7.1363991000000002</c:v>
                </c:pt>
                <c:pt idx="8981">
                  <c:v>-7.1342720999999996</c:v>
                </c:pt>
                <c:pt idx="8982">
                  <c:v>-7.1321472999999997</c:v>
                </c:pt>
                <c:pt idx="8983">
                  <c:v>-7.1300220000000003</c:v>
                </c:pt>
                <c:pt idx="8984">
                  <c:v>-7.1278962000000003</c:v>
                </c:pt>
                <c:pt idx="8985">
                  <c:v>-7.1257720999999998</c:v>
                </c:pt>
                <c:pt idx="8986">
                  <c:v>-7.1236480999999996</c:v>
                </c:pt>
                <c:pt idx="8987">
                  <c:v>-7.1215253000000001</c:v>
                </c:pt>
                <c:pt idx="8988">
                  <c:v>-7.1194018000000003</c:v>
                </c:pt>
                <c:pt idx="8989">
                  <c:v>-7.1172789999999999</c:v>
                </c:pt>
                <c:pt idx="8990">
                  <c:v>-7.1151555999999996</c:v>
                </c:pt>
                <c:pt idx="8991">
                  <c:v>-7.1130341000000001</c:v>
                </c:pt>
                <c:pt idx="8992">
                  <c:v>-7.1109106000000004</c:v>
                </c:pt>
                <c:pt idx="8993">
                  <c:v>-7.1087908999999998</c:v>
                </c:pt>
                <c:pt idx="8994">
                  <c:v>-7.1066691999999998</c:v>
                </c:pt>
                <c:pt idx="8995">
                  <c:v>-7.1045482</c:v>
                </c:pt>
                <c:pt idx="8996">
                  <c:v>-7.1024278000000001</c:v>
                </c:pt>
                <c:pt idx="8997">
                  <c:v>-7.1003091999999999</c:v>
                </c:pt>
                <c:pt idx="8998">
                  <c:v>-7.0981899999999998</c:v>
                </c:pt>
                <c:pt idx="8999">
                  <c:v>-7.096069</c:v>
                </c:pt>
                <c:pt idx="9000">
                  <c:v>-7.0939515999999996</c:v>
                </c:pt>
                <c:pt idx="9001">
                  <c:v>-7.0918336000000002</c:v>
                </c:pt>
                <c:pt idx="9002">
                  <c:v>-7.089715</c:v>
                </c:pt>
                <c:pt idx="9003">
                  <c:v>-7.0875981000000001</c:v>
                </c:pt>
                <c:pt idx="9004">
                  <c:v>-7.0854806999999997</c:v>
                </c:pt>
                <c:pt idx="9005">
                  <c:v>-7.0833649999999997</c:v>
                </c:pt>
                <c:pt idx="9006">
                  <c:v>-7.0812470000000003</c:v>
                </c:pt>
                <c:pt idx="9007">
                  <c:v>-7.0791320000000004</c:v>
                </c:pt>
                <c:pt idx="9008">
                  <c:v>-7.0770173999999999</c:v>
                </c:pt>
                <c:pt idx="9009">
                  <c:v>-7.0749012000000002</c:v>
                </c:pt>
                <c:pt idx="9010">
                  <c:v>-7.0727871999999996</c:v>
                </c:pt>
                <c:pt idx="9011">
                  <c:v>-7.0706727000000003</c:v>
                </c:pt>
                <c:pt idx="9012">
                  <c:v>-7.0685582</c:v>
                </c:pt>
                <c:pt idx="9013">
                  <c:v>-7.0664442000000003</c:v>
                </c:pt>
                <c:pt idx="9014">
                  <c:v>-7.0643314000000004</c:v>
                </c:pt>
                <c:pt idx="9015">
                  <c:v>-7.0622192000000004</c:v>
                </c:pt>
                <c:pt idx="9016">
                  <c:v>-7.0601058999999999</c:v>
                </c:pt>
                <c:pt idx="9017">
                  <c:v>-7.0579935999999996</c:v>
                </c:pt>
                <c:pt idx="9018">
                  <c:v>-7.0558826000000003</c:v>
                </c:pt>
                <c:pt idx="9019">
                  <c:v>-7.0537714999999999</c:v>
                </c:pt>
                <c:pt idx="9020">
                  <c:v>-7.0516598000000004</c:v>
                </c:pt>
                <c:pt idx="9021">
                  <c:v>-7.0495492000000004</c:v>
                </c:pt>
                <c:pt idx="9022">
                  <c:v>-7.0474398999999996</c:v>
                </c:pt>
                <c:pt idx="9023">
                  <c:v>-7.0453305000000004</c:v>
                </c:pt>
                <c:pt idx="9024">
                  <c:v>-7.0432199000000004</c:v>
                </c:pt>
                <c:pt idx="9025">
                  <c:v>-7.0411115999999998</c:v>
                </c:pt>
                <c:pt idx="9026">
                  <c:v>-7.0390033000000001</c:v>
                </c:pt>
                <c:pt idx="9027">
                  <c:v>-7.0368944000000004</c:v>
                </c:pt>
                <c:pt idx="9028">
                  <c:v>-7.0347872999999996</c:v>
                </c:pt>
                <c:pt idx="9029">
                  <c:v>-7.0326795999999998</c:v>
                </c:pt>
                <c:pt idx="9030">
                  <c:v>-7.0305717999999997</c:v>
                </c:pt>
                <c:pt idx="9031">
                  <c:v>-7.0284658000000002</c:v>
                </c:pt>
                <c:pt idx="9032">
                  <c:v>-7.0263590999999996</c:v>
                </c:pt>
                <c:pt idx="9033">
                  <c:v>-7.0242529999999999</c:v>
                </c:pt>
                <c:pt idx="9034">
                  <c:v>-7.0221492000000003</c:v>
                </c:pt>
                <c:pt idx="9035">
                  <c:v>-7.0200436000000002</c:v>
                </c:pt>
                <c:pt idx="9036">
                  <c:v>-7.0179375000000004</c:v>
                </c:pt>
                <c:pt idx="9037">
                  <c:v>-7.0158341999999996</c:v>
                </c:pt>
                <c:pt idx="9038">
                  <c:v>-7.0137302000000004</c:v>
                </c:pt>
                <c:pt idx="9039">
                  <c:v>-7.0116262999999996</c:v>
                </c:pt>
                <c:pt idx="9040">
                  <c:v>-7.0095229000000003</c:v>
                </c:pt>
                <c:pt idx="9041">
                  <c:v>-7.0074201</c:v>
                </c:pt>
                <c:pt idx="9042">
                  <c:v>-7.0053184000000002</c:v>
                </c:pt>
                <c:pt idx="9043">
                  <c:v>-7.0032154999999996</c:v>
                </c:pt>
                <c:pt idx="9044">
                  <c:v>-7.0011137000000003</c:v>
                </c:pt>
                <c:pt idx="9045">
                  <c:v>-6.9990123999999998</c:v>
                </c:pt>
                <c:pt idx="9046">
                  <c:v>-6.9969112000000004</c:v>
                </c:pt>
                <c:pt idx="9047">
                  <c:v>-6.9948116000000002</c:v>
                </c:pt>
                <c:pt idx="9048">
                  <c:v>-6.9927115000000004</c:v>
                </c:pt>
                <c:pt idx="9049">
                  <c:v>-6.9906117999999999</c:v>
                </c:pt>
                <c:pt idx="9050">
                  <c:v>-6.9885115999999998</c:v>
                </c:pt>
                <c:pt idx="9051">
                  <c:v>-6.9864125000000001</c:v>
                </c:pt>
                <c:pt idx="9052">
                  <c:v>-6.9843137999999998</c:v>
                </c:pt>
                <c:pt idx="9053">
                  <c:v>-6.9822157999999996</c:v>
                </c:pt>
                <c:pt idx="9054">
                  <c:v>-6.9801183</c:v>
                </c:pt>
                <c:pt idx="9055">
                  <c:v>-6.9780207000000001</c:v>
                </c:pt>
                <c:pt idx="9056">
                  <c:v>-6.9759231000000002</c:v>
                </c:pt>
                <c:pt idx="9057">
                  <c:v>-6.9738271999999997</c:v>
                </c:pt>
                <c:pt idx="9058">
                  <c:v>-6.9717313000000001</c:v>
                </c:pt>
                <c:pt idx="9059">
                  <c:v>-6.9696346</c:v>
                </c:pt>
                <c:pt idx="9060">
                  <c:v>-6.9675386000000001</c:v>
                </c:pt>
                <c:pt idx="9061">
                  <c:v>-6.9654442000000003</c:v>
                </c:pt>
                <c:pt idx="9062">
                  <c:v>-6.9633491999999997</c:v>
                </c:pt>
                <c:pt idx="9063">
                  <c:v>-6.9612553000000004</c:v>
                </c:pt>
                <c:pt idx="9064">
                  <c:v>-6.9591608000000003</c:v>
                </c:pt>
                <c:pt idx="9065">
                  <c:v>-6.9570679999999996</c:v>
                </c:pt>
                <c:pt idx="9066">
                  <c:v>-6.9549738000000003</c:v>
                </c:pt>
                <c:pt idx="9067">
                  <c:v>-6.9528809000000003</c:v>
                </c:pt>
                <c:pt idx="9068">
                  <c:v>-6.9507884999999998</c:v>
                </c:pt>
                <c:pt idx="9069">
                  <c:v>-6.9486971999999998</c:v>
                </c:pt>
                <c:pt idx="9070">
                  <c:v>-6.9466047</c:v>
                </c:pt>
                <c:pt idx="9071">
                  <c:v>-6.9445126999999998</c:v>
                </c:pt>
                <c:pt idx="9072">
                  <c:v>-6.9424218</c:v>
                </c:pt>
                <c:pt idx="9073">
                  <c:v>-6.9403312000000001</c:v>
                </c:pt>
                <c:pt idx="9074">
                  <c:v>-6.9382413999999999</c:v>
                </c:pt>
                <c:pt idx="9075">
                  <c:v>-6.9361512999999997</c:v>
                </c:pt>
                <c:pt idx="9076">
                  <c:v>-6.9340614</c:v>
                </c:pt>
                <c:pt idx="9077">
                  <c:v>-6.9319724999999996</c:v>
                </c:pt>
                <c:pt idx="9078">
                  <c:v>-6.9298829</c:v>
                </c:pt>
                <c:pt idx="9079">
                  <c:v>-6.9277956999999999</c:v>
                </c:pt>
                <c:pt idx="9080">
                  <c:v>-6.9257070000000001</c:v>
                </c:pt>
                <c:pt idx="9081">
                  <c:v>-6.9236202999999996</c:v>
                </c:pt>
                <c:pt idx="9082">
                  <c:v>-6.921532</c:v>
                </c:pt>
                <c:pt idx="9083">
                  <c:v>-6.9194462999999997</c:v>
                </c:pt>
                <c:pt idx="9084">
                  <c:v>-6.9173591999999999</c:v>
                </c:pt>
                <c:pt idx="9085">
                  <c:v>-6.9152737000000002</c:v>
                </c:pt>
                <c:pt idx="9086">
                  <c:v>-6.9131876999999999</c:v>
                </c:pt>
                <c:pt idx="9087">
                  <c:v>-6.9111015</c:v>
                </c:pt>
                <c:pt idx="9088">
                  <c:v>-6.9090170000000004</c:v>
                </c:pt>
                <c:pt idx="9089">
                  <c:v>-6.9069326000000002</c:v>
                </c:pt>
                <c:pt idx="9090">
                  <c:v>-6.9048479</c:v>
                </c:pt>
                <c:pt idx="9091">
                  <c:v>-6.9027647999999999</c:v>
                </c:pt>
                <c:pt idx="9092">
                  <c:v>-6.9006802</c:v>
                </c:pt>
                <c:pt idx="9093">
                  <c:v>-6.8985981000000001</c:v>
                </c:pt>
                <c:pt idx="9094">
                  <c:v>-6.8965161000000004</c:v>
                </c:pt>
                <c:pt idx="9095">
                  <c:v>-6.8944327999999997</c:v>
                </c:pt>
                <c:pt idx="9096">
                  <c:v>-6.8923505</c:v>
                </c:pt>
                <c:pt idx="9097">
                  <c:v>-6.8902694000000002</c:v>
                </c:pt>
                <c:pt idx="9098">
                  <c:v>-6.8881880999999998</c:v>
                </c:pt>
                <c:pt idx="9099">
                  <c:v>-6.8861074000000002</c:v>
                </c:pt>
                <c:pt idx="9100">
                  <c:v>-6.8840271</c:v>
                </c:pt>
                <c:pt idx="9101">
                  <c:v>-6.8819473999999996</c:v>
                </c:pt>
                <c:pt idx="9102">
                  <c:v>-6.879867</c:v>
                </c:pt>
                <c:pt idx="9103">
                  <c:v>-6.8777875999999996</c:v>
                </c:pt>
                <c:pt idx="9104">
                  <c:v>-6.8757086999999997</c:v>
                </c:pt>
                <c:pt idx="9105">
                  <c:v>-6.8736297000000004</c:v>
                </c:pt>
                <c:pt idx="9106">
                  <c:v>-6.8715520000000003</c:v>
                </c:pt>
                <c:pt idx="9107">
                  <c:v>-6.8694744999999999</c:v>
                </c:pt>
                <c:pt idx="9108">
                  <c:v>-6.8673970000000004</c:v>
                </c:pt>
                <c:pt idx="9109">
                  <c:v>-6.8653199000000003</c:v>
                </c:pt>
                <c:pt idx="9110">
                  <c:v>-6.8632422000000002</c:v>
                </c:pt>
                <c:pt idx="9111">
                  <c:v>-6.8611673</c:v>
                </c:pt>
                <c:pt idx="9112">
                  <c:v>-6.8590913000000002</c:v>
                </c:pt>
                <c:pt idx="9113">
                  <c:v>-6.8570156000000004</c:v>
                </c:pt>
                <c:pt idx="9114">
                  <c:v>-6.8549398000000004</c:v>
                </c:pt>
                <c:pt idx="9115">
                  <c:v>-6.8528650000000004</c:v>
                </c:pt>
                <c:pt idx="9116">
                  <c:v>-6.8507901999999996</c:v>
                </c:pt>
                <c:pt idx="9117">
                  <c:v>-6.8487163999999998</c:v>
                </c:pt>
                <c:pt idx="9118">
                  <c:v>-6.8466430999999996</c:v>
                </c:pt>
                <c:pt idx="9119">
                  <c:v>-6.8445703</c:v>
                </c:pt>
                <c:pt idx="9120">
                  <c:v>-6.8424968000000002</c:v>
                </c:pt>
                <c:pt idx="9121">
                  <c:v>-6.8404236999999997</c:v>
                </c:pt>
                <c:pt idx="9122">
                  <c:v>-6.8383523000000004</c:v>
                </c:pt>
                <c:pt idx="9123">
                  <c:v>-6.8362809000000002</c:v>
                </c:pt>
                <c:pt idx="9124">
                  <c:v>-6.8342080999999997</c:v>
                </c:pt>
                <c:pt idx="9125">
                  <c:v>-6.8321375</c:v>
                </c:pt>
                <c:pt idx="9126">
                  <c:v>-6.8300669000000003</c:v>
                </c:pt>
                <c:pt idx="9127">
                  <c:v>-6.8279966999999999</c:v>
                </c:pt>
                <c:pt idx="9128">
                  <c:v>-6.8259270000000001</c:v>
                </c:pt>
                <c:pt idx="9129">
                  <c:v>-6.8238557999999996</c:v>
                </c:pt>
                <c:pt idx="9130">
                  <c:v>-6.8217876999999998</c:v>
                </c:pt>
                <c:pt idx="9131">
                  <c:v>-6.8197187000000001</c:v>
                </c:pt>
                <c:pt idx="9132">
                  <c:v>-6.8176509000000003</c:v>
                </c:pt>
                <c:pt idx="9133">
                  <c:v>-6.8155831999999998</c:v>
                </c:pt>
                <c:pt idx="9134">
                  <c:v>-6.8135151</c:v>
                </c:pt>
                <c:pt idx="9135">
                  <c:v>-6.8114480000000004</c:v>
                </c:pt>
                <c:pt idx="9136">
                  <c:v>-6.8093795000000004</c:v>
                </c:pt>
                <c:pt idx="9137">
                  <c:v>-6.8073134</c:v>
                </c:pt>
                <c:pt idx="9138">
                  <c:v>-6.8052466000000003</c:v>
                </c:pt>
                <c:pt idx="9139">
                  <c:v>-6.8031816999999997</c:v>
                </c:pt>
                <c:pt idx="9140">
                  <c:v>-6.8011151999999999</c:v>
                </c:pt>
                <c:pt idx="9141">
                  <c:v>-6.7990503000000002</c:v>
                </c:pt>
                <c:pt idx="9142">
                  <c:v>-6.7969857999999999</c:v>
                </c:pt>
                <c:pt idx="9143">
                  <c:v>-6.7949213000000004</c:v>
                </c:pt>
                <c:pt idx="9144">
                  <c:v>-6.7928573999999999</c:v>
                </c:pt>
                <c:pt idx="9145">
                  <c:v>-6.7907932000000004</c:v>
                </c:pt>
                <c:pt idx="9146">
                  <c:v>-6.7887306000000001</c:v>
                </c:pt>
                <c:pt idx="9147">
                  <c:v>-6.7866682000000003</c:v>
                </c:pt>
                <c:pt idx="9148">
                  <c:v>-6.7846041000000001</c:v>
                </c:pt>
                <c:pt idx="9149">
                  <c:v>-6.7825426000000002</c:v>
                </c:pt>
                <c:pt idx="9150">
                  <c:v>-6.7804805999999997</c:v>
                </c:pt>
                <c:pt idx="9151">
                  <c:v>-6.7784202000000002</c:v>
                </c:pt>
                <c:pt idx="9152">
                  <c:v>-6.7763589</c:v>
                </c:pt>
                <c:pt idx="9153">
                  <c:v>-6.7742981000000002</c:v>
                </c:pt>
                <c:pt idx="9154">
                  <c:v>-6.7722367999999999</c:v>
                </c:pt>
                <c:pt idx="9155">
                  <c:v>-6.7701761999999999</c:v>
                </c:pt>
                <c:pt idx="9156">
                  <c:v>-6.7681190000000004</c:v>
                </c:pt>
                <c:pt idx="9157">
                  <c:v>-6.7660587999999997</c:v>
                </c:pt>
                <c:pt idx="9158">
                  <c:v>-6.7639997999999997</c:v>
                </c:pt>
                <c:pt idx="9159">
                  <c:v>-6.7619414999999998</c:v>
                </c:pt>
                <c:pt idx="9160">
                  <c:v>-6.7598821999999998</c:v>
                </c:pt>
                <c:pt idx="9161">
                  <c:v>-6.7578253000000004</c:v>
                </c:pt>
                <c:pt idx="9162">
                  <c:v>-6.7557675000000001</c:v>
                </c:pt>
                <c:pt idx="9163">
                  <c:v>-6.7537108999999997</c:v>
                </c:pt>
                <c:pt idx="9164">
                  <c:v>-6.7516533000000001</c:v>
                </c:pt>
                <c:pt idx="9165">
                  <c:v>-6.7495976000000004</c:v>
                </c:pt>
                <c:pt idx="9166">
                  <c:v>-6.7475427000000003</c:v>
                </c:pt>
                <c:pt idx="9167">
                  <c:v>-6.7454866999999998</c:v>
                </c:pt>
                <c:pt idx="9168">
                  <c:v>-6.7434301999999997</c:v>
                </c:pt>
                <c:pt idx="9169">
                  <c:v>-6.7413768000000003</c:v>
                </c:pt>
                <c:pt idx="9170">
                  <c:v>-6.7393210999999997</c:v>
                </c:pt>
                <c:pt idx="9171">
                  <c:v>-6.7372680000000003</c:v>
                </c:pt>
                <c:pt idx="9172">
                  <c:v>-6.7352143</c:v>
                </c:pt>
                <c:pt idx="9173">
                  <c:v>-6.7331604</c:v>
                </c:pt>
                <c:pt idx="9174">
                  <c:v>-6.7311081000000001</c:v>
                </c:pt>
                <c:pt idx="9175">
                  <c:v>-6.7290549000000004</c:v>
                </c:pt>
                <c:pt idx="9176">
                  <c:v>-6.7270023999999999</c:v>
                </c:pt>
                <c:pt idx="9177">
                  <c:v>-6.7249501</c:v>
                </c:pt>
                <c:pt idx="9178">
                  <c:v>-6.7228994000000002</c:v>
                </c:pt>
                <c:pt idx="9179">
                  <c:v>-6.7208484999999998</c:v>
                </c:pt>
                <c:pt idx="9180">
                  <c:v>-6.7187973000000003</c:v>
                </c:pt>
                <c:pt idx="9181">
                  <c:v>-6.7167466999999998</c:v>
                </c:pt>
                <c:pt idx="9182">
                  <c:v>-6.7146964999999996</c:v>
                </c:pt>
                <c:pt idx="9183">
                  <c:v>-6.7126479000000003</c:v>
                </c:pt>
                <c:pt idx="9184">
                  <c:v>-6.7105968000000003</c:v>
                </c:pt>
                <c:pt idx="9185">
                  <c:v>-6.7085477999999998</c:v>
                </c:pt>
                <c:pt idx="9186">
                  <c:v>-6.7064998999999998</c:v>
                </c:pt>
                <c:pt idx="9187">
                  <c:v>-6.7044516999999999</c:v>
                </c:pt>
                <c:pt idx="9188">
                  <c:v>-6.7024046000000004</c:v>
                </c:pt>
                <c:pt idx="9189">
                  <c:v>-6.7003563000000002</c:v>
                </c:pt>
                <c:pt idx="9190">
                  <c:v>-6.6983094000000003</c:v>
                </c:pt>
                <c:pt idx="9191">
                  <c:v>-6.6962628999999998</c:v>
                </c:pt>
                <c:pt idx="9192">
                  <c:v>-6.6942168000000004</c:v>
                </c:pt>
                <c:pt idx="9193">
                  <c:v>-6.6921694</c:v>
                </c:pt>
                <c:pt idx="9194">
                  <c:v>-6.6901241000000002</c:v>
                </c:pt>
                <c:pt idx="9195">
                  <c:v>-6.6880781999999996</c:v>
                </c:pt>
                <c:pt idx="9196">
                  <c:v>-6.6860339</c:v>
                </c:pt>
                <c:pt idx="9197">
                  <c:v>-6.6839903999999999</c:v>
                </c:pt>
                <c:pt idx="9198">
                  <c:v>-6.6819455999999997</c:v>
                </c:pt>
                <c:pt idx="9199">
                  <c:v>-6.6799017999999997</c:v>
                </c:pt>
                <c:pt idx="9200">
                  <c:v>-6.6778583999999999</c:v>
                </c:pt>
                <c:pt idx="9201">
                  <c:v>-6.6758135000000003</c:v>
                </c:pt>
                <c:pt idx="9202">
                  <c:v>-6.6737713999999997</c:v>
                </c:pt>
                <c:pt idx="9203">
                  <c:v>-6.6717291000000003</c:v>
                </c:pt>
                <c:pt idx="9204">
                  <c:v>-6.6696865000000001</c:v>
                </c:pt>
                <c:pt idx="9205">
                  <c:v>-6.6676456999999996</c:v>
                </c:pt>
                <c:pt idx="9206">
                  <c:v>-6.6656051999999999</c:v>
                </c:pt>
                <c:pt idx="9207">
                  <c:v>-6.6635641999999997</c:v>
                </c:pt>
                <c:pt idx="9208">
                  <c:v>-6.6615228000000002</c:v>
                </c:pt>
                <c:pt idx="9209">
                  <c:v>-6.6594825999999996</c:v>
                </c:pt>
                <c:pt idx="9210">
                  <c:v>-6.6574425000000002</c:v>
                </c:pt>
                <c:pt idx="9211">
                  <c:v>-6.6554028000000001</c:v>
                </c:pt>
                <c:pt idx="9212">
                  <c:v>-6.6533644000000001</c:v>
                </c:pt>
                <c:pt idx="9213">
                  <c:v>-6.6513244</c:v>
                </c:pt>
                <c:pt idx="9214">
                  <c:v>-6.6492871999999998</c:v>
                </c:pt>
                <c:pt idx="9215">
                  <c:v>-6.6472490999999998</c:v>
                </c:pt>
                <c:pt idx="9216">
                  <c:v>-6.6452118999999996</c:v>
                </c:pt>
                <c:pt idx="9217">
                  <c:v>-6.6431734999999996</c:v>
                </c:pt>
                <c:pt idx="9218">
                  <c:v>-6.6411360000000004</c:v>
                </c:pt>
                <c:pt idx="9219">
                  <c:v>-6.6391008999999999</c:v>
                </c:pt>
                <c:pt idx="9220">
                  <c:v>-6.6370635</c:v>
                </c:pt>
                <c:pt idx="9221">
                  <c:v>-6.6350274999999996</c:v>
                </c:pt>
                <c:pt idx="9222">
                  <c:v>-6.6329922999999997</c:v>
                </c:pt>
                <c:pt idx="9223">
                  <c:v>-6.6309586999999999</c:v>
                </c:pt>
                <c:pt idx="9224">
                  <c:v>-6.6289226000000001</c:v>
                </c:pt>
                <c:pt idx="9225">
                  <c:v>-6.6268875999999999</c:v>
                </c:pt>
                <c:pt idx="9226">
                  <c:v>-6.6248538999999997</c:v>
                </c:pt>
                <c:pt idx="9227">
                  <c:v>-6.6228189999999998</c:v>
                </c:pt>
                <c:pt idx="9228">
                  <c:v>-6.6207868000000003</c:v>
                </c:pt>
                <c:pt idx="9229">
                  <c:v>-6.6187531999999996</c:v>
                </c:pt>
                <c:pt idx="9230">
                  <c:v>-6.6167198999999997</c:v>
                </c:pt>
                <c:pt idx="9231">
                  <c:v>-6.6146874999999996</c:v>
                </c:pt>
                <c:pt idx="9232">
                  <c:v>-6.6126567999999999</c:v>
                </c:pt>
                <c:pt idx="9233">
                  <c:v>-6.6106245000000001</c:v>
                </c:pt>
                <c:pt idx="9234">
                  <c:v>-6.6085943</c:v>
                </c:pt>
                <c:pt idx="9235">
                  <c:v>-6.6065629000000001</c:v>
                </c:pt>
                <c:pt idx="9236">
                  <c:v>-6.6045322999999998</c:v>
                </c:pt>
                <c:pt idx="9237">
                  <c:v>-6.6025017000000004</c:v>
                </c:pt>
                <c:pt idx="9238">
                  <c:v>-6.6004718999999996</c:v>
                </c:pt>
                <c:pt idx="9239">
                  <c:v>-6.5984433999999998</c:v>
                </c:pt>
                <c:pt idx="9240">
                  <c:v>-6.5964131999999998</c:v>
                </c:pt>
                <c:pt idx="9241">
                  <c:v>-6.5943845999999997</c:v>
                </c:pt>
                <c:pt idx="9242">
                  <c:v>-6.5923560999999999</c:v>
                </c:pt>
                <c:pt idx="9243">
                  <c:v>-6.5903296999999998</c:v>
                </c:pt>
                <c:pt idx="9244">
                  <c:v>-6.5883013000000004</c:v>
                </c:pt>
                <c:pt idx="9245">
                  <c:v>-6.5862740999999998</c:v>
                </c:pt>
                <c:pt idx="9246">
                  <c:v>-6.5842460000000003</c:v>
                </c:pt>
                <c:pt idx="9247">
                  <c:v>-6.5822203999999997</c:v>
                </c:pt>
                <c:pt idx="9248">
                  <c:v>-6.5801936000000003</c:v>
                </c:pt>
                <c:pt idx="9249">
                  <c:v>-6.5781685999999997</c:v>
                </c:pt>
                <c:pt idx="9250">
                  <c:v>-6.5761425999999998</c:v>
                </c:pt>
                <c:pt idx="9251">
                  <c:v>-6.5741180000000004</c:v>
                </c:pt>
                <c:pt idx="9252">
                  <c:v>-6.5720923000000004</c:v>
                </c:pt>
                <c:pt idx="9253">
                  <c:v>-6.5700683</c:v>
                </c:pt>
                <c:pt idx="9254">
                  <c:v>-6.5680448</c:v>
                </c:pt>
                <c:pt idx="9255">
                  <c:v>-6.5660197</c:v>
                </c:pt>
                <c:pt idx="9256">
                  <c:v>-6.5639972000000002</c:v>
                </c:pt>
                <c:pt idx="9257">
                  <c:v>-6.5619746000000001</c:v>
                </c:pt>
                <c:pt idx="9258">
                  <c:v>-6.5599509999999999</c:v>
                </c:pt>
                <c:pt idx="9259">
                  <c:v>-6.5579295999999996</c:v>
                </c:pt>
                <c:pt idx="9260">
                  <c:v>-6.5559067999999998</c:v>
                </c:pt>
                <c:pt idx="9261">
                  <c:v>-6.5538866000000002</c:v>
                </c:pt>
                <c:pt idx="9262">
                  <c:v>-6.5518650000000003</c:v>
                </c:pt>
                <c:pt idx="9263">
                  <c:v>-6.5498434000000003</c:v>
                </c:pt>
                <c:pt idx="9264">
                  <c:v>-6.5478224000000003</c:v>
                </c:pt>
                <c:pt idx="9265">
                  <c:v>-6.5458030999999997</c:v>
                </c:pt>
                <c:pt idx="9266">
                  <c:v>-6.5437827000000004</c:v>
                </c:pt>
                <c:pt idx="9267">
                  <c:v>-6.5417630999999998</c:v>
                </c:pt>
                <c:pt idx="9268">
                  <c:v>-6.5397455999999998</c:v>
                </c:pt>
                <c:pt idx="9269">
                  <c:v>-6.5377257999999996</c:v>
                </c:pt>
                <c:pt idx="9270">
                  <c:v>-6.5357073000000003</c:v>
                </c:pt>
                <c:pt idx="9271">
                  <c:v>-6.53369</c:v>
                </c:pt>
                <c:pt idx="9272">
                  <c:v>-6.5316717999999998</c:v>
                </c:pt>
                <c:pt idx="9273">
                  <c:v>-6.5296548000000003</c:v>
                </c:pt>
                <c:pt idx="9274">
                  <c:v>-6.5276367000000004</c:v>
                </c:pt>
                <c:pt idx="9275">
                  <c:v>-6.5256198999999997</c:v>
                </c:pt>
                <c:pt idx="9276">
                  <c:v>-6.5236052999999998</c:v>
                </c:pt>
                <c:pt idx="9277">
                  <c:v>-6.5215890999999999</c:v>
                </c:pt>
                <c:pt idx="9278">
                  <c:v>-6.5195742000000001</c:v>
                </c:pt>
                <c:pt idx="9279">
                  <c:v>-6.5175577999999996</c:v>
                </c:pt>
                <c:pt idx="9280">
                  <c:v>-6.5155433</c:v>
                </c:pt>
                <c:pt idx="9281">
                  <c:v>-6.5135300999999997</c:v>
                </c:pt>
                <c:pt idx="9282">
                  <c:v>-6.5115156000000001</c:v>
                </c:pt>
                <c:pt idx="9283">
                  <c:v>-6.5095013000000002</c:v>
                </c:pt>
                <c:pt idx="9284">
                  <c:v>-6.5074880000000004</c:v>
                </c:pt>
                <c:pt idx="9285">
                  <c:v>-6.5054739000000001</c:v>
                </c:pt>
                <c:pt idx="9286">
                  <c:v>-6.5034606000000004</c:v>
                </c:pt>
                <c:pt idx="9287">
                  <c:v>-6.5014498999999999</c:v>
                </c:pt>
                <c:pt idx="9288">
                  <c:v>-6.4994366000000001</c:v>
                </c:pt>
                <c:pt idx="9289">
                  <c:v>-6.4974248000000001</c:v>
                </c:pt>
                <c:pt idx="9290">
                  <c:v>-6.4954152000000001</c:v>
                </c:pt>
                <c:pt idx="9291">
                  <c:v>-6.4934038999999997</c:v>
                </c:pt>
                <c:pt idx="9292">
                  <c:v>-6.4913935</c:v>
                </c:pt>
                <c:pt idx="9293">
                  <c:v>-6.4893840000000003</c:v>
                </c:pt>
                <c:pt idx="9294">
                  <c:v>-6.4873732999999998</c:v>
                </c:pt>
                <c:pt idx="9295">
                  <c:v>-6.4853627999999999</c:v>
                </c:pt>
                <c:pt idx="9296">
                  <c:v>-6.4833534999999998</c:v>
                </c:pt>
                <c:pt idx="9297">
                  <c:v>-6.4813460000000003</c:v>
                </c:pt>
                <c:pt idx="9298">
                  <c:v>-6.4793368999999998</c:v>
                </c:pt>
                <c:pt idx="9299">
                  <c:v>-6.4773297999999997</c:v>
                </c:pt>
                <c:pt idx="9300">
                  <c:v>-6.4753211999999998</c:v>
                </c:pt>
                <c:pt idx="9301">
                  <c:v>-6.4733130000000001</c:v>
                </c:pt>
                <c:pt idx="9302">
                  <c:v>-6.4713075</c:v>
                </c:pt>
                <c:pt idx="9303">
                  <c:v>-6.4693006000000004</c:v>
                </c:pt>
                <c:pt idx="9304">
                  <c:v>-6.4672936999999999</c:v>
                </c:pt>
                <c:pt idx="9305">
                  <c:v>-6.4652871000000003</c:v>
                </c:pt>
                <c:pt idx="9306">
                  <c:v>-6.4632817999999999</c:v>
                </c:pt>
                <c:pt idx="9307">
                  <c:v>-6.4612768999999997</c:v>
                </c:pt>
                <c:pt idx="9308">
                  <c:v>-6.4592720000000003</c:v>
                </c:pt>
                <c:pt idx="9309">
                  <c:v>-6.4572666999999999</c:v>
                </c:pt>
                <c:pt idx="9310">
                  <c:v>-6.4552620000000003</c:v>
                </c:pt>
                <c:pt idx="9311">
                  <c:v>-6.4532578999999997</c:v>
                </c:pt>
                <c:pt idx="9312">
                  <c:v>-6.4512558999999996</c:v>
                </c:pt>
                <c:pt idx="9313">
                  <c:v>-6.4492528</c:v>
                </c:pt>
                <c:pt idx="9314">
                  <c:v>-6.4472500000000004</c:v>
                </c:pt>
                <c:pt idx="9315">
                  <c:v>-6.4452470000000002</c:v>
                </c:pt>
                <c:pt idx="9316">
                  <c:v>-6.4432437</c:v>
                </c:pt>
                <c:pt idx="9317">
                  <c:v>-6.4412428999999998</c:v>
                </c:pt>
                <c:pt idx="9318">
                  <c:v>-6.4392417000000002</c:v>
                </c:pt>
                <c:pt idx="9319">
                  <c:v>-6.4372401999999997</c:v>
                </c:pt>
                <c:pt idx="9320">
                  <c:v>-6.4352402</c:v>
                </c:pt>
                <c:pt idx="9321">
                  <c:v>-6.4332392</c:v>
                </c:pt>
                <c:pt idx="9322">
                  <c:v>-6.4312386999999998</c:v>
                </c:pt>
                <c:pt idx="9323">
                  <c:v>-6.4292395999999998</c:v>
                </c:pt>
                <c:pt idx="9324">
                  <c:v>-6.4272413999999998</c:v>
                </c:pt>
                <c:pt idx="9325">
                  <c:v>-6.4252415999999997</c:v>
                </c:pt>
                <c:pt idx="9326">
                  <c:v>-6.4232421999999998</c:v>
                </c:pt>
                <c:pt idx="9327">
                  <c:v>-6.4212441</c:v>
                </c:pt>
                <c:pt idx="9328">
                  <c:v>-6.4192458999999999</c:v>
                </c:pt>
                <c:pt idx="9329">
                  <c:v>-6.4172488999999997</c:v>
                </c:pt>
                <c:pt idx="9330">
                  <c:v>-6.4152519999999997</c:v>
                </c:pt>
                <c:pt idx="9331">
                  <c:v>-6.4132540000000002</c:v>
                </c:pt>
                <c:pt idx="9332">
                  <c:v>-6.4112577999999996</c:v>
                </c:pt>
                <c:pt idx="9333">
                  <c:v>-6.4092615000000004</c:v>
                </c:pt>
                <c:pt idx="9334">
                  <c:v>-6.4072658999999996</c:v>
                </c:pt>
                <c:pt idx="9335">
                  <c:v>-6.4052708999999997</c:v>
                </c:pt>
                <c:pt idx="9336">
                  <c:v>-6.4032752999999998</c:v>
                </c:pt>
                <c:pt idx="9337">
                  <c:v>-6.4012795000000002</c:v>
                </c:pt>
                <c:pt idx="9338">
                  <c:v>-6.3992861000000003</c:v>
                </c:pt>
                <c:pt idx="9339">
                  <c:v>-6.3972917000000002</c:v>
                </c:pt>
                <c:pt idx="9340">
                  <c:v>-6.3952980999999998</c:v>
                </c:pt>
                <c:pt idx="9341">
                  <c:v>-6.3933049999999998</c:v>
                </c:pt>
                <c:pt idx="9342">
                  <c:v>-6.3913114000000002</c:v>
                </c:pt>
                <c:pt idx="9343">
                  <c:v>-6.3893180999999997</c:v>
                </c:pt>
                <c:pt idx="9344">
                  <c:v>-6.3873267</c:v>
                </c:pt>
                <c:pt idx="9345">
                  <c:v>-6.3853344999999999</c:v>
                </c:pt>
                <c:pt idx="9346">
                  <c:v>-6.3833427</c:v>
                </c:pt>
                <c:pt idx="9347">
                  <c:v>-6.3813516000000003</c:v>
                </c:pt>
                <c:pt idx="9348">
                  <c:v>-6.3793595999999999</c:v>
                </c:pt>
                <c:pt idx="9349">
                  <c:v>-6.3773698999999997</c:v>
                </c:pt>
                <c:pt idx="9350">
                  <c:v>-6.3753796999999999</c:v>
                </c:pt>
                <c:pt idx="9351">
                  <c:v>-6.3733899000000003</c:v>
                </c:pt>
                <c:pt idx="9352">
                  <c:v>-6.3713999000000001</c:v>
                </c:pt>
                <c:pt idx="9353">
                  <c:v>-6.3694100999999996</c:v>
                </c:pt>
                <c:pt idx="9354">
                  <c:v>-6.3674210000000002</c:v>
                </c:pt>
                <c:pt idx="9355">
                  <c:v>-6.3654339000000002</c:v>
                </c:pt>
                <c:pt idx="9356">
                  <c:v>-6.3634449000000002</c:v>
                </c:pt>
                <c:pt idx="9357">
                  <c:v>-6.3614579999999998</c:v>
                </c:pt>
                <c:pt idx="9358">
                  <c:v>-6.3594695000000003</c:v>
                </c:pt>
                <c:pt idx="9359">
                  <c:v>-6.3574818000000004</c:v>
                </c:pt>
                <c:pt idx="9360">
                  <c:v>-6.3554950000000003</c:v>
                </c:pt>
                <c:pt idx="9361">
                  <c:v>-6.3535088999999996</c:v>
                </c:pt>
                <c:pt idx="9362">
                  <c:v>-6.3515218999999998</c:v>
                </c:pt>
                <c:pt idx="9363">
                  <c:v>-6.3495365000000001</c:v>
                </c:pt>
                <c:pt idx="9364">
                  <c:v>-6.3475519</c:v>
                </c:pt>
                <c:pt idx="9365">
                  <c:v>-6.3455668000000003</c:v>
                </c:pt>
                <c:pt idx="9366">
                  <c:v>-6.3435819999999996</c:v>
                </c:pt>
                <c:pt idx="9367">
                  <c:v>-6.3415979</c:v>
                </c:pt>
                <c:pt idx="9368">
                  <c:v>-6.3396134999999996</c:v>
                </c:pt>
                <c:pt idx="9369">
                  <c:v>-6.3376286999999998</c:v>
                </c:pt>
                <c:pt idx="9370">
                  <c:v>-6.3356456999999997</c:v>
                </c:pt>
                <c:pt idx="9371">
                  <c:v>-6.3336629999999996</c:v>
                </c:pt>
                <c:pt idx="9372">
                  <c:v>-6.3316797999999999</c:v>
                </c:pt>
                <c:pt idx="9373">
                  <c:v>-6.3296979000000002</c:v>
                </c:pt>
                <c:pt idx="9374">
                  <c:v>-6.3277153999999998</c:v>
                </c:pt>
                <c:pt idx="9375">
                  <c:v>-6.3257342000000003</c:v>
                </c:pt>
                <c:pt idx="9376">
                  <c:v>-6.3237519999999998</c:v>
                </c:pt>
                <c:pt idx="9377">
                  <c:v>-6.3217714000000003</c:v>
                </c:pt>
                <c:pt idx="9378">
                  <c:v>-6.3197910999999998</c:v>
                </c:pt>
                <c:pt idx="9379">
                  <c:v>-6.3178105999999996</c:v>
                </c:pt>
                <c:pt idx="9380">
                  <c:v>-6.3158300000000001</c:v>
                </c:pt>
                <c:pt idx="9381">
                  <c:v>-6.3138524</c:v>
                </c:pt>
                <c:pt idx="9382">
                  <c:v>-6.3118727999999997</c:v>
                </c:pt>
                <c:pt idx="9383">
                  <c:v>-6.3098931</c:v>
                </c:pt>
                <c:pt idx="9384">
                  <c:v>-6.3079140000000002</c:v>
                </c:pt>
                <c:pt idx="9385">
                  <c:v>-6.3059358999999997</c:v>
                </c:pt>
                <c:pt idx="9386">
                  <c:v>-6.3039589999999999</c:v>
                </c:pt>
                <c:pt idx="9387">
                  <c:v>-6.3019816000000004</c:v>
                </c:pt>
                <c:pt idx="9388">
                  <c:v>-6.3000037999999998</c:v>
                </c:pt>
                <c:pt idx="9389">
                  <c:v>-6.2980273000000002</c:v>
                </c:pt>
                <c:pt idx="9390">
                  <c:v>-6.2960494999999996</c:v>
                </c:pt>
                <c:pt idx="9391">
                  <c:v>-6.2940728999999997</c:v>
                </c:pt>
                <c:pt idx="9392">
                  <c:v>-6.2920995</c:v>
                </c:pt>
                <c:pt idx="9393">
                  <c:v>-6.2901239000000002</c:v>
                </c:pt>
                <c:pt idx="9394">
                  <c:v>-6.2881479999999996</c:v>
                </c:pt>
                <c:pt idx="9395">
                  <c:v>-6.2861744000000002</c:v>
                </c:pt>
                <c:pt idx="9396">
                  <c:v>-6.2841988999999998</c:v>
                </c:pt>
                <c:pt idx="9397">
                  <c:v>-6.2822239</c:v>
                </c:pt>
                <c:pt idx="9398">
                  <c:v>-6.2802506999999999</c:v>
                </c:pt>
                <c:pt idx="9399">
                  <c:v>-6.2782767000000002</c:v>
                </c:pt>
                <c:pt idx="9400">
                  <c:v>-6.2763035</c:v>
                </c:pt>
                <c:pt idx="9401">
                  <c:v>-6.2743314999999997</c:v>
                </c:pt>
                <c:pt idx="9402">
                  <c:v>-6.2723589999999998</c:v>
                </c:pt>
                <c:pt idx="9403">
                  <c:v>-6.2703870999999998</c:v>
                </c:pt>
                <c:pt idx="9404">
                  <c:v>-6.2684156</c:v>
                </c:pt>
                <c:pt idx="9405">
                  <c:v>-6.2664437</c:v>
                </c:pt>
                <c:pt idx="9406">
                  <c:v>-6.2644720999999999</c:v>
                </c:pt>
                <c:pt idx="9407">
                  <c:v>-6.2625022000000001</c:v>
                </c:pt>
                <c:pt idx="9408">
                  <c:v>-6.2605323000000004</c:v>
                </c:pt>
                <c:pt idx="9409">
                  <c:v>-6.2585630999999999</c:v>
                </c:pt>
                <c:pt idx="9410">
                  <c:v>-6.2565913000000002</c:v>
                </c:pt>
                <c:pt idx="9411">
                  <c:v>-6.2546222</c:v>
                </c:pt>
                <c:pt idx="9412">
                  <c:v>-6.2526529000000002</c:v>
                </c:pt>
                <c:pt idx="9413">
                  <c:v>-6.2506861999999996</c:v>
                </c:pt>
                <c:pt idx="9414">
                  <c:v>-6.2487173</c:v>
                </c:pt>
                <c:pt idx="9415">
                  <c:v>-6.2467492</c:v>
                </c:pt>
                <c:pt idx="9416">
                  <c:v>-6.2447809999999997</c:v>
                </c:pt>
                <c:pt idx="9417">
                  <c:v>-6.2428143</c:v>
                </c:pt>
                <c:pt idx="9418">
                  <c:v>-6.2408459000000001</c:v>
                </c:pt>
                <c:pt idx="9419">
                  <c:v>-6.2388811000000004</c:v>
                </c:pt>
                <c:pt idx="9420">
                  <c:v>-6.2369143999999999</c:v>
                </c:pt>
                <c:pt idx="9421">
                  <c:v>-6.2349493999999996</c:v>
                </c:pt>
                <c:pt idx="9422">
                  <c:v>-6.2329829999999999</c:v>
                </c:pt>
                <c:pt idx="9423">
                  <c:v>-6.2310172000000001</c:v>
                </c:pt>
                <c:pt idx="9424">
                  <c:v>-6.2290530000000004</c:v>
                </c:pt>
                <c:pt idx="9425">
                  <c:v>-6.2270878999999999</c:v>
                </c:pt>
                <c:pt idx="9426">
                  <c:v>-6.2251238999999998</c:v>
                </c:pt>
                <c:pt idx="9427">
                  <c:v>-6.2231601000000003</c:v>
                </c:pt>
                <c:pt idx="9428">
                  <c:v>-6.2211959999999999</c:v>
                </c:pt>
                <c:pt idx="9429">
                  <c:v>-6.2192318000000002</c:v>
                </c:pt>
                <c:pt idx="9430">
                  <c:v>-6.2172695999999998</c:v>
                </c:pt>
                <c:pt idx="9431">
                  <c:v>-6.2153079</c:v>
                </c:pt>
                <c:pt idx="9432">
                  <c:v>-6.2133455</c:v>
                </c:pt>
                <c:pt idx="9433">
                  <c:v>-6.2113830999999999</c:v>
                </c:pt>
                <c:pt idx="9434">
                  <c:v>-6.2094221999999997</c:v>
                </c:pt>
                <c:pt idx="9435">
                  <c:v>-6.2074604000000004</c:v>
                </c:pt>
                <c:pt idx="9436">
                  <c:v>-6.2054990999999999</c:v>
                </c:pt>
                <c:pt idx="9437">
                  <c:v>-6.2035391999999998</c:v>
                </c:pt>
                <c:pt idx="9438">
                  <c:v>-6.2015783000000004</c:v>
                </c:pt>
                <c:pt idx="9439">
                  <c:v>-6.1996178000000004</c:v>
                </c:pt>
                <c:pt idx="9440">
                  <c:v>-6.1976592999999998</c:v>
                </c:pt>
                <c:pt idx="9441">
                  <c:v>-6.1957005000000001</c:v>
                </c:pt>
                <c:pt idx="9442">
                  <c:v>-6.1937411000000004</c:v>
                </c:pt>
                <c:pt idx="9443">
                  <c:v>-6.1917827000000001</c:v>
                </c:pt>
                <c:pt idx="9444">
                  <c:v>-6.1898257000000001</c:v>
                </c:pt>
                <c:pt idx="9445">
                  <c:v>-6.1878666000000004</c:v>
                </c:pt>
                <c:pt idx="9446">
                  <c:v>-6.1859095000000002</c:v>
                </c:pt>
                <c:pt idx="9447">
                  <c:v>-6.1839529000000004</c:v>
                </c:pt>
                <c:pt idx="9448">
                  <c:v>-6.1819955999999996</c:v>
                </c:pt>
                <c:pt idx="9449">
                  <c:v>-6.1800395999999997</c:v>
                </c:pt>
                <c:pt idx="9450">
                  <c:v>-6.1780825999999998</c:v>
                </c:pt>
                <c:pt idx="9451">
                  <c:v>-6.1761277999999997</c:v>
                </c:pt>
                <c:pt idx="9452">
                  <c:v>-6.1741716999999996</c:v>
                </c:pt>
                <c:pt idx="9453">
                  <c:v>-6.1722166999999999</c:v>
                </c:pt>
                <c:pt idx="9454">
                  <c:v>-6.1702620000000001</c:v>
                </c:pt>
                <c:pt idx="9455">
                  <c:v>-6.1683067999999999</c:v>
                </c:pt>
                <c:pt idx="9456">
                  <c:v>-6.1663525000000003</c:v>
                </c:pt>
                <c:pt idx="9457">
                  <c:v>-6.1643999999999997</c:v>
                </c:pt>
                <c:pt idx="9458">
                  <c:v>-6.1624463</c:v>
                </c:pt>
                <c:pt idx="9459">
                  <c:v>-6.1604935000000003</c:v>
                </c:pt>
                <c:pt idx="9460">
                  <c:v>-6.1585409999999996</c:v>
                </c:pt>
                <c:pt idx="9461">
                  <c:v>-6.1565875999999999</c:v>
                </c:pt>
                <c:pt idx="9462">
                  <c:v>-6.1546358999999997</c:v>
                </c:pt>
                <c:pt idx="9463">
                  <c:v>-6.1526845999999997</c:v>
                </c:pt>
                <c:pt idx="9464">
                  <c:v>-6.1507337</c:v>
                </c:pt>
                <c:pt idx="9465">
                  <c:v>-6.1487825999999997</c:v>
                </c:pt>
                <c:pt idx="9466">
                  <c:v>-6.1468306999999998</c:v>
                </c:pt>
                <c:pt idx="9467">
                  <c:v>-6.1448811000000001</c:v>
                </c:pt>
                <c:pt idx="9468">
                  <c:v>-6.1429302000000003</c:v>
                </c:pt>
                <c:pt idx="9469">
                  <c:v>-6.1409792999999997</c:v>
                </c:pt>
                <c:pt idx="9470">
                  <c:v>-6.1390320999999997</c:v>
                </c:pt>
                <c:pt idx="9471">
                  <c:v>-6.1370820999999998</c:v>
                </c:pt>
                <c:pt idx="9472">
                  <c:v>-6.1351332999999997</c:v>
                </c:pt>
                <c:pt idx="9473">
                  <c:v>-6.1331841999999996</c:v>
                </c:pt>
                <c:pt idx="9474">
                  <c:v>-6.1312372999999996</c:v>
                </c:pt>
                <c:pt idx="9475">
                  <c:v>-6.1292897999999996</c:v>
                </c:pt>
                <c:pt idx="9476">
                  <c:v>-6.1273419000000002</c:v>
                </c:pt>
                <c:pt idx="9477">
                  <c:v>-6.1253960000000003</c:v>
                </c:pt>
                <c:pt idx="9478">
                  <c:v>-6.1234482000000003</c:v>
                </c:pt>
                <c:pt idx="9479">
                  <c:v>-6.1215026000000003</c:v>
                </c:pt>
                <c:pt idx="9480">
                  <c:v>-6.1195569000000001</c:v>
                </c:pt>
                <c:pt idx="9481">
                  <c:v>-6.1176104999999996</c:v>
                </c:pt>
                <c:pt idx="9482">
                  <c:v>-6.1156645999999997</c:v>
                </c:pt>
                <c:pt idx="9483">
                  <c:v>-6.1137201000000001</c:v>
                </c:pt>
                <c:pt idx="9484">
                  <c:v>-6.1117758000000002</c:v>
                </c:pt>
                <c:pt idx="9485">
                  <c:v>-6.1098302999999996</c:v>
                </c:pt>
                <c:pt idx="9486">
                  <c:v>-6.1078859999999997</c:v>
                </c:pt>
                <c:pt idx="9487">
                  <c:v>-6.1059421</c:v>
                </c:pt>
                <c:pt idx="9488">
                  <c:v>-6.1039985999999997</c:v>
                </c:pt>
                <c:pt idx="9489">
                  <c:v>-6.1020554999999996</c:v>
                </c:pt>
                <c:pt idx="9490">
                  <c:v>-6.1001136000000002</c:v>
                </c:pt>
                <c:pt idx="9491">
                  <c:v>-6.0981718000000003</c:v>
                </c:pt>
                <c:pt idx="9492">
                  <c:v>-6.0962299</c:v>
                </c:pt>
                <c:pt idx="9493">
                  <c:v>-6.0942873999999998</c:v>
                </c:pt>
                <c:pt idx="9494">
                  <c:v>-6.0923451999999996</c:v>
                </c:pt>
                <c:pt idx="9495">
                  <c:v>-6.0904043000000003</c:v>
                </c:pt>
                <c:pt idx="9496">
                  <c:v>-6.0884640000000001</c:v>
                </c:pt>
                <c:pt idx="9497">
                  <c:v>-6.0865244000000001</c:v>
                </c:pt>
                <c:pt idx="9498">
                  <c:v>-6.0845824999999998</c:v>
                </c:pt>
                <c:pt idx="9499">
                  <c:v>-6.0826441999999998</c:v>
                </c:pt>
                <c:pt idx="9500">
                  <c:v>-6.0807047000000001</c:v>
                </c:pt>
                <c:pt idx="9501">
                  <c:v>-6.0787652999999997</c:v>
                </c:pt>
                <c:pt idx="9502">
                  <c:v>-6.0768266000000004</c:v>
                </c:pt>
                <c:pt idx="9503">
                  <c:v>-6.0748872</c:v>
                </c:pt>
                <c:pt idx="9504">
                  <c:v>-6.0729498</c:v>
                </c:pt>
                <c:pt idx="9505">
                  <c:v>-6.0710128000000001</c:v>
                </c:pt>
                <c:pt idx="9506">
                  <c:v>-6.0690758999999996</c:v>
                </c:pt>
                <c:pt idx="9507">
                  <c:v>-6.0671375000000003</c:v>
                </c:pt>
                <c:pt idx="9508">
                  <c:v>-6.0652011000000003</c:v>
                </c:pt>
                <c:pt idx="9509">
                  <c:v>-6.0632640999999996</c:v>
                </c:pt>
                <c:pt idx="9510">
                  <c:v>-6.0613273999999997</c:v>
                </c:pt>
                <c:pt idx="9511">
                  <c:v>-6.0593937999999996</c:v>
                </c:pt>
                <c:pt idx="9512">
                  <c:v>-6.0574580999999998</c:v>
                </c:pt>
                <c:pt idx="9513">
                  <c:v>-6.0555228999999997</c:v>
                </c:pt>
                <c:pt idx="9514">
                  <c:v>-6.0535882000000001</c:v>
                </c:pt>
                <c:pt idx="9515">
                  <c:v>-6.0516531999999996</c:v>
                </c:pt>
                <c:pt idx="9516">
                  <c:v>-6.0497201</c:v>
                </c:pt>
                <c:pt idx="9517">
                  <c:v>-6.0477853000000001</c:v>
                </c:pt>
                <c:pt idx="9518">
                  <c:v>-6.0458521999999997</c:v>
                </c:pt>
                <c:pt idx="9519">
                  <c:v>-6.0439185000000002</c:v>
                </c:pt>
                <c:pt idx="9520">
                  <c:v>-6.0419856000000003</c:v>
                </c:pt>
                <c:pt idx="9521">
                  <c:v>-6.0400536000000002</c:v>
                </c:pt>
                <c:pt idx="9522">
                  <c:v>-6.0381216999999996</c:v>
                </c:pt>
                <c:pt idx="9523">
                  <c:v>-6.0361899000000001</c:v>
                </c:pt>
                <c:pt idx="9524">
                  <c:v>-6.0342574999999998</c:v>
                </c:pt>
                <c:pt idx="9525">
                  <c:v>-6.0323270000000004</c:v>
                </c:pt>
                <c:pt idx="9526">
                  <c:v>-6.0303974</c:v>
                </c:pt>
                <c:pt idx="9527">
                  <c:v>-6.0284659999999999</c:v>
                </c:pt>
                <c:pt idx="9528">
                  <c:v>-6.0265354000000002</c:v>
                </c:pt>
                <c:pt idx="9529">
                  <c:v>-6.0246054999999998</c:v>
                </c:pt>
                <c:pt idx="9530">
                  <c:v>-6.0226761</c:v>
                </c:pt>
                <c:pt idx="9531">
                  <c:v>-6.0207474999999997</c:v>
                </c:pt>
                <c:pt idx="9532">
                  <c:v>-6.0188192999999997</c:v>
                </c:pt>
                <c:pt idx="9533">
                  <c:v>-6.0168907000000003</c:v>
                </c:pt>
                <c:pt idx="9534">
                  <c:v>-6.0149626999999999</c:v>
                </c:pt>
                <c:pt idx="9535">
                  <c:v>-6.0130341999999999</c:v>
                </c:pt>
                <c:pt idx="9536">
                  <c:v>-6.0111061000000001</c:v>
                </c:pt>
                <c:pt idx="9537">
                  <c:v>-6.0091799999999997</c:v>
                </c:pt>
                <c:pt idx="9538">
                  <c:v>-6.0072536999999997</c:v>
                </c:pt>
                <c:pt idx="9539">
                  <c:v>-6.0053269</c:v>
                </c:pt>
                <c:pt idx="9540">
                  <c:v>-6.0033998000000004</c:v>
                </c:pt>
                <c:pt idx="9541">
                  <c:v>-6.0014742999999999</c:v>
                </c:pt>
                <c:pt idx="9542">
                  <c:v>-5.9995494000000003</c:v>
                </c:pt>
                <c:pt idx="9543">
                  <c:v>-5.9976228000000003</c:v>
                </c:pt>
                <c:pt idx="9544">
                  <c:v>-5.9956982999999999</c:v>
                </c:pt>
                <c:pt idx="9545">
                  <c:v>-5.9937734999999996</c:v>
                </c:pt>
                <c:pt idx="9546">
                  <c:v>-5.9918487000000002</c:v>
                </c:pt>
                <c:pt idx="9547">
                  <c:v>-5.9899265000000002</c:v>
                </c:pt>
                <c:pt idx="9548">
                  <c:v>-5.9880016999999999</c:v>
                </c:pt>
                <c:pt idx="9549">
                  <c:v>-5.9860787000000002</c:v>
                </c:pt>
                <c:pt idx="9550">
                  <c:v>-5.9841566000000004</c:v>
                </c:pt>
                <c:pt idx="9551">
                  <c:v>-5.9822338000000004</c:v>
                </c:pt>
                <c:pt idx="9552">
                  <c:v>-5.9803116000000003</c:v>
                </c:pt>
                <c:pt idx="9553">
                  <c:v>-5.9783892999999999</c:v>
                </c:pt>
                <c:pt idx="9554">
                  <c:v>-5.9764666999999996</c:v>
                </c:pt>
                <c:pt idx="9555">
                  <c:v>-5.9745470999999997</c:v>
                </c:pt>
                <c:pt idx="9556">
                  <c:v>-5.9726264999999996</c:v>
                </c:pt>
                <c:pt idx="9557">
                  <c:v>-5.9707062999999998</c:v>
                </c:pt>
                <c:pt idx="9558">
                  <c:v>-5.9687846000000002</c:v>
                </c:pt>
                <c:pt idx="9559">
                  <c:v>-5.9668653999999997</c:v>
                </c:pt>
                <c:pt idx="9560">
                  <c:v>-5.9649450999999996</c:v>
                </c:pt>
                <c:pt idx="9561">
                  <c:v>-5.9630261999999998</c:v>
                </c:pt>
                <c:pt idx="9562">
                  <c:v>-5.9611080999999997</c:v>
                </c:pt>
                <c:pt idx="9563">
                  <c:v>-5.9591896000000002</c:v>
                </c:pt>
                <c:pt idx="9564">
                  <c:v>-5.9572704999999999</c:v>
                </c:pt>
                <c:pt idx="9565">
                  <c:v>-5.9553520999999998</c:v>
                </c:pt>
                <c:pt idx="9566">
                  <c:v>-5.9534343999999999</c:v>
                </c:pt>
                <c:pt idx="9567">
                  <c:v>-5.9515181000000004</c:v>
                </c:pt>
                <c:pt idx="9568">
                  <c:v>-5.9495994000000003</c:v>
                </c:pt>
                <c:pt idx="9569">
                  <c:v>-5.9476842999999997</c:v>
                </c:pt>
                <c:pt idx="9570">
                  <c:v>-5.945767</c:v>
                </c:pt>
                <c:pt idx="9571">
                  <c:v>-5.9438519999999997</c:v>
                </c:pt>
                <c:pt idx="9572">
                  <c:v>-5.9419357000000002</c:v>
                </c:pt>
                <c:pt idx="9573">
                  <c:v>-5.9400202000000002</c:v>
                </c:pt>
                <c:pt idx="9574">
                  <c:v>-5.9381053000000001</c:v>
                </c:pt>
                <c:pt idx="9575">
                  <c:v>-5.9361908000000003</c:v>
                </c:pt>
                <c:pt idx="9576">
                  <c:v>-5.9342747999999998</c:v>
                </c:pt>
                <c:pt idx="9577">
                  <c:v>-5.9323623999999997</c:v>
                </c:pt>
                <c:pt idx="9578">
                  <c:v>-5.9304465999999998</c:v>
                </c:pt>
                <c:pt idx="9579">
                  <c:v>-5.9285344999999996</c:v>
                </c:pt>
                <c:pt idx="9580">
                  <c:v>-5.9266218999999998</c:v>
                </c:pt>
                <c:pt idx="9581">
                  <c:v>-5.9247100000000001</c:v>
                </c:pt>
                <c:pt idx="9582">
                  <c:v>-5.9227965999999999</c:v>
                </c:pt>
                <c:pt idx="9583">
                  <c:v>-5.9208848999999999</c:v>
                </c:pt>
                <c:pt idx="9584">
                  <c:v>-5.9189727000000003</c:v>
                </c:pt>
                <c:pt idx="9585">
                  <c:v>-5.9170619000000002</c:v>
                </c:pt>
                <c:pt idx="9586">
                  <c:v>-5.9151499999999997</c:v>
                </c:pt>
                <c:pt idx="9587">
                  <c:v>-5.9132385000000003</c:v>
                </c:pt>
                <c:pt idx="9588">
                  <c:v>-5.9113297999999999</c:v>
                </c:pt>
                <c:pt idx="9589">
                  <c:v>-5.9094182000000002</c:v>
                </c:pt>
                <c:pt idx="9590">
                  <c:v>-5.9075082999999999</c:v>
                </c:pt>
                <c:pt idx="9591">
                  <c:v>-5.9055983000000003</c:v>
                </c:pt>
                <c:pt idx="9592">
                  <c:v>-5.9036898000000004</c:v>
                </c:pt>
                <c:pt idx="9593">
                  <c:v>-5.9017806999999998</c:v>
                </c:pt>
                <c:pt idx="9594">
                  <c:v>-5.8998720999999996</c:v>
                </c:pt>
                <c:pt idx="9595">
                  <c:v>-5.8979642999999999</c:v>
                </c:pt>
                <c:pt idx="9596">
                  <c:v>-5.8960559999999997</c:v>
                </c:pt>
                <c:pt idx="9597">
                  <c:v>-5.8941490999999999</c:v>
                </c:pt>
                <c:pt idx="9598">
                  <c:v>-5.8922422000000001</c:v>
                </c:pt>
                <c:pt idx="9599">
                  <c:v>-5.8903346000000001</c:v>
                </c:pt>
                <c:pt idx="9600">
                  <c:v>-5.8884283000000002</c:v>
                </c:pt>
                <c:pt idx="9601">
                  <c:v>-5.8865208000000004</c:v>
                </c:pt>
                <c:pt idx="9602">
                  <c:v>-5.8846148999999999</c:v>
                </c:pt>
                <c:pt idx="9603">
                  <c:v>-5.8827094999999998</c:v>
                </c:pt>
                <c:pt idx="9604">
                  <c:v>-5.8808037999999998</c:v>
                </c:pt>
                <c:pt idx="9605">
                  <c:v>-5.8789008000000003</c:v>
                </c:pt>
                <c:pt idx="9606">
                  <c:v>-5.876995</c:v>
                </c:pt>
                <c:pt idx="9607">
                  <c:v>-5.8750897999999996</c:v>
                </c:pt>
                <c:pt idx="9608">
                  <c:v>-5.8731863999999998</c:v>
                </c:pt>
                <c:pt idx="9609">
                  <c:v>-5.8712833</c:v>
                </c:pt>
                <c:pt idx="9610">
                  <c:v>-5.8693796999999996</c:v>
                </c:pt>
                <c:pt idx="9611">
                  <c:v>-5.8674768999999998</c:v>
                </c:pt>
                <c:pt idx="9612">
                  <c:v>-5.8655726000000001</c:v>
                </c:pt>
                <c:pt idx="9613">
                  <c:v>-5.8636710000000001</c:v>
                </c:pt>
                <c:pt idx="9614">
                  <c:v>-5.8617688000000001</c:v>
                </c:pt>
                <c:pt idx="9615">
                  <c:v>-5.8598689999999998</c:v>
                </c:pt>
                <c:pt idx="9616">
                  <c:v>-5.8579669000000001</c:v>
                </c:pt>
                <c:pt idx="9617">
                  <c:v>-5.8560654999999997</c:v>
                </c:pt>
                <c:pt idx="9618">
                  <c:v>-5.8541644000000002</c:v>
                </c:pt>
                <c:pt idx="9619">
                  <c:v>-5.8522638999999996</c:v>
                </c:pt>
                <c:pt idx="9620">
                  <c:v>-5.8503639999999999</c:v>
                </c:pt>
                <c:pt idx="9621">
                  <c:v>-5.8484636999999999</c:v>
                </c:pt>
                <c:pt idx="9622">
                  <c:v>-5.8465639999999999</c:v>
                </c:pt>
                <c:pt idx="9623">
                  <c:v>-5.8446655999999999</c:v>
                </c:pt>
                <c:pt idx="9624">
                  <c:v>-5.8427657999999996</c:v>
                </c:pt>
                <c:pt idx="9625">
                  <c:v>-5.8408676000000002</c:v>
                </c:pt>
                <c:pt idx="9626">
                  <c:v>-5.8389689999999996</c:v>
                </c:pt>
                <c:pt idx="9627">
                  <c:v>-5.837072</c:v>
                </c:pt>
                <c:pt idx="9628">
                  <c:v>-5.8351734000000004</c:v>
                </c:pt>
                <c:pt idx="9629">
                  <c:v>-5.8332752000000001</c:v>
                </c:pt>
                <c:pt idx="9630">
                  <c:v>-5.8313817999999999</c:v>
                </c:pt>
                <c:pt idx="9631">
                  <c:v>-5.8294838000000002</c:v>
                </c:pt>
                <c:pt idx="9632">
                  <c:v>-5.8275876999999996</c:v>
                </c:pt>
                <c:pt idx="9633">
                  <c:v>-5.8256905999999997</c:v>
                </c:pt>
                <c:pt idx="9634">
                  <c:v>-5.8237943999999997</c:v>
                </c:pt>
                <c:pt idx="9635">
                  <c:v>-5.8218996000000001</c:v>
                </c:pt>
                <c:pt idx="9636">
                  <c:v>-5.8200044000000002</c:v>
                </c:pt>
                <c:pt idx="9637">
                  <c:v>-5.8181115999999999</c:v>
                </c:pt>
                <c:pt idx="9638">
                  <c:v>-5.8162162999999998</c:v>
                </c:pt>
                <c:pt idx="9639">
                  <c:v>-5.8143206999999997</c:v>
                </c:pt>
                <c:pt idx="9640">
                  <c:v>-5.8124286999999999</c:v>
                </c:pt>
                <c:pt idx="9641">
                  <c:v>-5.8105349999999998</c:v>
                </c:pt>
                <c:pt idx="9642">
                  <c:v>-5.8086419999999999</c:v>
                </c:pt>
                <c:pt idx="9643">
                  <c:v>-5.8067484</c:v>
                </c:pt>
                <c:pt idx="9644">
                  <c:v>-5.8048571999999998</c:v>
                </c:pt>
                <c:pt idx="9645">
                  <c:v>-5.8029649000000001</c:v>
                </c:pt>
                <c:pt idx="9646">
                  <c:v>-5.8010716999999996</c:v>
                </c:pt>
                <c:pt idx="9647">
                  <c:v>-5.7991805000000003</c:v>
                </c:pt>
                <c:pt idx="9648">
                  <c:v>-5.7972913999999998</c:v>
                </c:pt>
                <c:pt idx="9649">
                  <c:v>-5.7953991</c:v>
                </c:pt>
                <c:pt idx="9650">
                  <c:v>-5.7935091999999999</c:v>
                </c:pt>
                <c:pt idx="9651">
                  <c:v>-5.7916186999999999</c:v>
                </c:pt>
                <c:pt idx="9652">
                  <c:v>-5.7897290999999997</c:v>
                </c:pt>
                <c:pt idx="9653">
                  <c:v>-5.7878397000000001</c:v>
                </c:pt>
                <c:pt idx="9654">
                  <c:v>-5.7859508999999996</c:v>
                </c:pt>
                <c:pt idx="9655">
                  <c:v>-5.7840615</c:v>
                </c:pt>
                <c:pt idx="9656">
                  <c:v>-5.7821718000000004</c:v>
                </c:pt>
                <c:pt idx="9657">
                  <c:v>-5.7802835000000004</c:v>
                </c:pt>
                <c:pt idx="9658">
                  <c:v>-5.7783956999999999</c:v>
                </c:pt>
                <c:pt idx="9659">
                  <c:v>-5.7765095999999998</c:v>
                </c:pt>
                <c:pt idx="9660">
                  <c:v>-5.7746228999999998</c:v>
                </c:pt>
                <c:pt idx="9661">
                  <c:v>-5.7727345000000003</c:v>
                </c:pt>
                <c:pt idx="9662">
                  <c:v>-5.7708487000000002</c:v>
                </c:pt>
                <c:pt idx="9663">
                  <c:v>-5.7689605999999998</c:v>
                </c:pt>
                <c:pt idx="9664">
                  <c:v>-5.767074</c:v>
                </c:pt>
                <c:pt idx="9665">
                  <c:v>-5.7651886000000001</c:v>
                </c:pt>
                <c:pt idx="9666">
                  <c:v>-5.7633041</c:v>
                </c:pt>
                <c:pt idx="9667">
                  <c:v>-5.7614179999999999</c:v>
                </c:pt>
                <c:pt idx="9668">
                  <c:v>-5.7595343000000003</c:v>
                </c:pt>
                <c:pt idx="9669">
                  <c:v>-5.7576501000000002</c:v>
                </c:pt>
                <c:pt idx="9670">
                  <c:v>-5.7557643000000001</c:v>
                </c:pt>
                <c:pt idx="9671">
                  <c:v>-5.7538821999999996</c:v>
                </c:pt>
                <c:pt idx="9672">
                  <c:v>-5.7519986999999997</c:v>
                </c:pt>
                <c:pt idx="9673">
                  <c:v>-5.7501144000000002</c:v>
                </c:pt>
                <c:pt idx="9674">
                  <c:v>-5.7482318000000001</c:v>
                </c:pt>
                <c:pt idx="9675">
                  <c:v>-5.7463506000000004</c:v>
                </c:pt>
                <c:pt idx="9676">
                  <c:v>-5.7444687999999999</c:v>
                </c:pt>
                <c:pt idx="9677">
                  <c:v>-5.7425858999999999</c:v>
                </c:pt>
                <c:pt idx="9678">
                  <c:v>-5.7407050000000002</c:v>
                </c:pt>
                <c:pt idx="9679">
                  <c:v>-5.738823</c:v>
                </c:pt>
                <c:pt idx="9680">
                  <c:v>-5.7369421000000003</c:v>
                </c:pt>
                <c:pt idx="9681">
                  <c:v>-5.7350621000000004</c:v>
                </c:pt>
                <c:pt idx="9682">
                  <c:v>-5.7331813</c:v>
                </c:pt>
                <c:pt idx="9683">
                  <c:v>-5.7313000000000001</c:v>
                </c:pt>
                <c:pt idx="9684">
                  <c:v>-5.7294223999999998</c:v>
                </c:pt>
                <c:pt idx="9685">
                  <c:v>-5.7275410999999998</c:v>
                </c:pt>
                <c:pt idx="9686">
                  <c:v>-5.7256622999999998</c:v>
                </c:pt>
                <c:pt idx="9687">
                  <c:v>-5.7237831000000003</c:v>
                </c:pt>
                <c:pt idx="9688">
                  <c:v>-5.7219063999999999</c:v>
                </c:pt>
                <c:pt idx="9689">
                  <c:v>-5.7200280000000001</c:v>
                </c:pt>
                <c:pt idx="9690">
                  <c:v>-5.7181492</c:v>
                </c:pt>
                <c:pt idx="9691">
                  <c:v>-5.7162737999999997</c:v>
                </c:pt>
                <c:pt idx="9692">
                  <c:v>-5.7143949999999997</c:v>
                </c:pt>
                <c:pt idx="9693">
                  <c:v>-5.7125196000000003</c:v>
                </c:pt>
                <c:pt idx="9694">
                  <c:v>-5.7106418000000003</c:v>
                </c:pt>
                <c:pt idx="9695">
                  <c:v>-5.7087652999999996</c:v>
                </c:pt>
                <c:pt idx="9696">
                  <c:v>-5.7068893999999997</c:v>
                </c:pt>
                <c:pt idx="9697">
                  <c:v>-5.7050140999999996</c:v>
                </c:pt>
                <c:pt idx="9698">
                  <c:v>-5.7031399</c:v>
                </c:pt>
                <c:pt idx="9699">
                  <c:v>-5.7012646</c:v>
                </c:pt>
                <c:pt idx="9700">
                  <c:v>-5.6993894000000003</c:v>
                </c:pt>
                <c:pt idx="9701">
                  <c:v>-5.6975170000000004</c:v>
                </c:pt>
                <c:pt idx="9702">
                  <c:v>-5.6956417999999998</c:v>
                </c:pt>
                <c:pt idx="9703">
                  <c:v>-5.6937673000000002</c:v>
                </c:pt>
                <c:pt idx="9704">
                  <c:v>-5.6918940999999998</c:v>
                </c:pt>
                <c:pt idx="9705">
                  <c:v>-5.6900214</c:v>
                </c:pt>
                <c:pt idx="9706">
                  <c:v>-5.6881491999999998</c:v>
                </c:pt>
                <c:pt idx="9707">
                  <c:v>-5.6862757000000004</c:v>
                </c:pt>
                <c:pt idx="9708">
                  <c:v>-5.6844032000000002</c:v>
                </c:pt>
                <c:pt idx="9709">
                  <c:v>-5.6825314999999996</c:v>
                </c:pt>
                <c:pt idx="9710">
                  <c:v>-5.6806600999999999</c:v>
                </c:pt>
                <c:pt idx="9711">
                  <c:v>-5.6787882999999999</c:v>
                </c:pt>
                <c:pt idx="9712">
                  <c:v>-5.6769179000000003</c:v>
                </c:pt>
                <c:pt idx="9713">
                  <c:v>-5.6750489000000002</c:v>
                </c:pt>
                <c:pt idx="9714">
                  <c:v>-5.6731784999999997</c:v>
                </c:pt>
                <c:pt idx="9715">
                  <c:v>-5.6713075000000002</c:v>
                </c:pt>
                <c:pt idx="9716">
                  <c:v>-5.6694389999999997</c:v>
                </c:pt>
                <c:pt idx="9717">
                  <c:v>-5.6675687000000003</c:v>
                </c:pt>
                <c:pt idx="9718">
                  <c:v>-5.6657012</c:v>
                </c:pt>
                <c:pt idx="9719">
                  <c:v>-5.6638330000000003</c:v>
                </c:pt>
                <c:pt idx="9720">
                  <c:v>-5.6619631999999998</c:v>
                </c:pt>
                <c:pt idx="9721">
                  <c:v>-5.6600969000000001</c:v>
                </c:pt>
                <c:pt idx="9722">
                  <c:v>-5.6582271999999998</c:v>
                </c:pt>
                <c:pt idx="9723">
                  <c:v>-5.6563607999999999</c:v>
                </c:pt>
                <c:pt idx="9724">
                  <c:v>-5.6544929000000002</c:v>
                </c:pt>
                <c:pt idx="9725">
                  <c:v>-5.6526255000000001</c:v>
                </c:pt>
                <c:pt idx="9726">
                  <c:v>-5.6507595000000004</c:v>
                </c:pt>
                <c:pt idx="9727">
                  <c:v>-5.6488928999999999</c:v>
                </c:pt>
                <c:pt idx="9728">
                  <c:v>-5.6470286999999999</c:v>
                </c:pt>
                <c:pt idx="9729">
                  <c:v>-5.6451621000000003</c:v>
                </c:pt>
                <c:pt idx="9730">
                  <c:v>-5.6432979000000003</c:v>
                </c:pt>
                <c:pt idx="9731">
                  <c:v>-5.6414312000000004</c:v>
                </c:pt>
                <c:pt idx="9732">
                  <c:v>-5.6395688000000002</c:v>
                </c:pt>
                <c:pt idx="9733">
                  <c:v>-5.6377050000000004</c:v>
                </c:pt>
                <c:pt idx="9734">
                  <c:v>-5.6358414999999997</c:v>
                </c:pt>
                <c:pt idx="9735">
                  <c:v>-5.6339774</c:v>
                </c:pt>
                <c:pt idx="9736">
                  <c:v>-5.6321139000000002</c:v>
                </c:pt>
                <c:pt idx="9737">
                  <c:v>-5.6302488999999998</c:v>
                </c:pt>
                <c:pt idx="9738">
                  <c:v>-5.6283873</c:v>
                </c:pt>
                <c:pt idx="9739">
                  <c:v>-5.626525</c:v>
                </c:pt>
                <c:pt idx="9740">
                  <c:v>-5.6246641000000004</c:v>
                </c:pt>
                <c:pt idx="9741">
                  <c:v>-5.6228008000000003</c:v>
                </c:pt>
                <c:pt idx="9742">
                  <c:v>-5.6209398000000004</c:v>
                </c:pt>
                <c:pt idx="9743">
                  <c:v>-5.6190794000000004</c:v>
                </c:pt>
                <c:pt idx="9744">
                  <c:v>-5.6172183000000002</c:v>
                </c:pt>
                <c:pt idx="9745">
                  <c:v>-5.6153586999999998</c:v>
                </c:pt>
                <c:pt idx="9746">
                  <c:v>-5.6134985000000004</c:v>
                </c:pt>
                <c:pt idx="9747">
                  <c:v>-5.6116377999999996</c:v>
                </c:pt>
                <c:pt idx="9748">
                  <c:v>-5.6097785</c:v>
                </c:pt>
                <c:pt idx="9749">
                  <c:v>-5.6079185000000003</c:v>
                </c:pt>
                <c:pt idx="9750">
                  <c:v>-5.6060600999999997</c:v>
                </c:pt>
                <c:pt idx="9751">
                  <c:v>-5.6042011</c:v>
                </c:pt>
                <c:pt idx="9752">
                  <c:v>-5.6023434999999999</c:v>
                </c:pt>
                <c:pt idx="9753">
                  <c:v>-5.6004842000000004</c:v>
                </c:pt>
                <c:pt idx="9754">
                  <c:v>-5.5986282999999997</c:v>
                </c:pt>
                <c:pt idx="9755">
                  <c:v>-5.5967700000000002</c:v>
                </c:pt>
                <c:pt idx="9756">
                  <c:v>-5.5949140999999996</c:v>
                </c:pt>
                <c:pt idx="9757">
                  <c:v>-5.5930565999999997</c:v>
                </c:pt>
                <c:pt idx="9758">
                  <c:v>-5.5912005000000002</c:v>
                </c:pt>
                <c:pt idx="9759">
                  <c:v>-5.5893449000000004</c:v>
                </c:pt>
                <c:pt idx="9760">
                  <c:v>-5.5874895999999996</c:v>
                </c:pt>
                <c:pt idx="9761">
                  <c:v>-5.5856328</c:v>
                </c:pt>
                <c:pt idx="9762">
                  <c:v>-5.5837773999999998</c:v>
                </c:pt>
                <c:pt idx="9763">
                  <c:v>-5.5819235000000003</c:v>
                </c:pt>
                <c:pt idx="9764">
                  <c:v>-5.5800679999999998</c:v>
                </c:pt>
                <c:pt idx="9765">
                  <c:v>-5.5782138000000003</c:v>
                </c:pt>
                <c:pt idx="9766">
                  <c:v>-5.5763600000000002</c:v>
                </c:pt>
                <c:pt idx="9767">
                  <c:v>-5.5745066999999997</c:v>
                </c:pt>
                <c:pt idx="9768">
                  <c:v>-5.5726537</c:v>
                </c:pt>
                <c:pt idx="9769">
                  <c:v>-5.5708012</c:v>
                </c:pt>
                <c:pt idx="9770">
                  <c:v>-5.5689482000000003</c:v>
                </c:pt>
                <c:pt idx="9771">
                  <c:v>-5.5670954000000004</c:v>
                </c:pt>
                <c:pt idx="9772">
                  <c:v>-5.5652431</c:v>
                </c:pt>
                <c:pt idx="9773">
                  <c:v>-5.5633913000000002</c:v>
                </c:pt>
                <c:pt idx="9774">
                  <c:v>-5.5615398000000003</c:v>
                </c:pt>
                <c:pt idx="9775">
                  <c:v>-5.5596888</c:v>
                </c:pt>
                <c:pt idx="9776">
                  <c:v>-5.5578371000000004</c:v>
                </c:pt>
                <c:pt idx="9777">
                  <c:v>-5.5559877999999996</c:v>
                </c:pt>
                <c:pt idx="9778">
                  <c:v>-5.5541369999999999</c:v>
                </c:pt>
                <c:pt idx="9779">
                  <c:v>-5.5522884000000001</c:v>
                </c:pt>
                <c:pt idx="9780">
                  <c:v>-5.5504384</c:v>
                </c:pt>
                <c:pt idx="9781">
                  <c:v>-5.5485898000000002</c:v>
                </c:pt>
                <c:pt idx="9782">
                  <c:v>-5.5467385</c:v>
                </c:pt>
                <c:pt idx="9783">
                  <c:v>-5.5448917</c:v>
                </c:pt>
                <c:pt idx="9784">
                  <c:v>-5.5430431999999996</c:v>
                </c:pt>
                <c:pt idx="9785">
                  <c:v>-5.5411960999999996</c:v>
                </c:pt>
                <c:pt idx="9786">
                  <c:v>-5.5393474999999999</c:v>
                </c:pt>
                <c:pt idx="9787">
                  <c:v>-5.5375002000000002</c:v>
                </c:pt>
                <c:pt idx="9788">
                  <c:v>-5.5356532999999999</c:v>
                </c:pt>
                <c:pt idx="9789">
                  <c:v>-5.5338057999999997</c:v>
                </c:pt>
                <c:pt idx="9790">
                  <c:v>-5.5319596999999998</c:v>
                </c:pt>
                <c:pt idx="9791">
                  <c:v>-5.5301140000000002</c:v>
                </c:pt>
                <c:pt idx="9792">
                  <c:v>-5.5282676000000004</c:v>
                </c:pt>
                <c:pt idx="9793">
                  <c:v>-5.5264227000000004</c:v>
                </c:pt>
                <c:pt idx="9794">
                  <c:v>-5.5245762000000003</c:v>
                </c:pt>
                <c:pt idx="9795">
                  <c:v>-5.5227320000000004</c:v>
                </c:pt>
                <c:pt idx="9796">
                  <c:v>-5.5208880999999996</c:v>
                </c:pt>
                <c:pt idx="9797">
                  <c:v>-5.5190438000000004</c:v>
                </c:pt>
                <c:pt idx="9798">
                  <c:v>-5.5171988000000001</c:v>
                </c:pt>
                <c:pt idx="9799">
                  <c:v>-5.5153561</c:v>
                </c:pt>
                <c:pt idx="9800">
                  <c:v>-5.5135120000000004</c:v>
                </c:pt>
                <c:pt idx="9801">
                  <c:v>-5.5116690999999998</c:v>
                </c:pt>
                <c:pt idx="9802">
                  <c:v>-5.5098256000000001</c:v>
                </c:pt>
                <c:pt idx="9803">
                  <c:v>-5.5079845000000001</c:v>
                </c:pt>
                <c:pt idx="9804">
                  <c:v>-5.5061416999999997</c:v>
                </c:pt>
                <c:pt idx="9805">
                  <c:v>-5.5042993999999998</c:v>
                </c:pt>
                <c:pt idx="9806">
                  <c:v>-5.5024592999999999</c:v>
                </c:pt>
                <c:pt idx="9807">
                  <c:v>-5.5006168000000004</c:v>
                </c:pt>
                <c:pt idx="9808">
                  <c:v>-5.4987766000000002</c:v>
                </c:pt>
                <c:pt idx="9809">
                  <c:v>-5.4969367</c:v>
                </c:pt>
                <c:pt idx="9810">
                  <c:v>-5.4950953</c:v>
                </c:pt>
                <c:pt idx="9811">
                  <c:v>-5.4932550999999998</c:v>
                </c:pt>
                <c:pt idx="9812">
                  <c:v>-5.4914154000000002</c:v>
                </c:pt>
                <c:pt idx="9813">
                  <c:v>-5.4895769999999997</c:v>
                </c:pt>
                <c:pt idx="9814">
                  <c:v>-5.4877390000000004</c:v>
                </c:pt>
                <c:pt idx="9815">
                  <c:v>-5.4858994000000001</c:v>
                </c:pt>
                <c:pt idx="9816">
                  <c:v>-5.4840610999999999</c:v>
                </c:pt>
                <c:pt idx="9817">
                  <c:v>-5.4822221999999998</c:v>
                </c:pt>
                <c:pt idx="9818">
                  <c:v>-5.4803847000000001</c:v>
                </c:pt>
                <c:pt idx="9819">
                  <c:v>-5.4785465000000002</c:v>
                </c:pt>
                <c:pt idx="9820">
                  <c:v>-5.4767106999999999</c:v>
                </c:pt>
                <c:pt idx="9821">
                  <c:v>-5.4748732999999996</c:v>
                </c:pt>
                <c:pt idx="9822">
                  <c:v>-5.4730352</c:v>
                </c:pt>
                <c:pt idx="9823">
                  <c:v>-5.4712003999999999</c:v>
                </c:pt>
                <c:pt idx="9824">
                  <c:v>-5.4693641</c:v>
                </c:pt>
                <c:pt idx="9825">
                  <c:v>-5.4675281</c:v>
                </c:pt>
                <c:pt idx="9826">
                  <c:v>-5.4656934000000001</c:v>
                </c:pt>
                <c:pt idx="9827">
                  <c:v>-5.4638571000000002</c:v>
                </c:pt>
                <c:pt idx="9828">
                  <c:v>-5.4620232</c:v>
                </c:pt>
                <c:pt idx="9829">
                  <c:v>-5.4601905000000004</c:v>
                </c:pt>
                <c:pt idx="9830">
                  <c:v>-5.4583554000000003</c:v>
                </c:pt>
                <c:pt idx="9831">
                  <c:v>-5.4565215</c:v>
                </c:pt>
                <c:pt idx="9832">
                  <c:v>-5.4546869999999998</c:v>
                </c:pt>
                <c:pt idx="9833">
                  <c:v>-5.4528537999999998</c:v>
                </c:pt>
                <c:pt idx="9834">
                  <c:v>-5.4510209999999999</c:v>
                </c:pt>
                <c:pt idx="9835">
                  <c:v>-5.4491893999999998</c:v>
                </c:pt>
                <c:pt idx="9836">
                  <c:v>-5.4473573000000002</c:v>
                </c:pt>
                <c:pt idx="9837">
                  <c:v>-5.4455245000000003</c:v>
                </c:pt>
                <c:pt idx="9838">
                  <c:v>-5.4436931</c:v>
                </c:pt>
                <c:pt idx="9839">
                  <c:v>-5.4418629999999997</c:v>
                </c:pt>
                <c:pt idx="9840">
                  <c:v>-5.4400312</c:v>
                </c:pt>
                <c:pt idx="9841">
                  <c:v>-5.4382007999999997</c:v>
                </c:pt>
                <c:pt idx="9842">
                  <c:v>-5.4363707000000003</c:v>
                </c:pt>
                <c:pt idx="9843">
                  <c:v>-5.4345400000000001</c:v>
                </c:pt>
                <c:pt idx="9844">
                  <c:v>-5.4327097000000002</c:v>
                </c:pt>
                <c:pt idx="9845">
                  <c:v>-5.4308806000000001</c:v>
                </c:pt>
                <c:pt idx="9846">
                  <c:v>-5.4290509</c:v>
                </c:pt>
                <c:pt idx="9847">
                  <c:v>-5.4272235000000002</c:v>
                </c:pt>
                <c:pt idx="9848">
                  <c:v>-5.4253945000000003</c:v>
                </c:pt>
                <c:pt idx="9849">
                  <c:v>-5.4235648999999997</c:v>
                </c:pt>
                <c:pt idx="9850">
                  <c:v>-5.4217374999999999</c:v>
                </c:pt>
                <c:pt idx="9851">
                  <c:v>-5.4199104</c:v>
                </c:pt>
                <c:pt idx="9852">
                  <c:v>-5.4180827000000003</c:v>
                </c:pt>
                <c:pt idx="9853">
                  <c:v>-5.4162553999999998</c:v>
                </c:pt>
                <c:pt idx="9854">
                  <c:v>-5.4144284000000003</c:v>
                </c:pt>
                <c:pt idx="9855">
                  <c:v>-5.4126016999999997</c:v>
                </c:pt>
                <c:pt idx="9856">
                  <c:v>-5.4107763000000002</c:v>
                </c:pt>
                <c:pt idx="9857">
                  <c:v>-5.4089502999999999</c:v>
                </c:pt>
                <c:pt idx="9858">
                  <c:v>-5.4071245000000001</c:v>
                </c:pt>
                <c:pt idx="9859">
                  <c:v>-5.4052992</c:v>
                </c:pt>
                <c:pt idx="9860">
                  <c:v>-5.4034741000000004</c:v>
                </c:pt>
                <c:pt idx="9861">
                  <c:v>-5.4016503</c:v>
                </c:pt>
                <c:pt idx="9862">
                  <c:v>-5.3998249999999999</c:v>
                </c:pt>
                <c:pt idx="9863">
                  <c:v>-5.3980028000000004</c:v>
                </c:pt>
                <c:pt idx="9864">
                  <c:v>-5.3961781000000002</c:v>
                </c:pt>
                <c:pt idx="9865">
                  <c:v>-5.3943545999999998</c:v>
                </c:pt>
                <c:pt idx="9866">
                  <c:v>-5.3925314999999996</c:v>
                </c:pt>
                <c:pt idx="9867">
                  <c:v>-5.3907087000000002</c:v>
                </c:pt>
                <c:pt idx="9868">
                  <c:v>-5.3888862</c:v>
                </c:pt>
                <c:pt idx="9869">
                  <c:v>-5.3870639999999996</c:v>
                </c:pt>
                <c:pt idx="9870">
                  <c:v>-5.3852421000000001</c:v>
                </c:pt>
                <c:pt idx="9871">
                  <c:v>-5.3834206</c:v>
                </c:pt>
                <c:pt idx="9872">
                  <c:v>-5.3815983999999997</c:v>
                </c:pt>
                <c:pt idx="9873">
                  <c:v>-5.3797784000000002</c:v>
                </c:pt>
                <c:pt idx="9874">
                  <c:v>-5.3779577999999999</c:v>
                </c:pt>
                <c:pt idx="9875">
                  <c:v>-5.3761374999999996</c:v>
                </c:pt>
                <c:pt idx="9876">
                  <c:v>-5.3743175000000001</c:v>
                </c:pt>
                <c:pt idx="9877">
                  <c:v>-5.3724977999999997</c:v>
                </c:pt>
                <c:pt idx="9878">
                  <c:v>-5.3706785000000004</c:v>
                </c:pt>
                <c:pt idx="9879">
                  <c:v>-5.3688585</c:v>
                </c:pt>
                <c:pt idx="9880">
                  <c:v>-5.3670407000000004</c:v>
                </c:pt>
                <c:pt idx="9881">
                  <c:v>-5.3652211999999997</c:v>
                </c:pt>
                <c:pt idx="9882">
                  <c:v>-5.3634021000000001</c:v>
                </c:pt>
                <c:pt idx="9883">
                  <c:v>-5.3615852000000004</c:v>
                </c:pt>
                <c:pt idx="9884">
                  <c:v>-5.3597687000000001</c:v>
                </c:pt>
                <c:pt idx="9885">
                  <c:v>-5.3579505000000003</c:v>
                </c:pt>
                <c:pt idx="9886">
                  <c:v>-5.3561335000000003</c:v>
                </c:pt>
                <c:pt idx="9887">
                  <c:v>-5.3543158999999996</c:v>
                </c:pt>
                <c:pt idx="9888">
                  <c:v>-5.3525014999999998</c:v>
                </c:pt>
                <c:pt idx="9889">
                  <c:v>-5.3506844999999998</c:v>
                </c:pt>
                <c:pt idx="9890">
                  <c:v>-5.3488696999999998</c:v>
                </c:pt>
                <c:pt idx="9891">
                  <c:v>-5.3470532999999998</c:v>
                </c:pt>
                <c:pt idx="9892">
                  <c:v>-5.3452381999999998</c:v>
                </c:pt>
                <c:pt idx="9893">
                  <c:v>-5.3434233000000004</c:v>
                </c:pt>
                <c:pt idx="9894">
                  <c:v>-5.3416097000000002</c:v>
                </c:pt>
                <c:pt idx="9895">
                  <c:v>-5.3397955000000001</c:v>
                </c:pt>
                <c:pt idx="9896">
                  <c:v>-5.3379814000000003</c:v>
                </c:pt>
                <c:pt idx="9897">
                  <c:v>-5.3361668</c:v>
                </c:pt>
                <c:pt idx="9898">
                  <c:v>-5.3343534000000004</c:v>
                </c:pt>
                <c:pt idx="9899">
                  <c:v>-5.3325402999999998</c:v>
                </c:pt>
                <c:pt idx="9900">
                  <c:v>-5.3307275000000001</c:v>
                </c:pt>
                <c:pt idx="9901">
                  <c:v>-5.3289150000000003</c:v>
                </c:pt>
                <c:pt idx="9902">
                  <c:v>-5.3271018000000003</c:v>
                </c:pt>
                <c:pt idx="9903">
                  <c:v>-5.3252917000000002</c:v>
                </c:pt>
                <c:pt idx="9904">
                  <c:v>-5.32348</c:v>
                </c:pt>
                <c:pt idx="9905">
                  <c:v>-5.3216676999999999</c:v>
                </c:pt>
                <c:pt idx="9906">
                  <c:v>-5.3198575000000003</c:v>
                </c:pt>
                <c:pt idx="9907">
                  <c:v>-5.3180467</c:v>
                </c:pt>
                <c:pt idx="9908">
                  <c:v>-5.3162371000000004</c:v>
                </c:pt>
                <c:pt idx="9909">
                  <c:v>-5.3144258999999998</c:v>
                </c:pt>
                <c:pt idx="9910">
                  <c:v>-5.3126177999999999</c:v>
                </c:pt>
                <c:pt idx="9911">
                  <c:v>-5.3108081</c:v>
                </c:pt>
                <c:pt idx="9912">
                  <c:v>-5.3089985999999998</c:v>
                </c:pt>
                <c:pt idx="9913">
                  <c:v>-5.3071894999999998</c:v>
                </c:pt>
                <c:pt idx="9914">
                  <c:v>-5.3053806000000003</c:v>
                </c:pt>
                <c:pt idx="9915">
                  <c:v>-5.3035730000000001</c:v>
                </c:pt>
                <c:pt idx="9916">
                  <c:v>-5.3017656000000004</c:v>
                </c:pt>
                <c:pt idx="9917">
                  <c:v>-5.2999565999999998</c:v>
                </c:pt>
                <c:pt idx="9918">
                  <c:v>-5.2981498</c:v>
                </c:pt>
                <c:pt idx="9919">
                  <c:v>-5.2963421999999998</c:v>
                </c:pt>
                <c:pt idx="9920">
                  <c:v>-5.2945368999999998</c:v>
                </c:pt>
                <c:pt idx="9921">
                  <c:v>-5.2927299000000003</c:v>
                </c:pt>
                <c:pt idx="9922">
                  <c:v>-5.2909231999999999</c:v>
                </c:pt>
                <c:pt idx="9923">
                  <c:v>-5.2891177000000003</c:v>
                </c:pt>
                <c:pt idx="9924">
                  <c:v>-5.2873124999999996</c:v>
                </c:pt>
                <c:pt idx="9925">
                  <c:v>-5.2855075999999999</c:v>
                </c:pt>
                <c:pt idx="9926">
                  <c:v>-5.2837018999999996</c:v>
                </c:pt>
                <c:pt idx="9927">
                  <c:v>-5.2818984999999996</c:v>
                </c:pt>
                <c:pt idx="9928">
                  <c:v>-5.2800943</c:v>
                </c:pt>
                <c:pt idx="9929">
                  <c:v>-5.2782894000000002</c:v>
                </c:pt>
                <c:pt idx="9930">
                  <c:v>-5.2764857999999997</c:v>
                </c:pt>
                <c:pt idx="9931">
                  <c:v>-5.2746823999999997</c:v>
                </c:pt>
                <c:pt idx="9932">
                  <c:v>-5.2728792000000002</c:v>
                </c:pt>
                <c:pt idx="9933">
                  <c:v>-5.2710765000000004</c:v>
                </c:pt>
                <c:pt idx="9934">
                  <c:v>-5.2692737999999997</c:v>
                </c:pt>
                <c:pt idx="9935">
                  <c:v>-5.2674723999999999</c:v>
                </c:pt>
                <c:pt idx="9936">
                  <c:v>-5.2656704000000003</c:v>
                </c:pt>
                <c:pt idx="9937">
                  <c:v>-5.2638685000000001</c:v>
                </c:pt>
                <c:pt idx="9938">
                  <c:v>-5.2620668999999998</c:v>
                </c:pt>
                <c:pt idx="9939">
                  <c:v>-5.2602665999999996</c:v>
                </c:pt>
                <c:pt idx="9940">
                  <c:v>-5.2584654999999998</c:v>
                </c:pt>
                <c:pt idx="9941">
                  <c:v>-5.2566655999999998</c:v>
                </c:pt>
                <c:pt idx="9942">
                  <c:v>-5.2548642000000001</c:v>
                </c:pt>
                <c:pt idx="9943">
                  <c:v>-5.2530647000000004</c:v>
                </c:pt>
                <c:pt idx="9944">
                  <c:v>-5.2512666000000001</c:v>
                </c:pt>
                <c:pt idx="9945">
                  <c:v>-5.2494667000000002</c:v>
                </c:pt>
                <c:pt idx="9946">
                  <c:v>-5.2476672000000004</c:v>
                </c:pt>
                <c:pt idx="9947">
                  <c:v>-5.2458688000000002</c:v>
                </c:pt>
                <c:pt idx="9948">
                  <c:v>-5.2440705999999997</c:v>
                </c:pt>
                <c:pt idx="9949">
                  <c:v>-5.2422727</c:v>
                </c:pt>
                <c:pt idx="9950">
                  <c:v>-5.240475</c:v>
                </c:pt>
                <c:pt idx="9951">
                  <c:v>-5.2386777000000002</c:v>
                </c:pt>
                <c:pt idx="9952">
                  <c:v>-5.2368796</c:v>
                </c:pt>
                <c:pt idx="9953">
                  <c:v>-5.2350835</c:v>
                </c:pt>
                <c:pt idx="9954">
                  <c:v>-5.2332878000000003</c:v>
                </c:pt>
                <c:pt idx="9955">
                  <c:v>-5.2314923999999996</c:v>
                </c:pt>
                <c:pt idx="9956">
                  <c:v>-5.2296952000000001</c:v>
                </c:pt>
                <c:pt idx="9957">
                  <c:v>-5.2278992000000004</c:v>
                </c:pt>
                <c:pt idx="9958">
                  <c:v>-5.2261053000000004</c:v>
                </c:pt>
                <c:pt idx="9959">
                  <c:v>-5.2243098999999997</c:v>
                </c:pt>
                <c:pt idx="9960">
                  <c:v>-5.2225144999999999</c:v>
                </c:pt>
                <c:pt idx="9961">
                  <c:v>-5.2207204999999997</c:v>
                </c:pt>
                <c:pt idx="9962">
                  <c:v>-5.2189265999999996</c:v>
                </c:pt>
                <c:pt idx="9963">
                  <c:v>-5.2171320999999997</c:v>
                </c:pt>
                <c:pt idx="9964">
                  <c:v>-5.2153396000000001</c:v>
                </c:pt>
                <c:pt idx="9965">
                  <c:v>-5.2135455999999998</c:v>
                </c:pt>
                <c:pt idx="9966">
                  <c:v>-5.2117525999999996</c:v>
                </c:pt>
                <c:pt idx="9967">
                  <c:v>-5.2099608000000002</c:v>
                </c:pt>
                <c:pt idx="9968">
                  <c:v>-5.2081692999999998</c:v>
                </c:pt>
                <c:pt idx="9969">
                  <c:v>-5.2063761</c:v>
                </c:pt>
                <c:pt idx="9970">
                  <c:v>-5.2045849999999998</c:v>
                </c:pt>
                <c:pt idx="9971">
                  <c:v>-5.2027941999999996</c:v>
                </c:pt>
                <c:pt idx="9972">
                  <c:v>-5.2010034999999997</c:v>
                </c:pt>
                <c:pt idx="9973">
                  <c:v>-5.1992113</c:v>
                </c:pt>
                <c:pt idx="9974">
                  <c:v>-5.1974210999999997</c:v>
                </c:pt>
                <c:pt idx="9975">
                  <c:v>-5.1956310999999999</c:v>
                </c:pt>
                <c:pt idx="9976">
                  <c:v>-5.1938414000000002</c:v>
                </c:pt>
                <c:pt idx="9977">
                  <c:v>-5.1920517000000004</c:v>
                </c:pt>
                <c:pt idx="9978">
                  <c:v>-5.1902625999999996</c:v>
                </c:pt>
                <c:pt idx="9979">
                  <c:v>-5.1884733000000001</c:v>
                </c:pt>
                <c:pt idx="9980">
                  <c:v>-5.1866854</c:v>
                </c:pt>
                <c:pt idx="9981">
                  <c:v>-5.1848957999999996</c:v>
                </c:pt>
                <c:pt idx="9982">
                  <c:v>-5.1831084000000001</c:v>
                </c:pt>
                <c:pt idx="9983">
                  <c:v>-5.1813210999999999</c:v>
                </c:pt>
                <c:pt idx="9984">
                  <c:v>-5.1795339</c:v>
                </c:pt>
                <c:pt idx="9985">
                  <c:v>-5.1777461999999996</c:v>
                </c:pt>
                <c:pt idx="9986">
                  <c:v>-5.1759586999999998</c:v>
                </c:pt>
                <c:pt idx="9987">
                  <c:v>-5.1741720999999998</c:v>
                </c:pt>
                <c:pt idx="9988">
                  <c:v>-5.1723859000000001</c:v>
                </c:pt>
                <c:pt idx="9989">
                  <c:v>-5.1705999</c:v>
                </c:pt>
                <c:pt idx="9990">
                  <c:v>-5.1688141999999999</c:v>
                </c:pt>
                <c:pt idx="9991">
                  <c:v>-5.1670293999999997</c:v>
                </c:pt>
                <c:pt idx="9992">
                  <c:v>-5.1652430000000003</c:v>
                </c:pt>
                <c:pt idx="9993">
                  <c:v>-5.1634587999999999</c:v>
                </c:pt>
                <c:pt idx="9994">
                  <c:v>-5.1616746999999998</c:v>
                </c:pt>
                <c:pt idx="9995">
                  <c:v>-5.1598891</c:v>
                </c:pt>
                <c:pt idx="9996">
                  <c:v>-5.1581054000000002</c:v>
                </c:pt>
                <c:pt idx="9997">
                  <c:v>-5.1563229000000002</c:v>
                </c:pt>
                <c:pt idx="9998">
                  <c:v>-5.1545386999999998</c:v>
                </c:pt>
                <c:pt idx="9999">
                  <c:v>-5.1527548000000003</c:v>
                </c:pt>
                <c:pt idx="10000">
                  <c:v>-5.1509738</c:v>
                </c:pt>
              </c:numCache>
            </c:numRef>
          </c:yVal>
          <c:smooth val="1"/>
          <c:extLst>
            <c:ext xmlns:c16="http://schemas.microsoft.com/office/drawing/2014/chart" uri="{C3380CC4-5D6E-409C-BE32-E72D297353CC}">
              <c16:uniqueId val="{00000001-1146-4EBD-9776-F70A54283E20}"/>
            </c:ext>
          </c:extLst>
        </c:ser>
        <c:dLbls>
          <c:showLegendKey val="0"/>
          <c:showVal val="0"/>
          <c:showCatName val="0"/>
          <c:showSerName val="0"/>
          <c:showPercent val="0"/>
          <c:showBubbleSize val="0"/>
        </c:dLbls>
        <c:axId val="591203104"/>
        <c:axId val="591217248"/>
      </c:scatterChart>
      <c:valAx>
        <c:axId val="591203104"/>
        <c:scaling>
          <c:orientation val="minMax"/>
          <c:max val="4"/>
          <c:min val="2"/>
        </c:scaling>
        <c:delete val="0"/>
        <c:axPos val="b"/>
        <c:title>
          <c:tx>
            <c:rich>
              <a:bodyPr/>
              <a:lstStyle/>
              <a:p>
                <a:pPr>
                  <a:defRPr lang="ja-JP"/>
                </a:pPr>
                <a:r>
                  <a:rPr lang="en-US"/>
                  <a:t>Frequency (GHz)</a:t>
                </a:r>
                <a:endParaRPr lang="ja-JP"/>
              </a:p>
            </c:rich>
          </c:tx>
          <c:overlay val="0"/>
        </c:title>
        <c:numFmt formatCode="General" sourceLinked="1"/>
        <c:majorTickMark val="in"/>
        <c:minorTickMark val="in"/>
        <c:tickLblPos val="nextTo"/>
        <c:txPr>
          <a:bodyPr/>
          <a:lstStyle/>
          <a:p>
            <a:pPr>
              <a:defRPr lang="ja-JP"/>
            </a:pPr>
            <a:endParaRPr lang="zh-CN"/>
          </a:p>
        </c:txPr>
        <c:crossAx val="591217248"/>
        <c:crossesAt val="-100"/>
        <c:crossBetween val="midCat"/>
        <c:majorUnit val="0.5"/>
        <c:minorUnit val="0.1"/>
      </c:valAx>
      <c:valAx>
        <c:axId val="591217248"/>
        <c:scaling>
          <c:orientation val="minMax"/>
          <c:max val="0"/>
          <c:min val="-100"/>
        </c:scaling>
        <c:delete val="0"/>
        <c:axPos val="l"/>
        <c:title>
          <c:tx>
            <c:rich>
              <a:bodyPr rot="-5400000" vert="horz"/>
              <a:lstStyle/>
              <a:p>
                <a:pPr>
                  <a:defRPr lang="ja-JP"/>
                </a:pPr>
                <a:r>
                  <a:rPr lang="en-US"/>
                  <a:t>S-parameter (dB)</a:t>
                </a:r>
                <a:endParaRPr lang="ja-JP"/>
              </a:p>
            </c:rich>
          </c:tx>
          <c:layout>
            <c:manualLayout>
              <c:xMode val="edge"/>
              <c:yMode val="edge"/>
              <c:x val="1.8664852652874701E-2"/>
              <c:y val="0.12371172439661735"/>
            </c:manualLayout>
          </c:layout>
          <c:overlay val="0"/>
        </c:title>
        <c:numFmt formatCode="General" sourceLinked="1"/>
        <c:majorTickMark val="in"/>
        <c:minorTickMark val="in"/>
        <c:tickLblPos val="nextTo"/>
        <c:txPr>
          <a:bodyPr/>
          <a:lstStyle/>
          <a:p>
            <a:pPr>
              <a:defRPr lang="ja-JP"/>
            </a:pPr>
            <a:endParaRPr lang="zh-CN"/>
          </a:p>
        </c:txPr>
        <c:crossAx val="591203104"/>
        <c:crosses val="autoZero"/>
        <c:crossBetween val="midCat"/>
      </c:valAx>
      <c:spPr>
        <a:ln w="6350">
          <a:solidFill>
            <a:schemeClr val="tx1">
              <a:lumMod val="50000"/>
              <a:lumOff val="50000"/>
            </a:schemeClr>
          </a:solidFill>
        </a:ln>
      </c:spPr>
    </c:plotArea>
    <c:legend>
      <c:legendPos val="r"/>
      <c:layout>
        <c:manualLayout>
          <c:xMode val="edge"/>
          <c:yMode val="edge"/>
          <c:x val="0.48277958527725418"/>
          <c:y val="0.56236766858116416"/>
          <c:w val="0.45262160838396553"/>
          <c:h val="0.16943039412939645"/>
        </c:manualLayout>
      </c:layout>
      <c:overlay val="0"/>
      <c:txPr>
        <a:bodyPr/>
        <a:lstStyle/>
        <a:p>
          <a:pPr>
            <a:defRPr lang="ja-JP" sz="1200"/>
          </a:pPr>
          <a:endParaRPr lang="zh-CN"/>
        </a:p>
      </c:txPr>
    </c:legend>
    <c:plotVisOnly val="1"/>
    <c:dispBlanksAs val="gap"/>
    <c:showDLblsOverMax val="0"/>
  </c:chart>
  <c:spPr>
    <a:ln>
      <a:noFill/>
    </a:ln>
  </c:spPr>
  <c:txPr>
    <a:bodyPr/>
    <a:lstStyle/>
    <a:p>
      <a:pPr>
        <a:defRPr sz="1400" b="0">
          <a:latin typeface="Times New Roman" panose="02020603050405020304" pitchFamily="18" charset="0"/>
          <a:cs typeface="Times New Roman" panose="02020603050405020304" pitchFamily="18" charset="0"/>
        </a:defRPr>
      </a:pPr>
      <a:endParaRPr lang="zh-CN"/>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8DF4176-1064-48CE-8AAA-6DE1C0095927}" type="datetimeFigureOut">
              <a:rPr kumimoji="1" lang="ja-JP" altLang="en-US" smtClean="0"/>
              <a:t>2019/7/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BCE325-B9BB-484B-BD33-CA8691BB679F}" type="slidenum">
              <a:rPr kumimoji="1" lang="ja-JP" altLang="en-US" smtClean="0"/>
              <a:t>‹#›</a:t>
            </a:fld>
            <a:endParaRPr kumimoji="1" lang="ja-JP" altLang="en-US"/>
          </a:p>
        </p:txBody>
      </p:sp>
    </p:spTree>
    <p:extLst>
      <p:ext uri="{BB962C8B-B14F-4D97-AF65-F5344CB8AC3E}">
        <p14:creationId xmlns:p14="http://schemas.microsoft.com/office/powerpoint/2010/main" val="20109246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DABCE325-B9BB-484B-BD33-CA8691BB679F}" type="slidenum">
              <a:rPr kumimoji="1" lang="ja-JP" altLang="en-US" smtClean="0"/>
              <a:t>1</a:t>
            </a:fld>
            <a:endParaRPr kumimoji="1" lang="ja-JP" altLang="en-US"/>
          </a:p>
        </p:txBody>
      </p:sp>
    </p:spTree>
    <p:extLst>
      <p:ext uri="{BB962C8B-B14F-4D97-AF65-F5344CB8AC3E}">
        <p14:creationId xmlns:p14="http://schemas.microsoft.com/office/powerpoint/2010/main" val="2386281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6252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98780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0433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3544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72130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2019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4989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4305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1968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85261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24590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91826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82194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204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143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11719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05444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0000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34828506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28702345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187627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2174246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8818AE9D-8D01-4131-B6C7-066632969B93}" type="slidenum">
              <a:rPr lang="ja-JP" altLang="en-US" smtClean="0">
                <a:solidFill>
                  <a:prstClr val="black"/>
                </a:solidFill>
              </a:rPr>
              <a:pPr/>
              <a:t>37</a:t>
            </a:fld>
            <a:endParaRPr lang="ja-JP" altLang="en-US">
              <a:solidFill>
                <a:prstClr val="black"/>
              </a:solidFill>
            </a:endParaRPr>
          </a:p>
        </p:txBody>
      </p:sp>
    </p:spTree>
    <p:extLst>
      <p:ext uri="{BB962C8B-B14F-4D97-AF65-F5344CB8AC3E}">
        <p14:creationId xmlns:p14="http://schemas.microsoft.com/office/powerpoint/2010/main" val="2949738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795356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972D3-2822-49F5-BB7A-261189D8ACD5}" type="datetime1">
              <a:rPr kumimoji="1"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a:t>
            </a:fld>
            <a:endParaRPr kumimoji="1"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1"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Office</a:t>
            </a:r>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3"/>
          </p:nvPr>
        </p:nvSpPr>
        <p:spPr/>
        <p:txBody>
          <a:bodyPr/>
          <a:lstStyle/>
          <a:p>
            <a:pPr marL="236166" marR="0" lvl="0" indent="0" algn="l" defTabSz="931416" rtl="0" eaLnBrk="0" fontAlgn="auto" latinLnBrk="0" hangingPunct="0">
              <a:lnSpc>
                <a:spcPct val="100000"/>
              </a:lnSpc>
              <a:spcBef>
                <a:spcPts val="0"/>
              </a:spcBef>
              <a:spcAft>
                <a:spcPts val="0"/>
              </a:spcAft>
              <a:buClrTx/>
              <a:buSzTx/>
              <a:buFontTx/>
              <a:buNone/>
              <a:tabLst/>
              <a:defRPr/>
            </a:pPr>
            <a:r>
              <a:rPr kumimoji="1"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166" marR="0" lvl="0" indent="0" algn="l" defTabSz="931416" rtl="0" eaLnBrk="0" fontAlgn="auto" latinLnBrk="0" hangingPunct="0">
              <a:lnSpc>
                <a:spcPct val="100000"/>
              </a:lnSpc>
              <a:spcBef>
                <a:spcPts val="0"/>
              </a:spcBef>
              <a:spcAft>
                <a:spcPts val="0"/>
              </a:spcAft>
              <a:buClrTx/>
              <a:buSzTx/>
              <a:buFontTx/>
              <a:buNone/>
              <a:tabLst/>
              <a:defRPr/>
            </a:pPr>
            <a:r>
              <a:rPr kumimoji="1"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1"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717108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E972D3-2822-49F5-BB7A-261189D8ACD5}" type="datetime1">
              <a:rPr kumimoji="1"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2019</a:t>
            </a:fld>
            <a:endParaRPr kumimoji="1"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1"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Header Placeholder 5"/>
          <p:cNvSpPr>
            <a:spLocks noGrp="1"/>
          </p:cNvSpPr>
          <p:nvPr>
            <p:ph type="hd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Office</a:t>
            </a:r>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ooter Placeholder 6"/>
          <p:cNvSpPr>
            <a:spLocks noGrp="1"/>
          </p:cNvSpPr>
          <p:nvPr>
            <p:ph type="ftr" sz="quarter" idx="13"/>
          </p:nvPr>
        </p:nvSpPr>
        <p:spPr/>
        <p:txBody>
          <a:bodyPr/>
          <a:lstStyle/>
          <a:p>
            <a:pPr marL="236166" marR="0" lvl="0" indent="0" algn="l" defTabSz="931416" rtl="0" eaLnBrk="0" fontAlgn="auto" latinLnBrk="0" hangingPunct="0">
              <a:lnSpc>
                <a:spcPct val="100000"/>
              </a:lnSpc>
              <a:spcBef>
                <a:spcPts val="0"/>
              </a:spcBef>
              <a:spcAft>
                <a:spcPts val="0"/>
              </a:spcAft>
              <a:buClrTx/>
              <a:buSzTx/>
              <a:buFontTx/>
              <a:buNone/>
              <a:tabLst/>
              <a:defRPr/>
            </a:pPr>
            <a:r>
              <a:rPr kumimoji="1"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6166" marR="0" lvl="0" indent="0" algn="l" defTabSz="931416" rtl="0" eaLnBrk="0" fontAlgn="auto" latinLnBrk="0" hangingPunct="0">
              <a:lnSpc>
                <a:spcPct val="100000"/>
              </a:lnSpc>
              <a:spcBef>
                <a:spcPts val="0"/>
              </a:spcBef>
              <a:spcAft>
                <a:spcPts val="0"/>
              </a:spcAft>
              <a:buClrTx/>
              <a:buSzTx/>
              <a:buFontTx/>
              <a:buNone/>
              <a:tabLst/>
              <a:defRPr/>
            </a:pPr>
            <a:r>
              <a:rPr kumimoji="1" lang="en-US" sz="5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1"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8524880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781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0027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63312-38AA-4E1E-B2B5-0F8F122B24FE}" type="slidenum">
              <a:rPr kumimoji="1"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1"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4636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31300131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293161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399483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69239" y="3866380"/>
            <a:ext cx="8964248" cy="179310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8" tIns="143374" rIns="179218" bIns="143374" numCol="1" spcCol="0" rtlCol="0" fromWordArt="0" anchor="t" anchorCtr="0" forceAA="0" compatLnSpc="1">
            <a:prstTxWarp prst="textNoShape">
              <a:avLst/>
            </a:prstTxWarp>
            <a:noAutofit/>
          </a:bodyPr>
          <a:lstStyle/>
          <a:p>
            <a:pPr algn="ctr" defTabSz="913758" fontAlgn="base">
              <a:lnSpc>
                <a:spcPct val="90000"/>
              </a:lnSpc>
              <a:spcBef>
                <a:spcPct val="0"/>
              </a:spcBef>
              <a:spcAft>
                <a:spcPct val="0"/>
              </a:spcAft>
            </a:pPr>
            <a:endParaRPr kumimoji="0"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220645" y="3866380"/>
            <a:ext cx="3012842" cy="1793104"/>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8" tIns="143374" rIns="179218" bIns="143374" numCol="1" spcCol="0" rtlCol="0" fromWordArt="0" anchor="t" anchorCtr="0" forceAA="0" compatLnSpc="1">
            <a:prstTxWarp prst="textNoShape">
              <a:avLst/>
            </a:prstTxWarp>
            <a:noAutofit/>
          </a:bodyPr>
          <a:lstStyle/>
          <a:p>
            <a:pPr algn="ctr" defTabSz="913758" fontAlgn="base">
              <a:lnSpc>
                <a:spcPct val="90000"/>
              </a:lnSpc>
              <a:spcBef>
                <a:spcPct val="0"/>
              </a:spcBef>
              <a:spcAft>
                <a:spcPct val="0"/>
              </a:spcAft>
            </a:pPr>
            <a:endParaRPr kumimoji="0"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69239" y="2084177"/>
            <a:ext cx="8964248" cy="179310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8" tIns="143374" rIns="179218" bIns="143374" numCol="1" spcCol="0" rtlCol="0" fromWordArt="0" anchor="t" anchorCtr="0" forceAA="0" compatLnSpc="1">
            <a:prstTxWarp prst="textNoShape">
              <a:avLst/>
            </a:prstTxWarp>
            <a:noAutofit/>
          </a:bodyPr>
          <a:lstStyle/>
          <a:p>
            <a:pPr algn="ctr" defTabSz="913758" fontAlgn="base">
              <a:lnSpc>
                <a:spcPct val="90000"/>
              </a:lnSpc>
              <a:spcBef>
                <a:spcPct val="0"/>
              </a:spcBef>
              <a:spcAft>
                <a:spcPct val="0"/>
              </a:spcAft>
            </a:pPr>
            <a:endParaRPr kumimoji="0"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2" y="2084187"/>
            <a:ext cx="8964185" cy="1793090"/>
          </a:xfrm>
          <a:noFill/>
        </p:spPr>
        <p:txBody>
          <a:bodyPr lIns="146249" tIns="91406" rIns="146249" bIns="91406"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3" y="3878574"/>
            <a:ext cx="5951344" cy="1792326"/>
          </a:xfrm>
          <a:noFill/>
        </p:spPr>
        <p:txBody>
          <a:bodyPr lIns="182812" tIns="146249" rIns="182812" bIns="146249">
            <a:noAutofit/>
          </a:bodyPr>
          <a:lstStyle>
            <a:lvl1pPr marL="0" indent="0">
              <a:spcBef>
                <a:spcPts val="0"/>
              </a:spcBef>
              <a:buNone/>
              <a:defRPr sz="3529" spc="0" baseline="0">
                <a:gradFill>
                  <a:gsLst>
                    <a:gs pos="0">
                      <a:schemeClr val="bg2"/>
                    </a:gs>
                    <a:gs pos="100000">
                      <a:schemeClr val="bg2"/>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449323" y="508176"/>
            <a:ext cx="2569090" cy="897626"/>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49323" y="6087150"/>
            <a:ext cx="1522404" cy="326167"/>
          </a:xfrm>
          <a:prstGeom prst="rect">
            <a:avLst/>
          </a:prstGeom>
        </p:spPr>
      </p:pic>
      <p:sp>
        <p:nvSpPr>
          <p:cNvPr id="10" name="Text Placeholder 7"/>
          <p:cNvSpPr>
            <a:spLocks noGrp="1"/>
          </p:cNvSpPr>
          <p:nvPr>
            <p:ph type="body" sz="quarter" idx="13" hasCustomPrompt="1"/>
          </p:nvPr>
        </p:nvSpPr>
        <p:spPr>
          <a:xfrm>
            <a:off x="6364993" y="426210"/>
            <a:ext cx="5378549" cy="909728"/>
          </a:xfrm>
        </p:spPr>
        <p:txBody>
          <a:bodyPr tIns="0" rIns="0"/>
          <a:lstStyle>
            <a:lvl1pPr marL="0" indent="0" algn="r">
              <a:buNone/>
              <a:defRPr sz="5882"/>
            </a:lvl1pPr>
          </a:lstStyle>
          <a:p>
            <a:pPr lvl="0"/>
            <a:r>
              <a:rPr lang="en-US" dirty="0"/>
              <a:t>Session code</a:t>
            </a:r>
          </a:p>
        </p:txBody>
      </p:sp>
      <p:grpSp>
        <p:nvGrpSpPr>
          <p:cNvPr id="97" name="Group 96"/>
          <p:cNvGrpSpPr/>
          <p:nvPr userDrawn="1"/>
        </p:nvGrpSpPr>
        <p:grpSpPr>
          <a:xfrm>
            <a:off x="6632996" y="4022032"/>
            <a:ext cx="2188149" cy="1503592"/>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grpSp>
      <p:grpSp>
        <p:nvGrpSpPr>
          <p:cNvPr id="98" name="Group 97"/>
          <p:cNvGrpSpPr/>
          <p:nvPr userDrawn="1"/>
        </p:nvGrpSpPr>
        <p:grpSpPr>
          <a:xfrm>
            <a:off x="18482541" y="1919187"/>
            <a:ext cx="1461360" cy="1486471"/>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023"/>
              <a:endParaRPr kumimoji="0" lang="en-US" sz="1765">
                <a:solidFill>
                  <a:srgbClr val="FFFFFF"/>
                </a:solidFill>
              </a:endParaRPr>
            </a:p>
          </p:txBody>
        </p:sp>
      </p:grpSp>
    </p:spTree>
    <p:extLst>
      <p:ext uri="{BB962C8B-B14F-4D97-AF65-F5344CB8AC3E}">
        <p14:creationId xmlns:p14="http://schemas.microsoft.com/office/powerpoint/2010/main" val="45579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374" tIns="107531" rIns="143374" bIns="107531" numCol="1" spcCol="0" rtlCol="0" fromWordArt="0" anchor="t" anchorCtr="0" forceAA="0" compatLnSpc="1">
            <a:prstTxWarp prst="textNoShape">
              <a:avLst/>
            </a:prstTxWarp>
            <a:noAutofit/>
          </a:bodyPr>
          <a:lstStyle/>
          <a:p>
            <a:pPr algn="ctr" defTabSz="913758" fontAlgn="base">
              <a:lnSpc>
                <a:spcPct val="90000"/>
              </a:lnSpc>
              <a:spcBef>
                <a:spcPct val="0"/>
              </a:spcBef>
              <a:spcAft>
                <a:spcPct val="0"/>
              </a:spcAft>
            </a:pPr>
            <a:endParaRPr kumimoji="0"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06" bIns="91406"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4" y="3877275"/>
            <a:ext cx="9860674" cy="1793881"/>
          </a:xfrm>
          <a:noFill/>
        </p:spPr>
        <p:txBody>
          <a:bodyPr lIns="182812" tIns="146249" rIns="182812" bIns="146249">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295702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06" bIns="91406" anchor="t" anchorCtr="0"/>
          <a:lstStyle>
            <a:lvl1pPr>
              <a:defRPr sz="7058" spc="-98" baseline="0">
                <a:gradFill>
                  <a:gsLst>
                    <a:gs pos="5833">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4" y="3877275"/>
            <a:ext cx="9860674" cy="1793881"/>
          </a:xfrm>
          <a:noFill/>
        </p:spPr>
        <p:txBody>
          <a:bodyPr lIns="182812" tIns="146249" rIns="182812" bIns="146249">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007747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8" tIns="143374" rIns="179218" bIns="143374" numCol="1" spcCol="0" rtlCol="0" fromWordArt="0" anchor="t" anchorCtr="0" forceAA="0" compatLnSpc="1">
            <a:prstTxWarp prst="textNoShape">
              <a:avLst/>
            </a:prstTxWarp>
            <a:noAutofit/>
          </a:bodyPr>
          <a:lstStyle/>
          <a:p>
            <a:pPr algn="ctr" defTabSz="913758" fontAlgn="base">
              <a:lnSpc>
                <a:spcPct val="90000"/>
              </a:lnSpc>
              <a:spcBef>
                <a:spcPct val="0"/>
              </a:spcBef>
              <a:spcAft>
                <a:spcPct val="0"/>
              </a:spcAft>
            </a:pPr>
            <a:endParaRPr kumimoji="0"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2" y="1187644"/>
            <a:ext cx="9859116" cy="2697988"/>
          </a:xfrm>
          <a:noFill/>
        </p:spPr>
        <p:txBody>
          <a:bodyPr tIns="91406" bIns="91406"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626615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06" bIns="91406" anchor="t" anchorCtr="0"/>
          <a:lstStyle>
            <a:lvl1pPr>
              <a:defRPr sz="7058" spc="-98" baseline="0">
                <a:gradFill>
                  <a:gsLst>
                    <a:gs pos="5833">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98941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084176"/>
            <a:ext cx="11653523" cy="1796217"/>
          </a:xfrm>
          <a:noFill/>
        </p:spPr>
        <p:txBody>
          <a:bodyPr tIns="91406" bIns="91406"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8809696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084176"/>
            <a:ext cx="11653523" cy="1796217"/>
          </a:xfrm>
          <a:noFill/>
        </p:spPr>
        <p:txBody>
          <a:bodyPr tIns="91406" bIns="91406"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5388185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3" y="2084176"/>
            <a:ext cx="11653523" cy="1796217"/>
          </a:xfrm>
          <a:noFill/>
        </p:spPr>
        <p:txBody>
          <a:bodyPr tIns="91406" bIns="91406"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1708420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39065006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3"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13" indent="0">
              <a:buNone/>
              <a:defRPr sz="1961"/>
            </a:lvl3pPr>
            <a:lvl4pPr marL="448025" indent="0">
              <a:buNone/>
              <a:defRPr sz="1765"/>
            </a:lvl4pPr>
            <a:lvl5pPr marL="672038"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11548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43" y="1190738"/>
            <a:ext cx="11653523" cy="22108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68692327"/>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5" y="1189180"/>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23" indent="0">
              <a:buNone/>
              <a:tabLst/>
              <a:defRPr sz="1961"/>
            </a:lvl3pPr>
            <a:lvl4pPr marL="451135" indent="0">
              <a:buNone/>
              <a:defRPr sz="1765"/>
            </a:lvl4pPr>
            <a:lvl5pPr marL="672038"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23" indent="0">
              <a:buNone/>
              <a:tabLst/>
              <a:defRPr sz="1961"/>
            </a:lvl3pPr>
            <a:lvl4pPr marL="451135" indent="0">
              <a:buNone/>
              <a:defRPr sz="1765"/>
            </a:lvl4pPr>
            <a:lvl5pPr marL="672038"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696939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5" y="1189180"/>
            <a:ext cx="5378548" cy="2486578"/>
          </a:xfrm>
        </p:spPr>
        <p:txBody>
          <a:bodyPr wrap="square">
            <a:spAutoFit/>
          </a:bodyPr>
          <a:lstStyle>
            <a:lvl1pPr marL="281573" indent="-281573">
              <a:spcBef>
                <a:spcPts val="1200"/>
              </a:spcBef>
              <a:buClr>
                <a:schemeClr val="tx1"/>
              </a:buClr>
              <a:buFont typeface="Arial" pitchFamily="34" charset="0"/>
              <a:buChar char="•"/>
              <a:defRPr sz="3529"/>
            </a:lvl1pPr>
            <a:lvl2pPr marL="520506" indent="-228515">
              <a:defRPr sz="1961"/>
            </a:lvl2pPr>
            <a:lvl3pPr marL="685544" indent="-165038">
              <a:tabLst/>
              <a:defRPr sz="1961"/>
            </a:lvl3pPr>
            <a:lvl4pPr marL="863278" indent="-177734">
              <a:defRPr sz="1765"/>
            </a:lvl4pPr>
            <a:lvl5pPr marL="1028316" indent="-165038">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80"/>
            <a:ext cx="5378548" cy="2486578"/>
          </a:xfrm>
        </p:spPr>
        <p:txBody>
          <a:bodyPr wrap="square">
            <a:spAutoFit/>
          </a:bodyPr>
          <a:lstStyle>
            <a:lvl1pPr marL="281573" indent="-281573">
              <a:spcBef>
                <a:spcPts val="1200"/>
              </a:spcBef>
              <a:buClr>
                <a:schemeClr val="tx1"/>
              </a:buClr>
              <a:buFont typeface="Arial" pitchFamily="34" charset="0"/>
              <a:buChar char="•"/>
              <a:defRPr sz="3529"/>
            </a:lvl1pPr>
            <a:lvl2pPr marL="520506" indent="-228515">
              <a:defRPr sz="1961"/>
            </a:lvl2pPr>
            <a:lvl3pPr marL="685544" indent="-165038">
              <a:tabLst/>
              <a:defRPr sz="1961"/>
            </a:lvl3pPr>
            <a:lvl4pPr marL="863278" indent="-177734">
              <a:defRPr sz="1765"/>
            </a:lvl4pPr>
            <a:lvl5pPr marL="1028316" indent="-165038">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396041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5" y="1189176"/>
            <a:ext cx="5378548" cy="2619356"/>
          </a:xfrm>
        </p:spPr>
        <p:txBody>
          <a:bodyPr wrap="square">
            <a:spAutoFit/>
          </a:bodyPr>
          <a:lstStyle>
            <a:lvl1pPr marL="281573" indent="-281573">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06" indent="-228515">
              <a:defRPr sz="2353"/>
            </a:lvl2pPr>
            <a:lvl3pPr marL="685544" indent="-165038">
              <a:tabLst/>
              <a:defRPr sz="2353"/>
            </a:lvl3pPr>
            <a:lvl4pPr marL="863278" indent="-177734">
              <a:defRPr/>
            </a:lvl4pPr>
            <a:lvl5pPr marL="1028316"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619356"/>
          </a:xfrm>
        </p:spPr>
        <p:txBody>
          <a:bodyPr wrap="square">
            <a:spAutoFit/>
          </a:bodyPr>
          <a:lstStyle>
            <a:lvl1pPr marL="281573" indent="-281573">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06" indent="-228515">
              <a:defRPr sz="2353"/>
            </a:lvl2pPr>
            <a:lvl3pPr marL="685544" indent="-165038">
              <a:tabLst/>
              <a:defRPr sz="2353"/>
            </a:lvl3pPr>
            <a:lvl4pPr marL="863278" indent="-177734">
              <a:defRPr/>
            </a:lvl4pPr>
            <a:lvl5pPr marL="1028316" indent="-165038">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4385705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276471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171930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752212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9970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74341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16929936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4" tIns="45704" rIns="45704" bIns="45704" numCol="1" spcCol="0" rtlCol="0" fromWordArt="0" anchor="ctr" anchorCtr="0" forceAA="0" compatLnSpc="1">
            <a:prstTxWarp prst="textNoShape">
              <a:avLst/>
            </a:prstTxWarp>
            <a:noAutofit/>
          </a:bodyPr>
          <a:lstStyle/>
          <a:p>
            <a:pPr algn="ctr" defTabSz="913758" fontAlgn="base">
              <a:spcBef>
                <a:spcPct val="0"/>
              </a:spcBef>
              <a:spcAft>
                <a:spcPct val="0"/>
              </a:spcAft>
            </a:pPr>
            <a:endParaRPr kumimoji="0"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113866"/>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59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87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2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2990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019153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3" y="1189178"/>
            <a:ext cx="11653523" cy="2396047"/>
          </a:xfrm>
          <a:prstGeom prst="rect">
            <a:avLst/>
          </a:prstGeom>
        </p:spPr>
        <p:txBody>
          <a:bodyPr/>
          <a:lstStyle>
            <a:lvl1pPr marL="284683" indent="-284683">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33" indent="-2753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14" indent="-284683">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728" indent="-224013">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739" indent="-224013">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5" y="6238876"/>
            <a:ext cx="12192001" cy="619125"/>
          </a:xfrm>
          <a:prstGeom prst="rect">
            <a:avLst/>
          </a:prstGeom>
          <a:solidFill>
            <a:srgbClr val="FFFF99"/>
          </a:solidFill>
        </p:spPr>
        <p:txBody>
          <a:bodyPr wrap="square" lIns="155398" tIns="77701" rIns="155398" bIns="77701"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753350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129916" y="473146"/>
            <a:ext cx="1613875" cy="345036"/>
          </a:xfrm>
          <a:prstGeom prst="rect">
            <a:avLst/>
          </a:prstGeom>
        </p:spPr>
      </p:pic>
    </p:spTree>
    <p:extLst>
      <p:ext uri="{BB962C8B-B14F-4D97-AF65-F5344CB8AC3E}">
        <p14:creationId xmlns:p14="http://schemas.microsoft.com/office/powerpoint/2010/main" val="2025418768"/>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0"/>
            <a:ext cx="11151917" cy="609398"/>
          </a:xfrm>
        </p:spPr>
        <p:txBody>
          <a:bodyPr/>
          <a:lstStyle>
            <a:lvl1pPr>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2" y="1447804"/>
            <a:ext cx="11151917" cy="22108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0855053"/>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81003" y="280417"/>
            <a:ext cx="11151918" cy="771150"/>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377956" y="1402084"/>
            <a:ext cx="11151918" cy="221081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3484923"/>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Title and Blank">
    <p:spTree>
      <p:nvGrpSpPr>
        <p:cNvPr id="1" name=""/>
        <p:cNvGrpSpPr/>
        <p:nvPr/>
      </p:nvGrpSpPr>
      <p:grpSpPr>
        <a:xfrm>
          <a:off x="0" y="0"/>
          <a:ext cx="0" cy="0"/>
          <a:chOff x="0" y="0"/>
          <a:chExt cx="0" cy="0"/>
        </a:xfrm>
      </p:grpSpPr>
      <p:sp>
        <p:nvSpPr>
          <p:cNvPr id="2" name="Title 1"/>
          <p:cNvSpPr>
            <a:spLocks noGrp="1"/>
          </p:cNvSpPr>
          <p:nvPr>
            <p:ph type="title"/>
          </p:nvPr>
        </p:nvSpPr>
        <p:spPr>
          <a:xfrm>
            <a:off x="254010" y="228619"/>
            <a:ext cx="11681883" cy="664797"/>
          </a:xfrm>
        </p:spPr>
        <p:txBody>
          <a:bodyPr/>
          <a:lstStyle>
            <a:lvl1pPr>
              <a:defRPr sz="4803"/>
            </a:lvl1pPr>
          </a:lstStyle>
          <a:p>
            <a:r>
              <a:rPr lang="en-US" dirty="0"/>
              <a:t>Click to edit Master title style</a:t>
            </a:r>
          </a:p>
        </p:txBody>
      </p:sp>
      <p:sp>
        <p:nvSpPr>
          <p:cNvPr id="4" name="Footer Placeholder 3"/>
          <p:cNvSpPr>
            <a:spLocks noGrp="1"/>
          </p:cNvSpPr>
          <p:nvPr>
            <p:ph type="ftr" sz="quarter" idx="10"/>
          </p:nvPr>
        </p:nvSpPr>
        <p:spPr>
          <a:xfrm>
            <a:off x="703943" y="6501574"/>
            <a:ext cx="8902096" cy="230832"/>
          </a:xfrm>
          <a:prstGeom prst="rect">
            <a:avLst/>
          </a:prstGeom>
        </p:spPr>
        <p:txBody>
          <a:bodyPr lIns="121854" tIns="60927" rIns="121854" bIns="60927"/>
          <a:lstStyle/>
          <a:p>
            <a:pPr defTabSz="914023"/>
            <a:r>
              <a:rPr kumimoji="0" lang="en-US">
                <a:solidFill>
                  <a:srgbClr val="000000"/>
                </a:solidFill>
              </a:rPr>
              <a:t>Project Copper  |  28 September 2011</a:t>
            </a:r>
            <a:endParaRPr kumimoji="0" lang="en-US" dirty="0">
              <a:solidFill>
                <a:srgbClr val="000000"/>
              </a:solidFill>
            </a:endParaRPr>
          </a:p>
        </p:txBody>
      </p:sp>
      <p:sp>
        <p:nvSpPr>
          <p:cNvPr id="5" name="Slide Number Placeholder 4"/>
          <p:cNvSpPr>
            <a:spLocks noGrp="1"/>
          </p:cNvSpPr>
          <p:nvPr>
            <p:ph type="sldNum" sz="quarter" idx="11"/>
          </p:nvPr>
        </p:nvSpPr>
        <p:spPr>
          <a:xfrm>
            <a:off x="254005" y="6463102"/>
            <a:ext cx="372533" cy="307776"/>
          </a:xfrm>
          <a:prstGeom prst="rect">
            <a:avLst/>
          </a:prstGeom>
        </p:spPr>
        <p:txBody>
          <a:bodyPr lIns="121854" tIns="60927" rIns="121854" bIns="60927"/>
          <a:lstStyle/>
          <a:p>
            <a:pPr defTabSz="914023"/>
            <a:fld id="{40E66EAE-ED76-480A-B12B-B80DD0270597}" type="slidenum">
              <a:rPr kumimoji="0" lang="en-US" smtClean="0">
                <a:solidFill>
                  <a:srgbClr val="000000"/>
                </a:solidFill>
              </a:rPr>
              <a:pPr defTabSz="914023"/>
              <a:t>‹#›</a:t>
            </a:fld>
            <a:endParaRPr kumimoji="0" lang="en-US">
              <a:solidFill>
                <a:srgbClr val="000000"/>
              </a:solidFill>
            </a:endParaRPr>
          </a:p>
        </p:txBody>
      </p:sp>
    </p:spTree>
    <p:extLst>
      <p:ext uri="{BB962C8B-B14F-4D97-AF65-F5344CB8AC3E}">
        <p14:creationId xmlns:p14="http://schemas.microsoft.com/office/powerpoint/2010/main" val="69246964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52" y="228605"/>
            <a:ext cx="11151917" cy="66638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2" y="1447803"/>
            <a:ext cx="11151917" cy="1125285"/>
          </a:xfrm>
        </p:spPr>
        <p:txBody>
          <a:bodyPr/>
          <a:lstStyle>
            <a:lvl1pPr marL="0" indent="0">
              <a:spcBef>
                <a:spcPts val="0"/>
              </a:spcBef>
              <a:spcAft>
                <a:spcPts val="900"/>
              </a:spcAft>
              <a:buNone/>
              <a:defRPr sz="4019" spc="-100" baseline="0">
                <a:latin typeface="Segoe UI Light" pitchFamily="34" charset="0"/>
              </a:defRPr>
            </a:lvl1pPr>
            <a:lvl2pPr marL="0" indent="0">
              <a:spcBef>
                <a:spcPts val="0"/>
              </a:spcBef>
              <a:spcAft>
                <a:spcPts val="400"/>
              </a:spcAft>
              <a:buNone/>
              <a:defRPr sz="1961" spc="-50"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1961"/>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20251758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Text, Indents &amp; Bulleted">
    <p:spTree>
      <p:nvGrpSpPr>
        <p:cNvPr id="1" name=""/>
        <p:cNvGrpSpPr/>
        <p:nvPr/>
      </p:nvGrpSpPr>
      <p:grpSpPr>
        <a:xfrm>
          <a:off x="0" y="0"/>
          <a:ext cx="0" cy="0"/>
          <a:chOff x="0" y="0"/>
          <a:chExt cx="0" cy="0"/>
        </a:xfrm>
      </p:grpSpPr>
      <p:sp>
        <p:nvSpPr>
          <p:cNvPr id="2" name="Title 1"/>
          <p:cNvSpPr>
            <a:spLocks noGrp="1"/>
          </p:cNvSpPr>
          <p:nvPr>
            <p:ph type="title"/>
          </p:nvPr>
        </p:nvSpPr>
        <p:spPr>
          <a:xfrm>
            <a:off x="219460" y="228602"/>
            <a:ext cx="11151918" cy="757130"/>
          </a:xfrm>
        </p:spPr>
        <p:txBody>
          <a:bodyPr/>
          <a:lstStyle>
            <a:lvl1pPr>
              <a:defRPr spc="-107" baseline="0"/>
            </a:lvl1pPr>
          </a:lstStyle>
          <a:p>
            <a:r>
              <a:rPr lang="en-US"/>
              <a:t>Click to edit Master title style</a:t>
            </a:r>
            <a:endParaRPr lang="en-US" dirty="0"/>
          </a:p>
        </p:txBody>
      </p:sp>
      <p:sp>
        <p:nvSpPr>
          <p:cNvPr id="4" name="Text Placeholder 2"/>
          <p:cNvSpPr>
            <a:spLocks noGrp="1"/>
          </p:cNvSpPr>
          <p:nvPr>
            <p:ph idx="1"/>
          </p:nvPr>
        </p:nvSpPr>
        <p:spPr>
          <a:xfrm>
            <a:off x="219456" y="1447802"/>
            <a:ext cx="7375072" cy="2029786"/>
          </a:xfrm>
          <a:prstGeom prst="rect">
            <a:avLst/>
          </a:prstGeom>
        </p:spPr>
        <p:txBody>
          <a:bodyPr vert="horz" wrap="square" lIns="0" tIns="0" rIns="0" bIns="0" rtlCol="0">
            <a:spAutoFit/>
          </a:bodyPr>
          <a:lstStyle>
            <a:lvl1pPr marL="0" indent="0">
              <a:buNone/>
              <a:defRPr baseline="0">
                <a:solidFill>
                  <a:srgbClr val="FF8C00"/>
                </a:solidFill>
              </a:defRPr>
            </a:lvl1pPr>
            <a:lvl2pPr marL="385024" indent="-152318">
              <a:tabLst>
                <a:tab pos="385024" algn="l"/>
              </a:tabLst>
              <a:defRPr>
                <a:solidFill>
                  <a:srgbClr val="004185"/>
                </a:solidFill>
              </a:defRPr>
            </a:lvl2pPr>
            <a:lvl3pPr marL="689657" indent="-152318">
              <a:defRPr>
                <a:solidFill>
                  <a:schemeClr val="bg2">
                    <a:lumMod val="75000"/>
                  </a:schemeClr>
                </a:solidFill>
              </a:defRPr>
            </a:lvl3pPr>
            <a:lvl4pPr marL="841976" indent="-152318">
              <a:defRPr>
                <a:solidFill>
                  <a:schemeClr val="bg2">
                    <a:lumMod val="75000"/>
                  </a:schemeClr>
                </a:solidFill>
              </a:defRPr>
            </a:lvl4pPr>
            <a:lvl5pPr marL="994292" indent="-80389">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9924734" y="6429556"/>
            <a:ext cx="2183852" cy="365926"/>
          </a:xfrm>
          <a:prstGeom prst="rect">
            <a:avLst/>
          </a:prstGeom>
        </p:spPr>
      </p:pic>
    </p:spTree>
    <p:extLst>
      <p:ext uri="{BB962C8B-B14F-4D97-AF65-F5344CB8AC3E}">
        <p14:creationId xmlns:p14="http://schemas.microsoft.com/office/powerpoint/2010/main" val="2245693399"/>
      </p:ext>
    </p:extLst>
  </p:cSld>
  <p:clrMapOvr>
    <a:masterClrMapping/>
  </p:clrMapOvr>
  <p:transition spd="slow">
    <p:push/>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5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7" y="1558"/>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pic>
        <p:nvPicPr>
          <p:cNvPr id="3" name="Picture 2" descr="WinAzure_rgb_Wht_S.png"/>
          <p:cNvPicPr>
            <a:picLocks noChangeAspect="1"/>
          </p:cNvPicPr>
          <p:nvPr userDrawn="1"/>
        </p:nvPicPr>
        <p:blipFill>
          <a:blip r:embed="rId6" cstate="print">
            <a:duotone>
              <a:prstClr val="black"/>
              <a:schemeClr val="accent6">
                <a:tint val="45000"/>
                <a:satMod val="400000"/>
              </a:schemeClr>
            </a:duotone>
            <a:extLst>
              <a:ext uri="{28A0092B-C50C-407E-A947-70E740481C1C}">
                <a14:useLocalDpi xmlns:a14="http://schemas.microsoft.com/office/drawing/2010/main" val="0"/>
              </a:ext>
            </a:extLst>
          </a:blip>
          <a:stretch>
            <a:fillRect/>
          </a:stretch>
        </p:blipFill>
        <p:spPr>
          <a:xfrm>
            <a:off x="358907" y="6297934"/>
            <a:ext cx="1703189" cy="408657"/>
          </a:xfrm>
          <a:prstGeom prst="rect">
            <a:avLst/>
          </a:prstGeom>
        </p:spPr>
      </p:pic>
      <p:sp>
        <p:nvSpPr>
          <p:cNvPr id="7" name="Slide Number Placeholder 6"/>
          <p:cNvSpPr>
            <a:spLocks noGrp="1"/>
          </p:cNvSpPr>
          <p:nvPr>
            <p:ph type="sldNum" sz="quarter" idx="4"/>
          </p:nvPr>
        </p:nvSpPr>
        <p:spPr>
          <a:xfrm>
            <a:off x="8737029" y="6356803"/>
            <a:ext cx="2844904" cy="364224"/>
          </a:xfrm>
          <a:prstGeom prst="rect">
            <a:avLst/>
          </a:prstGeom>
        </p:spPr>
        <p:txBody>
          <a:bodyPr vert="horz" lIns="91397" tIns="45698" rIns="91397" bIns="45698" rtlCol="0" anchor="ctr"/>
          <a:lstStyle>
            <a:lvl1pPr algn="r">
              <a:defRPr sz="980">
                <a:solidFill>
                  <a:schemeClr val="tx1">
                    <a:tint val="75000"/>
                  </a:schemeClr>
                </a:solidFill>
              </a:defRPr>
            </a:lvl1pPr>
          </a:lstStyle>
          <a:p>
            <a:pPr defTabSz="914023"/>
            <a:fld id="{FFB82908-4842-4340-9D73-01C813DDC308}" type="slidenum">
              <a:rPr kumimoji="0" lang="en-US" smtClean="0">
                <a:solidFill>
                  <a:srgbClr val="505050">
                    <a:tint val="75000"/>
                  </a:srgbClr>
                </a:solidFill>
              </a:rPr>
              <a:pPr defTabSz="914023"/>
              <a:t>‹#›</a:t>
            </a:fld>
            <a:endParaRPr kumimoji="0" lang="en-US" dirty="0">
              <a:solidFill>
                <a:srgbClr val="505050">
                  <a:tint val="75000"/>
                </a:srgbClr>
              </a:solidFill>
            </a:endParaRPr>
          </a:p>
        </p:txBody>
      </p:sp>
    </p:spTree>
    <p:extLst>
      <p:ext uri="{BB962C8B-B14F-4D97-AF65-F5344CB8AC3E}">
        <p14:creationId xmlns:p14="http://schemas.microsoft.com/office/powerpoint/2010/main" val="327632906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805"/>
            <a:ext cx="11151918" cy="1612390"/>
          </a:xfrm>
          <a:prstGeom prst="rect">
            <a:avLst/>
          </a:prstGeom>
        </p:spPr>
        <p:txBody>
          <a:bodyPr/>
          <a:lstStyle>
            <a:lvl1pPr marL="0" indent="0">
              <a:spcBef>
                <a:spcPts val="1800"/>
              </a:spcBef>
              <a:buNone/>
              <a:defRPr sz="3039">
                <a:gradFill>
                  <a:gsLst>
                    <a:gs pos="100000">
                      <a:schemeClr val="tx2"/>
                    </a:gs>
                    <a:gs pos="0">
                      <a:schemeClr val="tx2"/>
                    </a:gs>
                  </a:gsLst>
                  <a:lin ang="5400000" scaled="0"/>
                </a:gradFill>
                <a:latin typeface="+mj-lt"/>
              </a:defRPr>
            </a:lvl1pPr>
            <a:lvl2pPr marL="0" indent="0">
              <a:buNone/>
              <a:defRPr sz="1470">
                <a:gradFill>
                  <a:gsLst>
                    <a:gs pos="100000">
                      <a:schemeClr val="tx1"/>
                    </a:gs>
                    <a:gs pos="6000">
                      <a:schemeClr val="tx1"/>
                    </a:gs>
                  </a:gsLst>
                  <a:lin ang="5400000" scaled="0"/>
                </a:gradFill>
              </a:defRPr>
            </a:lvl2pPr>
            <a:lvl3pPr marL="173779" indent="0">
              <a:buNone/>
              <a:defRPr sz="1470">
                <a:gradFill>
                  <a:gsLst>
                    <a:gs pos="100000">
                      <a:schemeClr val="tx1"/>
                    </a:gs>
                    <a:gs pos="6000">
                      <a:schemeClr val="tx1"/>
                    </a:gs>
                  </a:gsLst>
                  <a:lin ang="5400000" scaled="0"/>
                </a:gradFill>
              </a:defRPr>
            </a:lvl3pPr>
            <a:lvl4pPr marL="342798" indent="0">
              <a:buNone/>
              <a:defRPr sz="1470">
                <a:gradFill>
                  <a:gsLst>
                    <a:gs pos="100000">
                      <a:schemeClr val="tx1"/>
                    </a:gs>
                    <a:gs pos="6000">
                      <a:schemeClr val="tx1"/>
                    </a:gs>
                  </a:gsLst>
                  <a:lin ang="5400000" scaled="0"/>
                </a:gradFill>
              </a:defRPr>
            </a:lvl4pPr>
            <a:lvl5pPr marL="520146" indent="0">
              <a:buNone/>
              <a:defRPr sz="1470">
                <a:gradFill>
                  <a:gsLst>
                    <a:gs pos="100000">
                      <a:schemeClr val="tx1"/>
                    </a:gs>
                    <a:gs pos="6000">
                      <a:schemeClr val="tx1"/>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p>
            <a:r>
              <a:rPr lang="en-US"/>
              <a:t>Click to edit Master title style</a:t>
            </a:r>
          </a:p>
        </p:txBody>
      </p:sp>
      <p:sp>
        <p:nvSpPr>
          <p:cNvPr id="6" name="TextBox 7"/>
          <p:cNvSpPr txBox="1"/>
          <p:nvPr userDrawn="1"/>
        </p:nvSpPr>
        <p:spPr>
          <a:xfrm>
            <a:off x="4685742" y="6616134"/>
            <a:ext cx="2820517" cy="120674"/>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kumimoji="0" lang="en-US" sz="784" spc="113"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pic>
        <p:nvPicPr>
          <p:cNvPr id="7" name="Picture 6"/>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53522" y="6015456"/>
            <a:ext cx="2338479" cy="842544"/>
          </a:xfrm>
          <a:prstGeom prst="rect">
            <a:avLst/>
          </a:prstGeom>
          <a:noFill/>
          <a:ln>
            <a:noFill/>
          </a:ln>
        </p:spPr>
      </p:pic>
    </p:spTree>
    <p:extLst>
      <p:ext uri="{BB962C8B-B14F-4D97-AF65-F5344CB8AC3E}">
        <p14:creationId xmlns:p14="http://schemas.microsoft.com/office/powerpoint/2010/main" val="9445948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35382290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69244" y="5670380"/>
            <a:ext cx="11653523" cy="896552"/>
          </a:xfrm>
        </p:spPr>
        <p:txBody>
          <a:bodyPr lIns="186468" tIns="149174" rIns="186468" bIns="149174" anchor="b">
            <a:noAutofit/>
          </a:bodyPr>
          <a:lstStyle>
            <a:lvl1pPr>
              <a:defRPr sz="1961" baseline="0">
                <a:latin typeface="+mn-lt"/>
              </a:defRPr>
            </a:lvl1pPr>
          </a:lstStyle>
          <a:p>
            <a:pPr lvl="0"/>
            <a:r>
              <a:rPr lang="en-US" dirty="0"/>
              <a:t>Click to edit Master text styles</a:t>
            </a:r>
          </a:p>
        </p:txBody>
      </p:sp>
      <p:sp>
        <p:nvSpPr>
          <p:cNvPr id="2" name="Title 1"/>
          <p:cNvSpPr>
            <a:spLocks noGrp="1"/>
          </p:cNvSpPr>
          <p:nvPr>
            <p:ph type="title"/>
          </p:nvPr>
        </p:nvSpPr>
        <p:spPr>
          <a:xfrm>
            <a:off x="269239" y="2084178"/>
            <a:ext cx="11653522" cy="894996"/>
          </a:xfrm>
        </p:spPr>
        <p:txBody>
          <a:bodyPr/>
          <a:lstStyle>
            <a:lvl1pPr>
              <a:defRPr sz="5294"/>
            </a:lvl1pPr>
          </a:lstStyle>
          <a:p>
            <a:r>
              <a:rPr lang="en-US" dirty="0"/>
              <a:t>Click to edit Master title style</a:t>
            </a:r>
          </a:p>
        </p:txBody>
      </p:sp>
    </p:spTree>
    <p:extLst>
      <p:ext uri="{BB962C8B-B14F-4D97-AF65-F5344CB8AC3E}">
        <p14:creationId xmlns:p14="http://schemas.microsoft.com/office/powerpoint/2010/main" val="127333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lor Shape &amp; Picture Backgroun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1" y="4"/>
            <a:ext cx="12192000" cy="751185"/>
          </a:xfrm>
          <a:prstGeom prst="rect">
            <a:avLst/>
          </a:prstGeom>
          <a:solidFill>
            <a:schemeClr val="bg2">
              <a:lumMod val="85000"/>
            </a:schemeClr>
          </a:solidFill>
        </p:spPr>
        <p:txBody>
          <a:bodyPr/>
          <a:lstStyle>
            <a:lvl1pPr marL="0" marR="0" indent="0" algn="l" defTabSz="1218199" rtl="0" eaLnBrk="1" fontAlgn="base" latinLnBrk="0" hangingPunct="1">
              <a:lnSpc>
                <a:spcPct val="95000"/>
              </a:lnSpc>
              <a:spcBef>
                <a:spcPts val="0"/>
              </a:spcBef>
              <a:spcAft>
                <a:spcPts val="0"/>
              </a:spcAft>
              <a:buClr>
                <a:schemeClr val="accent1"/>
              </a:buClr>
              <a:buSzPct val="110000"/>
              <a:buFont typeface="Avenir LT Pro 45 Book" charset="0"/>
              <a:buNone/>
              <a:tabLst/>
              <a:defRPr/>
            </a:lvl1pPr>
          </a:lstStyle>
          <a:p>
            <a:r>
              <a:rPr lang="en-US" dirty="0"/>
              <a:t>Drag picture to placeholder or click icon to add</a:t>
            </a:r>
          </a:p>
        </p:txBody>
      </p:sp>
      <p:sp>
        <p:nvSpPr>
          <p:cNvPr id="7" name="Title 1"/>
          <p:cNvSpPr>
            <a:spLocks noGrp="1"/>
          </p:cNvSpPr>
          <p:nvPr>
            <p:ph type="ctrTitle"/>
          </p:nvPr>
        </p:nvSpPr>
        <p:spPr>
          <a:xfrm>
            <a:off x="484722" y="1435608"/>
            <a:ext cx="3998976"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p:spPr>
        <p:txBody>
          <a:bodyPr vert="horz" wrap="square" lIns="248536" tIns="0" rIns="248536" bIns="0" numCol="1" anchor="ctr" anchorCtr="0" compatLnSpc="1">
            <a:prstTxWarp prst="textNoShape">
              <a:avLst/>
            </a:prstTxWarp>
          </a:bodyPr>
          <a:lstStyle>
            <a:lvl1pPr>
              <a:lnSpc>
                <a:spcPct val="95000"/>
              </a:lnSpc>
              <a:defRPr lang="en-US" sz="3235" kern="1200" dirty="0" smtClean="0">
                <a:solidFill>
                  <a:schemeClr val="bg1"/>
                </a:solidFill>
                <a:latin typeface="Segoe UI Light"/>
                <a:ea typeface="ＭＳ Ｐゴシック" charset="0"/>
                <a:cs typeface="Segoe UI Light"/>
              </a:defRPr>
            </a:lvl1pPr>
          </a:lstStyle>
          <a:p>
            <a:pPr marL="0" lvl="0" indent="0" algn="l" defTabSz="1218199" rtl="0" eaLnBrk="1" fontAlgn="base" latinLnBrk="0" hangingPunct="1">
              <a:lnSpc>
                <a:spcPct val="100000"/>
              </a:lnSpc>
              <a:spcBef>
                <a:spcPct val="0"/>
              </a:spcBef>
              <a:spcAft>
                <a:spcPct val="0"/>
              </a:spcAft>
              <a:buFontTx/>
              <a:buNone/>
            </a:pPr>
            <a:r>
              <a:rPr lang="en-US" dirty="0"/>
              <a:t>Click to edit Master title style</a:t>
            </a:r>
          </a:p>
        </p:txBody>
      </p:sp>
      <p:pic>
        <p:nvPicPr>
          <p:cNvPr id="6" name="Picture 5"/>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10"/>
            <a:ext cx="1341118" cy="45347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3"/>
          <p:cNvSpPr>
            <a:spLocks noGrp="1"/>
          </p:cNvSpPr>
          <p:nvPr>
            <p:ph type="body" sz="quarter" idx="15"/>
          </p:nvPr>
        </p:nvSpPr>
        <p:spPr>
          <a:xfrm>
            <a:off x="4972058" y="3158933"/>
            <a:ext cx="6731000" cy="540148"/>
          </a:xfrm>
        </p:spPr>
        <p:txBody>
          <a:bodyPr vert="horz" lIns="0" tIns="0" rIns="0" bIns="0" rtlCol="0" anchor="ctr">
            <a:spAutoFit/>
          </a:bodyPr>
          <a:lstStyle>
            <a:lvl1pPr>
              <a:defRPr lang="en-US" dirty="0" smtClean="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56031987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7"/>
            <a:ext cx="5378549" cy="2547831"/>
          </a:xfrm>
        </p:spPr>
        <p:txBody>
          <a:bodyPr>
            <a:spAutoFit/>
          </a:bodyPr>
          <a:lstStyle>
            <a:lvl1pPr marL="0" indent="0">
              <a:spcBef>
                <a:spcPts val="1200"/>
              </a:spcBef>
              <a:buNone/>
              <a:defRPr sz="3921">
                <a:gradFill>
                  <a:gsLst>
                    <a:gs pos="100000">
                      <a:schemeClr val="tx2"/>
                    </a:gs>
                    <a:gs pos="0">
                      <a:schemeClr val="tx2"/>
                    </a:gs>
                  </a:gsLst>
                  <a:lin ang="5400000" scaled="0"/>
                </a:gradFill>
                <a:latin typeface="+mj-lt"/>
              </a:defRPr>
            </a:lvl1pPr>
            <a:lvl2pPr marL="0" indent="0">
              <a:buNone/>
              <a:defRPr sz="1961" spc="-50" baseline="0"/>
            </a:lvl2pPr>
            <a:lvl3pPr marL="233232" indent="0">
              <a:buNone/>
              <a:defRPr sz="1961" spc="-50" baseline="0"/>
            </a:lvl3pPr>
            <a:lvl4pPr marL="456941" indent="0">
              <a:buNone/>
              <a:defRPr sz="1765" spc="-50" baseline="0"/>
            </a:lvl4pPr>
            <a:lvl5pPr marL="693343" indent="0">
              <a:buNone/>
              <a:defRPr sz="1765"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7"/>
            <a:ext cx="5396366" cy="2547831"/>
          </a:xfrm>
        </p:spPr>
        <p:txBody>
          <a:bodyPr>
            <a:spAutoFit/>
          </a:bodyPr>
          <a:lstStyle>
            <a:lvl1pPr marL="0" indent="0">
              <a:spcBef>
                <a:spcPts val="1200"/>
              </a:spcBef>
              <a:buNone/>
              <a:defRPr lang="en-US" sz="3921"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3845"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2pPr>
            <a:lvl3pPr marL="233232" marR="0" indent="0" algn="l" defTabSz="913845" rtl="0" eaLnBrk="1" fontAlgn="auto" latinLnBrk="0" hangingPunct="1">
              <a:lnSpc>
                <a:spcPct val="90000"/>
              </a:lnSpc>
              <a:spcBef>
                <a:spcPct val="20000"/>
              </a:spcBef>
              <a:spcAft>
                <a:spcPts val="0"/>
              </a:spcAft>
              <a:buClrTx/>
              <a:buSzPct val="90000"/>
              <a:buFont typeface="Arial" pitchFamily="34" charset="0"/>
              <a:buNone/>
              <a:tabLst/>
              <a:defRPr lang="en-US" sz="1961" kern="1200" spc="-50" baseline="0" dirty="0" smtClean="0">
                <a:gradFill>
                  <a:gsLst>
                    <a:gs pos="1250">
                      <a:schemeClr val="tx1"/>
                    </a:gs>
                    <a:gs pos="100000">
                      <a:schemeClr val="tx1"/>
                    </a:gs>
                  </a:gsLst>
                  <a:lin ang="5400000" scaled="0"/>
                </a:gradFill>
                <a:latin typeface="+mn-lt"/>
                <a:ea typeface="+mn-ea"/>
                <a:cs typeface="+mn-cs"/>
              </a:defRPr>
            </a:lvl3pPr>
            <a:lvl4pPr marL="460115" marR="0" indent="0" algn="l" defTabSz="913845"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smtClean="0">
                <a:gradFill>
                  <a:gsLst>
                    <a:gs pos="1250">
                      <a:schemeClr val="tx1"/>
                    </a:gs>
                    <a:gs pos="100000">
                      <a:schemeClr val="tx1"/>
                    </a:gs>
                  </a:gsLst>
                  <a:lin ang="5400000" scaled="0"/>
                </a:gradFill>
                <a:latin typeface="+mn-lt"/>
                <a:ea typeface="+mn-ea"/>
                <a:cs typeface="+mn-cs"/>
              </a:defRPr>
            </a:lvl4pPr>
            <a:lvl5pPr marL="686998" marR="0" indent="0" algn="l" defTabSz="913845" rtl="0" eaLnBrk="1" fontAlgn="auto" latinLnBrk="0" hangingPunct="1">
              <a:lnSpc>
                <a:spcPct val="90000"/>
              </a:lnSpc>
              <a:spcBef>
                <a:spcPct val="20000"/>
              </a:spcBef>
              <a:spcAft>
                <a:spcPts val="0"/>
              </a:spcAft>
              <a:buClrTx/>
              <a:buSzPct val="90000"/>
              <a:buFont typeface="Arial" pitchFamily="34" charset="0"/>
              <a:buNone/>
              <a:tabLst/>
              <a:defRPr lang="en-US" sz="1765"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3845"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21158" y="6442282"/>
            <a:ext cx="501606" cy="124650"/>
          </a:xfrm>
          <a:prstGeom prst="rect">
            <a:avLst/>
          </a:prstGeom>
        </p:spPr>
        <p:txBody>
          <a:bodyPr lIns="91406" tIns="45702" rIns="91406" bIns="45702"/>
          <a:lstStyle/>
          <a:p>
            <a:pPr defTabSz="914023">
              <a:lnSpc>
                <a:spcPct val="90000"/>
              </a:lnSpc>
            </a:pPr>
            <a:fld id="{1BC86A1F-E589-44B2-A543-2EC98F5547A7}" type="slidenum">
              <a:rPr kumimoji="0" lang="en-US" smtClean="0">
                <a:solidFill>
                  <a:srgbClr val="FFFFFF"/>
                </a:solidFill>
              </a:rPr>
              <a:pPr defTabSz="914023">
                <a:lnSpc>
                  <a:spcPct val="90000"/>
                </a:lnSpc>
              </a:pPr>
              <a:t>‹#›</a:t>
            </a:fld>
            <a:endParaRPr kumimoji="0" lang="en-US" dirty="0">
              <a:solidFill>
                <a:srgbClr val="FFFFFF"/>
              </a:solidFill>
            </a:endParaRPr>
          </a:p>
        </p:txBody>
      </p:sp>
    </p:spTree>
    <p:extLst>
      <p:ext uri="{BB962C8B-B14F-4D97-AF65-F5344CB8AC3E}">
        <p14:creationId xmlns:p14="http://schemas.microsoft.com/office/powerpoint/2010/main" val="16136227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27" y="0"/>
            <a:ext cx="12191377" cy="6861505"/>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09" tIns="44804" rIns="89609" bIns="44804" numCol="1" anchor="t" anchorCtr="0" compatLnSpc="1">
            <a:prstTxWarp prst="textNoShape">
              <a:avLst/>
            </a:prstTxWarp>
          </a:bodyPr>
          <a:lstStyle/>
          <a:p>
            <a:pPr defTabSz="914023"/>
            <a:endParaRPr kumimoji="0" lang="en-US" sz="1765">
              <a:solidFill>
                <a:srgbClr val="FFFFFF"/>
              </a:solidFill>
            </a:endParaRPr>
          </a:p>
        </p:txBody>
      </p:sp>
      <p:sp>
        <p:nvSpPr>
          <p:cNvPr id="2" name="Title 1"/>
          <p:cNvSpPr>
            <a:spLocks noGrp="1"/>
          </p:cNvSpPr>
          <p:nvPr>
            <p:ph type="title" hasCustomPrompt="1"/>
          </p:nvPr>
        </p:nvSpPr>
        <p:spPr>
          <a:xfrm>
            <a:off x="5647788" y="1187625"/>
            <a:ext cx="6274974" cy="2136525"/>
          </a:xfrm>
        </p:spPr>
        <p:txBody>
          <a:bodyPr wrap="square" anchor="t" anchorCtr="0">
            <a:spAutoFit/>
          </a:bodyPr>
          <a:lstStyle>
            <a:lvl1pPr>
              <a:defRPr sz="7058" spc="-150" baseline="0">
                <a:gradFill>
                  <a:gsLst>
                    <a:gs pos="22083">
                      <a:schemeClr val="tx1"/>
                    </a:gs>
                    <a:gs pos="42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647788" y="3877277"/>
            <a:ext cx="6274974" cy="619075"/>
          </a:xfrm>
        </p:spPr>
        <p:txBody>
          <a:bodyPr wrap="square">
            <a:spAutoFit/>
          </a:bodyPr>
          <a:lstStyle>
            <a:lvl1pPr marL="0" indent="0">
              <a:spcBef>
                <a:spcPts val="0"/>
              </a:spcBef>
              <a:buNone/>
              <a:defRPr sz="3137" spc="-70" baseline="0">
                <a:gradFill>
                  <a:gsLst>
                    <a:gs pos="22083">
                      <a:schemeClr val="tx1"/>
                    </a:gs>
                    <a:gs pos="42000">
                      <a:schemeClr val="tx1"/>
                    </a:gs>
                  </a:gsLst>
                  <a:lin ang="5400000" scaled="0"/>
                </a:gradFill>
                <a:latin typeface="+mj-lt"/>
              </a:defRPr>
            </a:lvl1pPr>
          </a:lstStyle>
          <a:p>
            <a:pPr lvl="0"/>
            <a:r>
              <a:rPr lang="en-US" dirty="0"/>
              <a:t>Speaker title</a:t>
            </a:r>
          </a:p>
        </p:txBody>
      </p:sp>
      <p:sp>
        <p:nvSpPr>
          <p:cNvPr id="17" name="Freeform 5"/>
          <p:cNvSpPr>
            <a:spLocks noEditPoints="1"/>
          </p:cNvSpPr>
          <p:nvPr userDrawn="1"/>
        </p:nvSpPr>
        <p:spPr bwMode="black">
          <a:xfrm>
            <a:off x="1702838" y="1570219"/>
            <a:ext cx="3001964" cy="462315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p:spPr>
        <p:txBody>
          <a:bodyPr rot="0" spcFirstLastPara="0" vertOverflow="overflow" horzOverflow="overflow" vert="horz" wrap="square" lIns="179218" tIns="143374" rIns="179218" bIns="143374" numCol="1" spcCol="0" rtlCol="0" fromWordArt="0" anchor="t" anchorCtr="0" forceAA="0" compatLnSpc="1">
            <a:prstTxWarp prst="textNoShape">
              <a:avLst/>
            </a:prstTxWarp>
            <a:noAutofit/>
          </a:bodyPr>
          <a:lstStyle/>
          <a:p>
            <a:pPr algn="ctr" defTabSz="895754" fontAlgn="base">
              <a:lnSpc>
                <a:spcPct val="90000"/>
              </a:lnSpc>
              <a:spcBef>
                <a:spcPct val="0"/>
              </a:spcBef>
              <a:spcAft>
                <a:spcPct val="0"/>
              </a:spcAft>
              <a:defRPr/>
            </a:pPr>
            <a:endParaRPr kumimoji="0"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140651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pos="17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Windows Azure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8088" y="223515"/>
            <a:ext cx="5046120" cy="908431"/>
          </a:xfrm>
          <a:prstGeom prst="rect">
            <a:avLst/>
          </a:prstGeom>
        </p:spPr>
      </p:pic>
    </p:spTree>
    <p:extLst>
      <p:ext uri="{BB962C8B-B14F-4D97-AF65-F5344CB8AC3E}">
        <p14:creationId xmlns:p14="http://schemas.microsoft.com/office/powerpoint/2010/main" val="1296337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With Logo">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54" tIns="60927" rIns="121854" bIns="60927" anchor="ctr"/>
          <a:lstStyle>
            <a:lvl1pPr algn="l">
              <a:defRPr sz="1568">
                <a:gradFill>
                  <a:gsLst>
                    <a:gs pos="100000">
                      <a:schemeClr val="bg2"/>
                    </a:gs>
                    <a:gs pos="0">
                      <a:schemeClr val="bg2"/>
                    </a:gs>
                  </a:gsLst>
                  <a:lin ang="5400000" scaled="0"/>
                </a:gradFill>
              </a:defRPr>
            </a:lvl1pPr>
          </a:lstStyle>
          <a:p>
            <a:pPr defTabSz="911597"/>
            <a:fld id="{727B4C2D-45E2-4621-8491-2995EB46A674}" type="slidenum">
              <a:rPr kumimoji="0" lang="en-US" smtClean="0">
                <a:gradFill>
                  <a:gsLst>
                    <a:gs pos="100000">
                      <a:srgbClr val="797A7D"/>
                    </a:gs>
                    <a:gs pos="0">
                      <a:srgbClr val="797A7D"/>
                    </a:gs>
                  </a:gsLst>
                  <a:lin ang="5400000" scaled="0"/>
                </a:gradFill>
              </a:rPr>
              <a:pPr defTabSz="911597"/>
              <a:t>‹#›</a:t>
            </a:fld>
            <a:endParaRPr kumimoji="0"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181879496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53"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53" y="1447800"/>
            <a:ext cx="11151917" cy="2113866"/>
          </a:xfrm>
          <a:prstGeom prst="rect">
            <a:avLst/>
          </a:prstGeom>
        </p:spPr>
        <p:txBody>
          <a:bodyPr/>
          <a:lstStyle>
            <a:lvl1pPr marL="284030" indent="-284030">
              <a:buFont typeface="Wingdings" pitchFamily="2" charset="2"/>
              <a:buChar char=""/>
              <a:defRPr sz="3235"/>
            </a:lvl1pPr>
            <a:lvl2pPr marL="517285" indent="-233254">
              <a:buFont typeface="Wingdings" pitchFamily="2" charset="2"/>
              <a:buChar char=""/>
              <a:defRPr>
                <a:latin typeface="+mn-lt"/>
              </a:defRPr>
            </a:lvl2pPr>
            <a:lvl3pPr marL="741014" indent="-223733">
              <a:buFont typeface="Wingdings" pitchFamily="2" charset="2"/>
              <a:buChar char=""/>
              <a:tabLst/>
              <a:defRPr>
                <a:latin typeface="+mn-lt"/>
              </a:defRPr>
            </a:lvl3pPr>
            <a:lvl4pPr marL="913970" indent="-172956">
              <a:buFont typeface="Wingdings" pitchFamily="2" charset="2"/>
              <a:buChar char=""/>
              <a:defRPr>
                <a:latin typeface="+mn-lt"/>
              </a:defRPr>
            </a:lvl4pPr>
            <a:lvl5pPr marL="1086928" indent="-172956">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4291" tIns="62146" rIns="124291" bIns="62146" anchor="ctr"/>
          <a:lstStyle>
            <a:lvl1pPr algn="l">
              <a:defRPr sz="1568">
                <a:gradFill>
                  <a:gsLst>
                    <a:gs pos="100000">
                      <a:schemeClr val="bg2"/>
                    </a:gs>
                    <a:gs pos="0">
                      <a:schemeClr val="bg2"/>
                    </a:gs>
                  </a:gsLst>
                  <a:lin ang="5400000" scaled="0"/>
                </a:gradFill>
              </a:defRPr>
            </a:lvl1pPr>
          </a:lstStyle>
          <a:p>
            <a:pPr defTabSz="914023"/>
            <a:fld id="{CCBC3394-D7D4-4493-8076-76FBA3F60B25}" type="slidenum">
              <a:rPr kumimoji="0" lang="en-US" smtClean="0">
                <a:gradFill>
                  <a:gsLst>
                    <a:gs pos="100000">
                      <a:srgbClr val="002050"/>
                    </a:gs>
                    <a:gs pos="0">
                      <a:srgbClr val="002050"/>
                    </a:gs>
                  </a:gsLst>
                  <a:lin ang="5400000" scaled="0"/>
                </a:gradFill>
              </a:rPr>
              <a:pPr defTabSz="914023"/>
              <a:t>‹#›</a:t>
            </a:fld>
            <a:endParaRPr kumimoji="0" lang="en-US">
              <a:gradFill>
                <a:gsLst>
                  <a:gs pos="100000">
                    <a:srgbClr val="002050"/>
                  </a:gs>
                  <a:gs pos="0">
                    <a:srgbClr val="002050"/>
                  </a:gs>
                </a:gsLst>
                <a:lin ang="5400000" scaled="0"/>
              </a:gradFill>
            </a:endParaRPr>
          </a:p>
        </p:txBody>
      </p:sp>
    </p:spTree>
    <p:extLst>
      <p:ext uri="{BB962C8B-B14F-4D97-AF65-F5344CB8AC3E}">
        <p14:creationId xmlns:p14="http://schemas.microsoft.com/office/powerpoint/2010/main" val="93249614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ch Ed 2013_Mai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85318592"/>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3_Title Only">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252" y="446310"/>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30367876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3" name="矩形 2"/>
          <p:cNvSpPr/>
          <p:nvPr userDrawn="1"/>
        </p:nvSpPr>
        <p:spPr>
          <a:xfrm>
            <a:off x="13593460" y="15112935"/>
            <a:ext cx="775136" cy="246221"/>
          </a:xfrm>
          <a:prstGeom prst="rect">
            <a:avLst/>
          </a:prstGeom>
        </p:spPr>
        <p:txBody>
          <a:bodyPr wrap="square">
            <a:spAutoFit/>
          </a:bodyPr>
          <a:lstStyle/>
          <a:p>
            <a:r>
              <a:rPr kumimoji="0" lang="en-US" altLang="zh-CN" sz="100" dirty="0">
                <a:solidFill>
                  <a:prstClr val="white"/>
                </a:solidFill>
                <a:latin typeface="Calibri"/>
                <a:ea typeface="宋体"/>
              </a:rPr>
              <a:t>PPT</a:t>
            </a:r>
            <a:r>
              <a:rPr kumimoji="0" lang="zh-CN" altLang="en-US" sz="100" dirty="0">
                <a:solidFill>
                  <a:prstClr val="white"/>
                </a:solidFill>
                <a:latin typeface="Calibri"/>
                <a:ea typeface="宋体"/>
              </a:rPr>
              <a:t>模板下载：</a:t>
            </a:r>
            <a:r>
              <a:rPr kumimoji="0" lang="en-US" altLang="zh-CN" sz="100" dirty="0">
                <a:solidFill>
                  <a:prstClr val="white"/>
                </a:solidFill>
                <a:latin typeface="Calibri"/>
                <a:ea typeface="宋体"/>
              </a:rPr>
              <a:t>www.1ppt.com/moban/     </a:t>
            </a:r>
            <a:r>
              <a:rPr kumimoji="0" lang="zh-CN" altLang="en-US" sz="100" dirty="0">
                <a:solidFill>
                  <a:prstClr val="white"/>
                </a:solidFill>
                <a:latin typeface="Calibri"/>
                <a:ea typeface="宋体"/>
              </a:rPr>
              <a:t>行业</a:t>
            </a:r>
            <a:r>
              <a:rPr kumimoji="0" lang="en-US" altLang="zh-CN" sz="100" dirty="0">
                <a:solidFill>
                  <a:prstClr val="white"/>
                </a:solidFill>
                <a:latin typeface="Calibri"/>
                <a:ea typeface="宋体"/>
              </a:rPr>
              <a:t>PPT</a:t>
            </a:r>
            <a:r>
              <a:rPr kumimoji="0" lang="zh-CN" altLang="en-US" sz="100" dirty="0">
                <a:solidFill>
                  <a:prstClr val="white"/>
                </a:solidFill>
                <a:latin typeface="Calibri"/>
                <a:ea typeface="宋体"/>
              </a:rPr>
              <a:t>模板：</a:t>
            </a:r>
            <a:r>
              <a:rPr kumimoji="0" lang="en-US" altLang="zh-CN" sz="100" dirty="0">
                <a:solidFill>
                  <a:prstClr val="white"/>
                </a:solidFill>
                <a:latin typeface="Calibri"/>
                <a:ea typeface="宋体"/>
              </a:rPr>
              <a:t>www.1ppt.com/hangye/ </a:t>
            </a:r>
          </a:p>
          <a:p>
            <a:r>
              <a:rPr kumimoji="0" lang="zh-CN" altLang="en-US" sz="100" dirty="0">
                <a:solidFill>
                  <a:prstClr val="white"/>
                </a:solidFill>
                <a:latin typeface="Calibri"/>
                <a:ea typeface="宋体"/>
              </a:rPr>
              <a:t>节日</a:t>
            </a:r>
            <a:r>
              <a:rPr kumimoji="0" lang="en-US" altLang="zh-CN" sz="100" dirty="0">
                <a:solidFill>
                  <a:prstClr val="white"/>
                </a:solidFill>
                <a:latin typeface="Calibri"/>
                <a:ea typeface="宋体"/>
              </a:rPr>
              <a:t>PPT</a:t>
            </a:r>
            <a:r>
              <a:rPr kumimoji="0" lang="zh-CN" altLang="en-US" sz="100" dirty="0">
                <a:solidFill>
                  <a:prstClr val="white"/>
                </a:solidFill>
                <a:latin typeface="Calibri"/>
                <a:ea typeface="宋体"/>
              </a:rPr>
              <a:t>模板：</a:t>
            </a:r>
            <a:r>
              <a:rPr kumimoji="0" lang="en-US" altLang="zh-CN" sz="100" dirty="0">
                <a:solidFill>
                  <a:prstClr val="white"/>
                </a:solidFill>
                <a:latin typeface="Calibri"/>
                <a:ea typeface="宋体"/>
              </a:rPr>
              <a:t>www.1ppt.com/jieri/           PPT</a:t>
            </a:r>
            <a:r>
              <a:rPr kumimoji="0" lang="zh-CN" altLang="en-US" sz="100" dirty="0">
                <a:solidFill>
                  <a:prstClr val="white"/>
                </a:solidFill>
                <a:latin typeface="Calibri"/>
                <a:ea typeface="宋体"/>
              </a:rPr>
              <a:t>素材下载：</a:t>
            </a:r>
            <a:r>
              <a:rPr kumimoji="0" lang="en-US" altLang="zh-CN" sz="100" dirty="0">
                <a:solidFill>
                  <a:prstClr val="white"/>
                </a:solidFill>
                <a:latin typeface="Calibri"/>
                <a:ea typeface="宋体"/>
              </a:rPr>
              <a:t>www.1ppt.com/sucai/</a:t>
            </a:r>
          </a:p>
          <a:p>
            <a:r>
              <a:rPr kumimoji="0" lang="en-US" altLang="zh-CN" sz="100" dirty="0">
                <a:solidFill>
                  <a:prstClr val="white"/>
                </a:solidFill>
                <a:latin typeface="Calibri"/>
                <a:ea typeface="宋体"/>
              </a:rPr>
              <a:t>PPT</a:t>
            </a:r>
            <a:r>
              <a:rPr kumimoji="0" lang="zh-CN" altLang="en-US" sz="100" dirty="0">
                <a:solidFill>
                  <a:prstClr val="white"/>
                </a:solidFill>
                <a:latin typeface="Calibri"/>
                <a:ea typeface="宋体"/>
              </a:rPr>
              <a:t>背景图片：</a:t>
            </a:r>
            <a:r>
              <a:rPr kumimoji="0" lang="en-US" altLang="zh-CN" sz="100" dirty="0">
                <a:solidFill>
                  <a:prstClr val="white"/>
                </a:solidFill>
                <a:latin typeface="Calibri"/>
                <a:ea typeface="宋体"/>
              </a:rPr>
              <a:t>www.1ppt.com/beijing/      PPT</a:t>
            </a:r>
            <a:r>
              <a:rPr kumimoji="0" lang="zh-CN" altLang="en-US" sz="100" dirty="0">
                <a:solidFill>
                  <a:prstClr val="white"/>
                </a:solidFill>
                <a:latin typeface="Calibri"/>
                <a:ea typeface="宋体"/>
              </a:rPr>
              <a:t>图表下载：</a:t>
            </a:r>
            <a:r>
              <a:rPr kumimoji="0" lang="en-US" altLang="zh-CN" sz="100" dirty="0">
                <a:solidFill>
                  <a:prstClr val="white"/>
                </a:solidFill>
                <a:latin typeface="Calibri"/>
                <a:ea typeface="宋体"/>
              </a:rPr>
              <a:t>www.1ppt.com/tubiao/      </a:t>
            </a:r>
          </a:p>
          <a:p>
            <a:r>
              <a:rPr kumimoji="0" lang="zh-CN" altLang="en-US" sz="100" dirty="0">
                <a:solidFill>
                  <a:prstClr val="white"/>
                </a:solidFill>
                <a:latin typeface="Calibri"/>
                <a:ea typeface="宋体"/>
              </a:rPr>
              <a:t>优秀</a:t>
            </a:r>
            <a:r>
              <a:rPr kumimoji="0" lang="en-US" altLang="zh-CN" sz="100" dirty="0">
                <a:solidFill>
                  <a:prstClr val="white"/>
                </a:solidFill>
                <a:latin typeface="Calibri"/>
                <a:ea typeface="宋体"/>
              </a:rPr>
              <a:t>PPT</a:t>
            </a:r>
            <a:r>
              <a:rPr kumimoji="0" lang="zh-CN" altLang="en-US" sz="100" dirty="0">
                <a:solidFill>
                  <a:prstClr val="white"/>
                </a:solidFill>
                <a:latin typeface="Calibri"/>
                <a:ea typeface="宋体"/>
              </a:rPr>
              <a:t>下载：</a:t>
            </a:r>
            <a:r>
              <a:rPr kumimoji="0" lang="en-US" altLang="zh-CN" sz="100" dirty="0">
                <a:solidFill>
                  <a:prstClr val="white"/>
                </a:solidFill>
                <a:latin typeface="Calibri"/>
                <a:ea typeface="宋体"/>
              </a:rPr>
              <a:t>www.1ppt.com/xiazai/        PPT</a:t>
            </a:r>
            <a:r>
              <a:rPr kumimoji="0" lang="zh-CN" altLang="en-US" sz="100" dirty="0">
                <a:solidFill>
                  <a:prstClr val="white"/>
                </a:solidFill>
                <a:latin typeface="Calibri"/>
                <a:ea typeface="宋体"/>
              </a:rPr>
              <a:t>教程： </a:t>
            </a:r>
            <a:r>
              <a:rPr kumimoji="0" lang="en-US" altLang="zh-CN" sz="100" dirty="0">
                <a:solidFill>
                  <a:prstClr val="white"/>
                </a:solidFill>
                <a:latin typeface="Calibri"/>
                <a:ea typeface="宋体"/>
              </a:rPr>
              <a:t>www.1ppt.com/powerpoint/      </a:t>
            </a:r>
          </a:p>
          <a:p>
            <a:r>
              <a:rPr kumimoji="0" lang="en-US" altLang="zh-CN" sz="100" dirty="0">
                <a:solidFill>
                  <a:prstClr val="white"/>
                </a:solidFill>
                <a:latin typeface="Calibri"/>
                <a:ea typeface="宋体"/>
              </a:rPr>
              <a:t>Word</a:t>
            </a:r>
            <a:r>
              <a:rPr kumimoji="0" lang="zh-CN" altLang="en-US" sz="100" dirty="0">
                <a:solidFill>
                  <a:prstClr val="white"/>
                </a:solidFill>
                <a:latin typeface="Calibri"/>
                <a:ea typeface="宋体"/>
              </a:rPr>
              <a:t>教程： </a:t>
            </a:r>
            <a:r>
              <a:rPr kumimoji="0" lang="en-US" altLang="zh-CN" sz="100" dirty="0">
                <a:solidFill>
                  <a:prstClr val="white"/>
                </a:solidFill>
                <a:latin typeface="Calibri"/>
                <a:ea typeface="宋体"/>
              </a:rPr>
              <a:t>www.1ppt.com/word/              Excel</a:t>
            </a:r>
            <a:r>
              <a:rPr kumimoji="0" lang="zh-CN" altLang="en-US" sz="100" dirty="0">
                <a:solidFill>
                  <a:prstClr val="white"/>
                </a:solidFill>
                <a:latin typeface="Calibri"/>
                <a:ea typeface="宋体"/>
              </a:rPr>
              <a:t>教程：</a:t>
            </a:r>
            <a:r>
              <a:rPr kumimoji="0" lang="en-US" altLang="zh-CN" sz="100" dirty="0">
                <a:solidFill>
                  <a:prstClr val="white"/>
                </a:solidFill>
                <a:latin typeface="Calibri"/>
                <a:ea typeface="宋体"/>
              </a:rPr>
              <a:t>www.1ppt.com/excel/  </a:t>
            </a:r>
          </a:p>
          <a:p>
            <a:r>
              <a:rPr kumimoji="0" lang="zh-CN" altLang="en-US" sz="100" dirty="0">
                <a:solidFill>
                  <a:prstClr val="white"/>
                </a:solidFill>
                <a:latin typeface="Calibri"/>
                <a:ea typeface="宋体"/>
              </a:rPr>
              <a:t>资料下载：</a:t>
            </a:r>
            <a:r>
              <a:rPr kumimoji="0" lang="en-US" altLang="zh-CN" sz="100" dirty="0">
                <a:solidFill>
                  <a:prstClr val="white"/>
                </a:solidFill>
                <a:latin typeface="Calibri"/>
                <a:ea typeface="宋体"/>
              </a:rPr>
              <a:t>www.1ppt.com/ziliao/                PPT</a:t>
            </a:r>
            <a:r>
              <a:rPr kumimoji="0" lang="zh-CN" altLang="en-US" sz="100" dirty="0">
                <a:solidFill>
                  <a:prstClr val="white"/>
                </a:solidFill>
                <a:latin typeface="Calibri"/>
                <a:ea typeface="宋体"/>
              </a:rPr>
              <a:t>课件下载：</a:t>
            </a:r>
            <a:r>
              <a:rPr kumimoji="0" lang="en-US" altLang="zh-CN" sz="100" dirty="0">
                <a:solidFill>
                  <a:prstClr val="white"/>
                </a:solidFill>
                <a:latin typeface="Calibri"/>
                <a:ea typeface="宋体"/>
              </a:rPr>
              <a:t>www.1ppt.com/kejian/ </a:t>
            </a:r>
          </a:p>
          <a:p>
            <a:r>
              <a:rPr kumimoji="0" lang="zh-CN" altLang="en-US" sz="100" dirty="0">
                <a:solidFill>
                  <a:prstClr val="white"/>
                </a:solidFill>
                <a:latin typeface="Calibri"/>
                <a:ea typeface="宋体"/>
              </a:rPr>
              <a:t>范文下载：</a:t>
            </a:r>
            <a:r>
              <a:rPr kumimoji="0" lang="en-US" altLang="zh-CN" sz="100" dirty="0">
                <a:solidFill>
                  <a:prstClr val="white"/>
                </a:solidFill>
                <a:latin typeface="Calibri"/>
                <a:ea typeface="宋体"/>
              </a:rPr>
              <a:t>www.1ppt.com/fanwen/             </a:t>
            </a:r>
            <a:r>
              <a:rPr kumimoji="0" lang="zh-CN" altLang="en-US" sz="100" dirty="0">
                <a:solidFill>
                  <a:prstClr val="white"/>
                </a:solidFill>
                <a:latin typeface="Calibri"/>
                <a:ea typeface="宋体"/>
              </a:rPr>
              <a:t>试卷下载：</a:t>
            </a:r>
            <a:r>
              <a:rPr kumimoji="0" lang="en-US" altLang="zh-CN" sz="100" dirty="0">
                <a:solidFill>
                  <a:prstClr val="white"/>
                </a:solidFill>
                <a:latin typeface="Calibri"/>
                <a:ea typeface="宋体"/>
              </a:rPr>
              <a:t>www.1ppt.com/shiti/  </a:t>
            </a:r>
          </a:p>
          <a:p>
            <a:r>
              <a:rPr kumimoji="0" lang="zh-CN" altLang="en-US" sz="100" dirty="0">
                <a:solidFill>
                  <a:prstClr val="white"/>
                </a:solidFill>
                <a:latin typeface="Calibri"/>
                <a:ea typeface="宋体"/>
              </a:rPr>
              <a:t>教案下载：</a:t>
            </a:r>
            <a:r>
              <a:rPr kumimoji="0" lang="en-US" altLang="zh-CN" sz="100" dirty="0">
                <a:solidFill>
                  <a:prstClr val="white"/>
                </a:solidFill>
                <a:latin typeface="Calibri"/>
                <a:ea typeface="宋体"/>
              </a:rPr>
              <a:t>www.1ppt.com/jiaoan/        </a:t>
            </a:r>
          </a:p>
          <a:p>
            <a:r>
              <a:rPr kumimoji="0" lang="zh-CN" altLang="en-US" sz="100" dirty="0">
                <a:solidFill>
                  <a:prstClr val="white"/>
                </a:solidFill>
                <a:latin typeface="Calibri"/>
                <a:ea typeface="宋体"/>
              </a:rPr>
              <a:t>字体下载：</a:t>
            </a:r>
            <a:r>
              <a:rPr kumimoji="0" lang="en-US" altLang="zh-CN" sz="100" dirty="0">
                <a:solidFill>
                  <a:prstClr val="white"/>
                </a:solidFill>
                <a:latin typeface="Calibri"/>
                <a:ea typeface="宋体"/>
              </a:rPr>
              <a:t>www.1ppt.com/ziti/</a:t>
            </a:r>
          </a:p>
          <a:p>
            <a:r>
              <a:rPr kumimoji="0" lang="en-US" altLang="zh-CN" sz="100" dirty="0">
                <a:solidFill>
                  <a:prstClr val="white"/>
                </a:solidFill>
                <a:latin typeface="Calibri"/>
                <a:ea typeface="宋体"/>
              </a:rPr>
              <a:t> </a:t>
            </a:r>
            <a:endParaRPr kumimoji="0" lang="zh-CN" altLang="en-US" sz="100" dirty="0">
              <a:solidFill>
                <a:prstClr val="white"/>
              </a:solidFill>
              <a:latin typeface="Calibri"/>
              <a:ea typeface="宋体"/>
            </a:endParaRPr>
          </a:p>
        </p:txBody>
      </p:sp>
    </p:spTree>
    <p:extLst>
      <p:ext uri="{BB962C8B-B14F-4D97-AF65-F5344CB8AC3E}">
        <p14:creationId xmlns:p14="http://schemas.microsoft.com/office/powerpoint/2010/main" val="36781539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114430192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5366759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7532778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6193567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1346502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9025572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027176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804890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2005401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5372010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2578647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21714423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406040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0437385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67762387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7758407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039032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455982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Content Placeholder 3"/>
          <p:cNvSpPr>
            <a:spLocks noGrp="1"/>
          </p:cNvSpPr>
          <p:nvPr>
            <p:ph sz="half" idx="2"/>
          </p:nvPr>
        </p:nvSpPr>
        <p:spPr>
          <a:xfrm>
            <a:off x="839789" y="2505075"/>
            <a:ext cx="515778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Content Placeholder 5"/>
          <p:cNvSpPr>
            <a:spLocks noGrp="1"/>
          </p:cNvSpPr>
          <p:nvPr>
            <p:ph sz="quarter" idx="4"/>
          </p:nvPr>
        </p:nvSpPr>
        <p:spPr>
          <a:xfrm>
            <a:off x="6172201" y="2505075"/>
            <a:ext cx="51831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ja-JP"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1715845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ja-JP"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53533013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8484689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28771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10919778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ja-JP" altLang="en-US"/>
              <a:t>図を追加</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ja-JP"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5715191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7844799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ja-JP"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0011366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3884636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0107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963084" y="4406901"/>
            <a:ext cx="103632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5031660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4747516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85222357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49401695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798331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205803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09601" y="273050"/>
            <a:ext cx="4011084"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573219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389717" y="4800600"/>
            <a:ext cx="73152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9018754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9597120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839200" y="274639"/>
            <a:ext cx="274320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09600" y="274639"/>
            <a:ext cx="802640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1620788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3052280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183200494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35455962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231802461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11885764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4563863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C8F9FCDE-4EAE-4816-A35C-78F630BF54EC}" type="datetimeFigureOut">
              <a:rPr kumimoji="1" lang="ja-JP" altLang="en-US" smtClean="0"/>
              <a:t>2019/7/9</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45561523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218371558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11760104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3180775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264858767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F14259E-DE73-DA49-B20E-2AED84B9DB52}" type="slidenum">
              <a:rPr lang="en-US" smtClean="0"/>
              <a:pPr/>
              <a:t>‹#›</a:t>
            </a:fld>
            <a:endParaRPr lang="en-US"/>
          </a:p>
        </p:txBody>
      </p:sp>
    </p:spTree>
    <p:extLst>
      <p:ext uri="{BB962C8B-B14F-4D97-AF65-F5344CB8AC3E}">
        <p14:creationId xmlns:p14="http://schemas.microsoft.com/office/powerpoint/2010/main" val="2042410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theme" Target="../theme/theme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8" Type="http://schemas.openxmlformats.org/officeDocument/2006/relationships/slideLayout" Target="../slideLayouts/slideLayout19.xml"/><Relationship Id="rId3" Type="http://schemas.openxmlformats.org/officeDocument/2006/relationships/slideLayout" Target="../slideLayouts/slideLayout1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theme" Target="../theme/theme3.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heme" Target="../theme/theme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5.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6.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F9FCDE-4EAE-4816-A35C-78F630BF54EC}" type="datetimeFigureOut">
              <a:rPr kumimoji="1" lang="ja-JP" altLang="en-US" smtClean="0"/>
              <a:t>2019/7/9</a:t>
            </a:fld>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103B18-DD1A-445E-94CF-B9F6F7F6DCDC}" type="slidenum">
              <a:rPr kumimoji="1" lang="ja-JP" altLang="en-US" smtClean="0"/>
              <a:t>‹#›</a:t>
            </a:fld>
            <a:endParaRPr kumimoji="1" lang="ja-JP" altLang="en-US"/>
          </a:p>
        </p:txBody>
      </p:sp>
    </p:spTree>
    <p:extLst>
      <p:ext uri="{BB962C8B-B14F-4D97-AF65-F5344CB8AC3E}">
        <p14:creationId xmlns:p14="http://schemas.microsoft.com/office/powerpoint/2010/main" val="26632474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6"/>
            <a:ext cx="11655840" cy="899665"/>
          </a:xfrm>
          <a:prstGeom prst="rect">
            <a:avLst/>
          </a:prstGeom>
        </p:spPr>
        <p:txBody>
          <a:bodyPr vert="horz" wrap="square" lIns="146249" tIns="91406" rIns="146249" bIns="91406"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5" y="1189182"/>
            <a:ext cx="11653521" cy="2210815"/>
          </a:xfrm>
          <a:prstGeom prst="rect">
            <a:avLst/>
          </a:prstGeom>
        </p:spPr>
        <p:txBody>
          <a:bodyPr vert="horz" wrap="square" lIns="146249" tIns="91406" rIns="146249" bIns="91406"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4085282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776" r:id="rId38"/>
    <p:sldLayoutId id="2147483825" r:id="rId39"/>
  </p:sldLayoutIdLst>
  <p:transition>
    <p:fade/>
  </p:transition>
  <p:txStyles>
    <p:titleStyle>
      <a:lvl1pPr algn="l" defTabSz="914023"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9" marR="0" indent="-336019" algn="l" defTabSz="914023"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477" marR="0" indent="-236457" algn="l" defTabSz="9140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43" marR="0" indent="-224013" algn="l" defTabSz="91402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56" marR="0" indent="-224013" algn="l" defTabSz="91402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68" marR="0" indent="-224013" algn="l" defTabSz="914023"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63" indent="-228507" algn="l" defTabSz="91402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76" indent="-228507" algn="l" defTabSz="91402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89" indent="-228507" algn="l" defTabSz="91402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600" indent="-228507" algn="l" defTabSz="91402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23" rtl="0" eaLnBrk="1" latinLnBrk="0" hangingPunct="1">
        <a:defRPr sz="1765" kern="1200">
          <a:solidFill>
            <a:schemeClr val="tx1"/>
          </a:solidFill>
          <a:latin typeface="+mn-lt"/>
          <a:ea typeface="+mn-ea"/>
          <a:cs typeface="+mn-cs"/>
        </a:defRPr>
      </a:lvl1pPr>
      <a:lvl2pPr marL="457011" algn="l" defTabSz="914023" rtl="0" eaLnBrk="1" latinLnBrk="0" hangingPunct="1">
        <a:defRPr sz="1765" kern="1200">
          <a:solidFill>
            <a:schemeClr val="tx1"/>
          </a:solidFill>
          <a:latin typeface="+mn-lt"/>
          <a:ea typeface="+mn-ea"/>
          <a:cs typeface="+mn-cs"/>
        </a:defRPr>
      </a:lvl2pPr>
      <a:lvl3pPr marL="914023" algn="l" defTabSz="914023" rtl="0" eaLnBrk="1" latinLnBrk="0" hangingPunct="1">
        <a:defRPr sz="1765" kern="1200">
          <a:solidFill>
            <a:schemeClr val="tx1"/>
          </a:solidFill>
          <a:latin typeface="+mn-lt"/>
          <a:ea typeface="+mn-ea"/>
          <a:cs typeface="+mn-cs"/>
        </a:defRPr>
      </a:lvl3pPr>
      <a:lvl4pPr marL="1371034" algn="l" defTabSz="914023" rtl="0" eaLnBrk="1" latinLnBrk="0" hangingPunct="1">
        <a:defRPr sz="1765" kern="1200">
          <a:solidFill>
            <a:schemeClr val="tx1"/>
          </a:solidFill>
          <a:latin typeface="+mn-lt"/>
          <a:ea typeface="+mn-ea"/>
          <a:cs typeface="+mn-cs"/>
        </a:defRPr>
      </a:lvl4pPr>
      <a:lvl5pPr marL="1828046" algn="l" defTabSz="914023" rtl="0" eaLnBrk="1" latinLnBrk="0" hangingPunct="1">
        <a:defRPr sz="1765" kern="1200">
          <a:solidFill>
            <a:schemeClr val="tx1"/>
          </a:solidFill>
          <a:latin typeface="+mn-lt"/>
          <a:ea typeface="+mn-ea"/>
          <a:cs typeface="+mn-cs"/>
        </a:defRPr>
      </a:lvl5pPr>
      <a:lvl6pPr marL="2285058" algn="l" defTabSz="914023" rtl="0" eaLnBrk="1" latinLnBrk="0" hangingPunct="1">
        <a:defRPr sz="1765" kern="1200">
          <a:solidFill>
            <a:schemeClr val="tx1"/>
          </a:solidFill>
          <a:latin typeface="+mn-lt"/>
          <a:ea typeface="+mn-ea"/>
          <a:cs typeface="+mn-cs"/>
        </a:defRPr>
      </a:lvl6pPr>
      <a:lvl7pPr marL="2742070" algn="l" defTabSz="914023" rtl="0" eaLnBrk="1" latinLnBrk="0" hangingPunct="1">
        <a:defRPr sz="1765" kern="1200">
          <a:solidFill>
            <a:schemeClr val="tx1"/>
          </a:solidFill>
          <a:latin typeface="+mn-lt"/>
          <a:ea typeface="+mn-ea"/>
          <a:cs typeface="+mn-cs"/>
        </a:defRPr>
      </a:lvl7pPr>
      <a:lvl8pPr marL="3199083" algn="l" defTabSz="914023" rtl="0" eaLnBrk="1" latinLnBrk="0" hangingPunct="1">
        <a:defRPr sz="1765" kern="1200">
          <a:solidFill>
            <a:schemeClr val="tx1"/>
          </a:solidFill>
          <a:latin typeface="+mn-lt"/>
          <a:ea typeface="+mn-ea"/>
          <a:cs typeface="+mn-cs"/>
        </a:defRPr>
      </a:lvl8pPr>
      <a:lvl9pPr marL="3656096" algn="l" defTabSz="914023"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EFC6DC-5DDE-4434-988F-8DDAC20F6308}"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F04643-B83A-4577-9BDE-907661AC3A32}"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493869438"/>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93709CD-D695-4FD5-957D-5762E2CFD1BB}"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70A5E1-2D62-4CEF-8A76-EF5F7D292A2B}"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528168395"/>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FAEBDD-FC8F-4A90-B89A-6FCE8BC1D37D}" type="datetimeFigureOut">
              <a:rPr lang="ja-JP" altLang="en-US" smtClean="0">
                <a:solidFill>
                  <a:prstClr val="black">
                    <a:tint val="75000"/>
                  </a:prstClr>
                </a:solidFill>
              </a:rPr>
              <a:pPr/>
              <a:t>2019/7/9</a:t>
            </a:fld>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807E16B-6BCF-4483-BC86-B4A525BE7D9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9256527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Lst>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8ED8AE-9DCB-2440-A3D4-B3F3A605ED17}" type="datetimeFigureOut">
              <a:rPr lang="en-US" altLang="ja-JP" smtClean="0"/>
              <a:pPr/>
              <a:t>7/9/2019</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F14259E-DE73-DA49-B20E-2AED84B9DB52}" type="slidenum">
              <a:rPr lang="en-US" smtClean="0"/>
              <a:pPr/>
              <a:t>‹#›</a:t>
            </a:fld>
            <a:endParaRPr lang="en-US"/>
          </a:p>
        </p:txBody>
      </p:sp>
    </p:spTree>
    <p:extLst>
      <p:ext uri="{BB962C8B-B14F-4D97-AF65-F5344CB8AC3E}">
        <p14:creationId xmlns:p14="http://schemas.microsoft.com/office/powerpoint/2010/main" val="263010321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1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29.jp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28.jpg"/><Relationship Id="rId5" Type="http://schemas.openxmlformats.org/officeDocument/2006/relationships/image" Target="../media/image27.jpeg"/><Relationship Id="rId4" Type="http://schemas.openxmlformats.org/officeDocument/2006/relationships/image" Target="../media/image26.jpe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20.xml"/><Relationship Id="rId6" Type="http://schemas.openxmlformats.org/officeDocument/2006/relationships/image" Target="../media/image34.png"/><Relationship Id="rId5" Type="http://schemas.openxmlformats.org/officeDocument/2006/relationships/image" Target="../media/image33.gif"/><Relationship Id="rId4" Type="http://schemas.openxmlformats.org/officeDocument/2006/relationships/image" Target="../media/image32.jpeg"/></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18.xml"/><Relationship Id="rId1" Type="http://schemas.openxmlformats.org/officeDocument/2006/relationships/slideLayout" Target="../slideLayouts/slideLayout20.xml"/><Relationship Id="rId6" Type="http://schemas.openxmlformats.org/officeDocument/2006/relationships/slide" Target="slide22.xml"/><Relationship Id="rId5" Type="http://schemas.openxmlformats.org/officeDocument/2006/relationships/image" Target="../media/image22.jpg"/><Relationship Id="rId4" Type="http://schemas.openxmlformats.org/officeDocument/2006/relationships/slide" Target="slide2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image" Target="../media/image41.png"/><Relationship Id="rId5" Type="http://schemas.openxmlformats.org/officeDocument/2006/relationships/image" Target="../media/image40.jpg"/><Relationship Id="rId4" Type="http://schemas.openxmlformats.org/officeDocument/2006/relationships/image" Target="../media/image39.jpg"/></Relationships>
</file>

<file path=ppt/slides/_rels/slide23.xml.rels><?xml version="1.0" encoding="UTF-8" standalone="yes"?>
<Relationships xmlns="http://schemas.openxmlformats.org/package/2006/relationships"><Relationship Id="rId3" Type="http://schemas.openxmlformats.org/officeDocument/2006/relationships/image" Target="../media/image42.jpg"/><Relationship Id="rId7"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image" Target="../media/image45.jpg"/><Relationship Id="rId5" Type="http://schemas.openxmlformats.org/officeDocument/2006/relationships/image" Target="../media/image44.jpg"/><Relationship Id="rId4" Type="http://schemas.openxmlformats.org/officeDocument/2006/relationships/image" Target="../media/image43.png"/></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2.xml"/><Relationship Id="rId1" Type="http://schemas.openxmlformats.org/officeDocument/2006/relationships/slideLayout" Target="../slideLayouts/slideLayout20.xml"/><Relationship Id="rId5" Type="http://schemas.openxmlformats.org/officeDocument/2006/relationships/image" Target="../media/image49.jpg"/><Relationship Id="rId4" Type="http://schemas.openxmlformats.org/officeDocument/2006/relationships/image" Target="../media/image48.jpe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4.xml"/><Relationship Id="rId1" Type="http://schemas.openxmlformats.org/officeDocument/2006/relationships/slideLayout" Target="../slideLayouts/slideLayout20.xml"/><Relationship Id="rId5" Type="http://schemas.openxmlformats.org/officeDocument/2006/relationships/image" Target="../media/image54.png"/><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notesSlide" Target="../notesSlides/notesSlide25.xml"/><Relationship Id="rId1" Type="http://schemas.openxmlformats.org/officeDocument/2006/relationships/slideLayout" Target="../slideLayouts/slideLayout20.xml"/><Relationship Id="rId4" Type="http://schemas.openxmlformats.org/officeDocument/2006/relationships/image" Target="../media/image56.jpg"/></Relationships>
</file>

<file path=ppt/slides/_rels/slide28.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58.jpeg"/><Relationship Id="rId7" Type="http://schemas.microsoft.com/office/2007/relationships/hdphoto" Target="../media/hdphoto2.wdp"/><Relationship Id="rId2" Type="http://schemas.openxmlformats.org/officeDocument/2006/relationships/notesSlide" Target="../notesSlides/notesSlide27.xml"/><Relationship Id="rId1" Type="http://schemas.openxmlformats.org/officeDocument/2006/relationships/slideLayout" Target="../slideLayouts/slideLayout20.xml"/><Relationship Id="rId6" Type="http://schemas.openxmlformats.org/officeDocument/2006/relationships/image" Target="../media/image60.png"/><Relationship Id="rId5" Type="http://schemas.microsoft.com/office/2007/relationships/hdphoto" Target="../media/hdphoto1.wdp"/><Relationship Id="rId4" Type="http://schemas.openxmlformats.org/officeDocument/2006/relationships/image" Target="../media/image59.pn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20.xml"/><Relationship Id="rId5" Type="http://schemas.openxmlformats.org/officeDocument/2006/relationships/image" Target="../media/image63.jpg"/><Relationship Id="rId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9.xml"/><Relationship Id="rId1" Type="http://schemas.openxmlformats.org/officeDocument/2006/relationships/slideLayout" Target="../slideLayouts/slideLayout20.xml"/><Relationship Id="rId6" Type="http://schemas.openxmlformats.org/officeDocument/2006/relationships/image" Target="../media/image66.png"/><Relationship Id="rId5" Type="http://schemas.openxmlformats.org/officeDocument/2006/relationships/image" Target="../media/image65.jpg"/><Relationship Id="rId4" Type="http://schemas.openxmlformats.org/officeDocument/2006/relationships/image" Target="../media/image64.jpg"/></Relationships>
</file>

<file path=ppt/slides/_rels/slide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g"/><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0.xml"/></Relationships>
</file>

<file path=ppt/slides/_rels/slide34.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49.xml"/></Relationships>
</file>

<file path=ppt/slides/_rels/slide35.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85.xml"/></Relationships>
</file>

<file path=ppt/slides/_rels/slide36.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8" Type="http://schemas.openxmlformats.org/officeDocument/2006/relationships/image" Target="../media/image78.emf"/><Relationship Id="rId3" Type="http://schemas.openxmlformats.org/officeDocument/2006/relationships/image" Target="../media/image73.emf"/><Relationship Id="rId7" Type="http://schemas.openxmlformats.org/officeDocument/2006/relationships/image" Target="../media/image77.png"/><Relationship Id="rId2" Type="http://schemas.openxmlformats.org/officeDocument/2006/relationships/notesSlide" Target="../notesSlides/notesSlide30.xml"/><Relationship Id="rId1" Type="http://schemas.openxmlformats.org/officeDocument/2006/relationships/slideLayout" Target="../slideLayouts/slideLayout68.xml"/><Relationship Id="rId6" Type="http://schemas.openxmlformats.org/officeDocument/2006/relationships/image" Target="../media/image76.emf"/><Relationship Id="rId5" Type="http://schemas.openxmlformats.org/officeDocument/2006/relationships/image" Target="../media/image75.emf"/><Relationship Id="rId4" Type="http://schemas.openxmlformats.org/officeDocument/2006/relationships/image" Target="../media/image74.emf"/></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gif"/><Relationship Id="rId1" Type="http://schemas.openxmlformats.org/officeDocument/2006/relationships/slideLayout" Target="../slideLayouts/slideLayout68.xml"/><Relationship Id="rId5" Type="http://schemas.openxmlformats.org/officeDocument/2006/relationships/image" Target="../media/image82.png"/><Relationship Id="rId4" Type="http://schemas.openxmlformats.org/officeDocument/2006/relationships/image" Target="../media/image81.gif"/></Relationships>
</file>

<file path=ppt/slides/_rels/slide3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chart" Target="../charts/chart1.xml"/><Relationship Id="rId1" Type="http://schemas.openxmlformats.org/officeDocument/2006/relationships/slideLayout" Target="../slideLayouts/slideLayout85.xml"/><Relationship Id="rId4" Type="http://schemas.openxmlformats.org/officeDocument/2006/relationships/image" Target="../media/image8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85.png"/><Relationship Id="rId1" Type="http://schemas.openxmlformats.org/officeDocument/2006/relationships/slideLayout" Target="../slideLayouts/slideLayout85.xml"/><Relationship Id="rId5" Type="http://schemas.openxmlformats.org/officeDocument/2006/relationships/image" Target="../media/image88.png"/><Relationship Id="rId4" Type="http://schemas.openxmlformats.org/officeDocument/2006/relationships/image" Target="../media/image87.png"/></Relationships>
</file>

<file path=ppt/slides/_rels/slide41.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74.xml"/></Relationships>
</file>

<file path=ppt/slides/_rels/slide42.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notesSlide" Target="../notesSlides/notesSlide3.xml"/><Relationship Id="rId7" Type="http://schemas.openxmlformats.org/officeDocument/2006/relationships/image" Target="../media/image15.jpg"/><Relationship Id="rId2" Type="http://schemas.openxmlformats.org/officeDocument/2006/relationships/slideLayout" Target="../slideLayouts/slideLayout20.xml"/><Relationship Id="rId1" Type="http://schemas.openxmlformats.org/officeDocument/2006/relationships/tags" Target="../tags/tag2.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png"/><Relationship Id="rId9" Type="http://schemas.openxmlformats.org/officeDocument/2006/relationships/image" Target="../media/image15.jpg"/></Relationships>
</file>

<file path=ppt/slides/_rels/slide6.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notesSlide" Target="../notesSlides/notesSlide4.xml"/><Relationship Id="rId7" Type="http://schemas.openxmlformats.org/officeDocument/2006/relationships/image" Target="../media/image19.jpeg"/><Relationship Id="rId2" Type="http://schemas.openxmlformats.org/officeDocument/2006/relationships/slideLayout" Target="../slideLayouts/slideLayout20.xml"/><Relationship Id="rId1" Type="http://schemas.openxmlformats.org/officeDocument/2006/relationships/tags" Target="../tags/tag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5.xml"/><Relationship Id="rId5" Type="http://schemas.openxmlformats.org/officeDocument/2006/relationships/slideLayout" Target="../slideLayouts/slideLayout33.xml"/><Relationship Id="rId4" Type="http://schemas.openxmlformats.org/officeDocument/2006/relationships/tags" Target="../tags/tag7.xml"/></Relationships>
</file>

<file path=ppt/slides/_rels/slide8.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tags" Target="../tags/tag10.xml"/><Relationship Id="rId7" Type="http://schemas.openxmlformats.org/officeDocument/2006/relationships/image" Target="../media/image21.jpg"/><Relationship Id="rId12" Type="http://schemas.openxmlformats.org/officeDocument/2006/relationships/image" Target="../media/image22.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6.xml"/><Relationship Id="rId11" Type="http://schemas.openxmlformats.org/officeDocument/2006/relationships/slide" Target="slide10.xml"/><Relationship Id="rId5" Type="http://schemas.openxmlformats.org/officeDocument/2006/relationships/slideLayout" Target="../slideLayouts/slideLayout33.xml"/><Relationship Id="rId10" Type="http://schemas.openxmlformats.org/officeDocument/2006/relationships/image" Target="../media/image22.jpg"/><Relationship Id="rId4" Type="http://schemas.openxmlformats.org/officeDocument/2006/relationships/tags" Target="../tags/tag11.xml"/><Relationship Id="rId9" Type="http://schemas.openxmlformats.org/officeDocument/2006/relationships/image" Target="../media/image21.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0.xml"/><Relationship Id="rId1" Type="http://schemas.openxmlformats.org/officeDocument/2006/relationships/tags" Target="../tags/tag12.xml"/><Relationship Id="rId4" Type="http://schemas.openxmlformats.org/officeDocument/2006/relationships/image" Target="../media/image23.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7D1D68BE-03C9-4580-A50D-1BDC7492BA43}"/>
              </a:ext>
            </a:extLst>
          </p:cNvPr>
          <p:cNvSpPr/>
          <p:nvPr/>
        </p:nvSpPr>
        <p:spPr>
          <a:xfrm>
            <a:off x="0" y="0"/>
            <a:ext cx="12192000" cy="6858000"/>
          </a:xfrm>
          <a:prstGeom prst="rect">
            <a:avLst/>
          </a:prstGeom>
          <a:solidFill>
            <a:schemeClr val="tx1">
              <a:alpha val="15000"/>
            </a:schemeClr>
          </a:solidFill>
          <a:ln>
            <a:noFill/>
          </a:ln>
          <a:effectLst>
            <a:outerShdw blurRad="165100" sx="103000" sy="103000" algn="c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endParaRPr>
          </a:p>
        </p:txBody>
      </p:sp>
      <p:sp>
        <p:nvSpPr>
          <p:cNvPr id="13" name="任意多边形: 形状 12">
            <a:extLst>
              <a:ext uri="{FF2B5EF4-FFF2-40B4-BE49-F238E27FC236}">
                <a16:creationId xmlns:a16="http://schemas.microsoft.com/office/drawing/2014/main" id="{5963ED91-A4A5-4241-83A3-8D783A4934CE}"/>
              </a:ext>
            </a:extLst>
          </p:cNvPr>
          <p:cNvSpPr/>
          <p:nvPr/>
        </p:nvSpPr>
        <p:spPr>
          <a:xfrm>
            <a:off x="0" y="1038491"/>
            <a:ext cx="12317104" cy="4959700"/>
          </a:xfrm>
          <a:custGeom>
            <a:avLst/>
            <a:gdLst>
              <a:gd name="connsiteX0" fmla="*/ 11286328 w 12192000"/>
              <a:gd name="connsiteY0" fmla="*/ 0 h 4110874"/>
              <a:gd name="connsiteX1" fmla="*/ 12192000 w 12192000"/>
              <a:gd name="connsiteY1" fmla="*/ 0 h 4110874"/>
              <a:gd name="connsiteX2" fmla="*/ 12192000 w 12192000"/>
              <a:gd name="connsiteY2" fmla="*/ 4110874 h 4110874"/>
              <a:gd name="connsiteX3" fmla="*/ 10111648 w 12192000"/>
              <a:gd name="connsiteY3" fmla="*/ 4110874 h 4110874"/>
              <a:gd name="connsiteX4" fmla="*/ 0 w 12192000"/>
              <a:gd name="connsiteY4" fmla="*/ 0 h 4110874"/>
              <a:gd name="connsiteX5" fmla="*/ 8788987 w 12192000"/>
              <a:gd name="connsiteY5" fmla="*/ 0 h 4110874"/>
              <a:gd name="connsiteX6" fmla="*/ 7614307 w 12192000"/>
              <a:gd name="connsiteY6" fmla="*/ 4110874 h 4110874"/>
              <a:gd name="connsiteX7" fmla="*/ 0 w 12192000"/>
              <a:gd name="connsiteY7" fmla="*/ 4110874 h 411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110874">
                <a:moveTo>
                  <a:pt x="11286328" y="0"/>
                </a:moveTo>
                <a:lnTo>
                  <a:pt x="12192000" y="0"/>
                </a:lnTo>
                <a:lnTo>
                  <a:pt x="12192000" y="4110874"/>
                </a:lnTo>
                <a:lnTo>
                  <a:pt x="10111648" y="4110874"/>
                </a:lnTo>
                <a:close/>
                <a:moveTo>
                  <a:pt x="0" y="0"/>
                </a:moveTo>
                <a:lnTo>
                  <a:pt x="8788987" y="0"/>
                </a:lnTo>
                <a:lnTo>
                  <a:pt x="7614307" y="4110874"/>
                </a:lnTo>
                <a:lnTo>
                  <a:pt x="0" y="4110874"/>
                </a:lnTo>
                <a:close/>
              </a:path>
            </a:pathLst>
          </a:custGeom>
          <a:solidFill>
            <a:schemeClr val="tx1">
              <a:alpha val="60000"/>
            </a:schemeClr>
          </a:solidFill>
          <a:ln>
            <a:noFill/>
          </a:ln>
          <a:effectLst>
            <a:outerShdw blurRad="165100" dist="38100" dir="15600000" sx="102000" sy="102000" algn="tl" rotWithShape="0">
              <a:prstClr val="black">
                <a:alpha val="4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prstClr val="white"/>
              </a:solidFill>
              <a:latin typeface="等线" panose="020F0502020204030204"/>
              <a:ea typeface="等线" panose="02010600030101010101" pitchFamily="2" charset="-122"/>
            </a:endParaRPr>
          </a:p>
        </p:txBody>
      </p:sp>
      <p:sp>
        <p:nvSpPr>
          <p:cNvPr id="16" name="文本框 15">
            <a:extLst>
              <a:ext uri="{FF2B5EF4-FFF2-40B4-BE49-F238E27FC236}">
                <a16:creationId xmlns:a16="http://schemas.microsoft.com/office/drawing/2014/main" id="{8B03C36B-91C4-4E90-99C9-CAD7EA4A4906}"/>
              </a:ext>
            </a:extLst>
          </p:cNvPr>
          <p:cNvSpPr txBox="1"/>
          <p:nvPr/>
        </p:nvSpPr>
        <p:spPr>
          <a:xfrm>
            <a:off x="180054" y="1465719"/>
            <a:ext cx="8988495" cy="1508105"/>
          </a:xfrm>
          <a:prstGeom prst="rect">
            <a:avLst/>
          </a:prstGeom>
          <a:noFill/>
        </p:spPr>
        <p:txBody>
          <a:bodyPr wrap="square" rtlCol="0">
            <a:spAutoFit/>
          </a:bodyPr>
          <a:lstStyle/>
          <a:p>
            <a:pPr lvl="0"/>
            <a:r>
              <a:rPr lang="en-US" altLang="zh-CN" sz="4600" b="1"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RF GUN, LASER &amp; ELECTRON BEAM </a:t>
            </a:r>
            <a:r>
              <a:rPr kumimoji="0" lang="en-US" altLang="zh-CN" sz="4600" b="1"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COMMISSIONING</a:t>
            </a:r>
            <a:endParaRPr kumimoji="0" lang="zh-CN" altLang="en-US" sz="4600" dirty="0">
              <a:solidFill>
                <a:prstClr val="black"/>
              </a:solidFill>
              <a:latin typeface="等线" panose="020F0502020204030204"/>
              <a:ea typeface="等线" panose="02010600030101010101" pitchFamily="2" charset="-122"/>
            </a:endParaRPr>
          </a:p>
        </p:txBody>
      </p:sp>
      <p:sp>
        <p:nvSpPr>
          <p:cNvPr id="8" name="タイトル 1"/>
          <p:cNvSpPr txBox="1">
            <a:spLocks/>
          </p:cNvSpPr>
          <p:nvPr/>
        </p:nvSpPr>
        <p:spPr>
          <a:xfrm>
            <a:off x="180054" y="3598932"/>
            <a:ext cx="9491720" cy="56423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algn="l"/>
            <a:r>
              <a:rPr lang="en-US" altLang="zh-CN" sz="28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The 23rd KEKB Accelerator Review Committee</a:t>
            </a:r>
          </a:p>
        </p:txBody>
      </p:sp>
      <p:sp>
        <p:nvSpPr>
          <p:cNvPr id="10" name="テキスト ボックス 9"/>
          <p:cNvSpPr txBox="1"/>
          <p:nvPr/>
        </p:nvSpPr>
        <p:spPr>
          <a:xfrm>
            <a:off x="180054" y="4479660"/>
            <a:ext cx="7264021" cy="1600438"/>
          </a:xfrm>
          <a:prstGeom prst="rect">
            <a:avLst/>
          </a:prstGeom>
          <a:noFill/>
        </p:spPr>
        <p:txBody>
          <a:bodyPr wrap="square" rtlCol="0">
            <a:spAutoFit/>
          </a:bodyPr>
          <a:lstStyle/>
          <a:p>
            <a:r>
              <a:rPr lang="en-US" altLang="ja-JP" sz="28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Rui Zhang  2019.07.09</a:t>
            </a:r>
          </a:p>
          <a:p>
            <a:endParaRPr lang="en-US" altLang="ja-JP" sz="14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a:p>
            <a:r>
              <a:rPr lang="en-US" altLang="ja-JP" sz="28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Accelerator Laboratory Division V, Injector G</a:t>
            </a:r>
          </a:p>
          <a:p>
            <a:endParaRPr lang="en-US" altLang="ja-JP" sz="2800" b="1" dirty="0">
              <a:solidFill>
                <a:srgbClr val="00B0F0"/>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3313310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ボックス 6"/>
          <p:cNvSpPr txBox="1"/>
          <p:nvPr/>
        </p:nvSpPr>
        <p:spPr>
          <a:xfrm>
            <a:off x="4052295" y="1080632"/>
            <a:ext cx="4268053" cy="3484330"/>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dirty="0">
              <a:ln>
                <a:noFill/>
              </a:ln>
              <a:solidFill>
                <a:prstClr val="black"/>
              </a:solidFill>
              <a:effectLst/>
              <a:uLnTx/>
              <a:uFillTx/>
              <a:latin typeface="Times New Roman" panose="02020603050405020304" pitchFamily="18" charset="0"/>
              <a:ea typeface="ＭＳ Ｐゴシック" panose="020B0600070205080204" pitchFamily="34" charset="-128"/>
              <a:cs typeface="Times New Roman" panose="02020603050405020304" pitchFamily="18" charset="0"/>
            </a:endParaRPr>
          </a:p>
        </p:txBody>
      </p:sp>
      <p:sp>
        <p:nvSpPr>
          <p:cNvPr id="7" name="テキスト ボックス 1"/>
          <p:cNvSpPr txBox="1"/>
          <p:nvPr/>
        </p:nvSpPr>
        <p:spPr>
          <a:xfrm>
            <a:off x="501115" y="1080631"/>
            <a:ext cx="3488074" cy="3484330"/>
          </a:xfrm>
          <a:prstGeom prst="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ＭＳ Ｐゴシック" panose="020B0600070205080204" pitchFamily="34" charset="-128"/>
              <a:cs typeface="Times New Roman" panose="02020603050405020304" pitchFamily="18" charset="0"/>
            </a:endParaRPr>
          </a:p>
        </p:txBody>
      </p:sp>
      <p:sp>
        <p:nvSpPr>
          <p:cNvPr id="8" name="正方形/長方形 7"/>
          <p:cNvSpPr/>
          <p:nvPr/>
        </p:nvSpPr>
        <p:spPr>
          <a:xfrm>
            <a:off x="2775732" y="2016735"/>
            <a:ext cx="1084105" cy="619048"/>
          </a:xfrm>
          <a:prstGeom prst="rect">
            <a:avLst/>
          </a:prstGeom>
          <a:solidFill>
            <a:srgbClr val="FFFF00"/>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9" name="正方形/長方形 8"/>
          <p:cNvSpPr/>
          <p:nvPr/>
        </p:nvSpPr>
        <p:spPr>
          <a:xfrm rot="2700000">
            <a:off x="3320645" y="2414666"/>
            <a:ext cx="68366" cy="230736"/>
          </a:xfrm>
          <a:prstGeom prst="rect">
            <a:avLst/>
          </a:prstGeom>
          <a:solidFill>
            <a:srgbClr val="4F81BD">
              <a:lumMod val="20000"/>
              <a:lumOff val="80000"/>
            </a:srgbClr>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10" name="正方形/長方形 9"/>
          <p:cNvSpPr/>
          <p:nvPr/>
        </p:nvSpPr>
        <p:spPr>
          <a:xfrm rot="18900000" flipV="1">
            <a:off x="3320644" y="2019433"/>
            <a:ext cx="68366" cy="230736"/>
          </a:xfrm>
          <a:prstGeom prst="rect">
            <a:avLst/>
          </a:prstGeom>
          <a:solidFill>
            <a:srgbClr val="4F81BD">
              <a:lumMod val="20000"/>
              <a:lumOff val="80000"/>
            </a:srgbClr>
          </a:solidFill>
          <a:ln w="25400" cap="flat" cmpd="sng" algn="ctr">
            <a:solidFill>
              <a:srgbClr val="4F81BD">
                <a:shade val="50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cxnSp>
        <p:nvCxnSpPr>
          <p:cNvPr id="11" name="直線矢印コネクタ 10"/>
          <p:cNvCxnSpPr>
            <a:endCxn id="10" idx="1"/>
          </p:cNvCxnSpPr>
          <p:nvPr/>
        </p:nvCxnSpPr>
        <p:spPr>
          <a:xfrm flipV="1">
            <a:off x="615492" y="2158972"/>
            <a:ext cx="2715164" cy="4111"/>
          </a:xfrm>
          <a:prstGeom prst="straightConnector1">
            <a:avLst/>
          </a:prstGeom>
          <a:noFill/>
          <a:ln w="38100" cap="flat" cmpd="sng" algn="ctr">
            <a:solidFill>
              <a:srgbClr val="00B050"/>
            </a:solidFill>
            <a:prstDash val="solid"/>
            <a:headEnd type="none" w="med" len="med"/>
            <a:tailEnd type="triangle" w="med" len="med"/>
          </a:ln>
          <a:effectLst/>
        </p:spPr>
      </p:cxnSp>
      <p:cxnSp>
        <p:nvCxnSpPr>
          <p:cNvPr id="12" name="直線矢印コネクタ 11"/>
          <p:cNvCxnSpPr/>
          <p:nvPr/>
        </p:nvCxnSpPr>
        <p:spPr>
          <a:xfrm flipH="1" flipV="1">
            <a:off x="1873828" y="2474844"/>
            <a:ext cx="1440160" cy="4112"/>
          </a:xfrm>
          <a:prstGeom prst="straightConnector1">
            <a:avLst/>
          </a:prstGeom>
          <a:noFill/>
          <a:ln w="38100" cap="flat" cmpd="sng" algn="ctr">
            <a:solidFill>
              <a:srgbClr val="00B050"/>
            </a:solidFill>
            <a:prstDash val="solid"/>
            <a:headEnd type="none" w="med" len="med"/>
            <a:tailEnd type="triangle" w="med" len="med"/>
          </a:ln>
          <a:effectLst/>
        </p:spPr>
      </p:cxnSp>
      <p:cxnSp>
        <p:nvCxnSpPr>
          <p:cNvPr id="13" name="直線矢印コネクタ 12"/>
          <p:cNvCxnSpPr/>
          <p:nvPr/>
        </p:nvCxnSpPr>
        <p:spPr>
          <a:xfrm>
            <a:off x="3312186" y="2158972"/>
            <a:ext cx="1802" cy="315872"/>
          </a:xfrm>
          <a:prstGeom prst="straightConnector1">
            <a:avLst/>
          </a:prstGeom>
          <a:noFill/>
          <a:ln w="38100" cap="flat" cmpd="sng" algn="ctr">
            <a:solidFill>
              <a:srgbClr val="00B050"/>
            </a:solidFill>
            <a:prstDash val="solid"/>
            <a:headEnd type="none" w="med" len="med"/>
            <a:tailEnd type="triangle" w="med" len="med"/>
          </a:ln>
          <a:effectLst/>
        </p:spPr>
      </p:cxnSp>
      <p:sp>
        <p:nvSpPr>
          <p:cNvPr id="14" name="Rectangle 16"/>
          <p:cNvSpPr>
            <a:spLocks noChangeArrowheads="1"/>
          </p:cNvSpPr>
          <p:nvPr/>
        </p:nvSpPr>
        <p:spPr bwMode="auto">
          <a:xfrm rot="18789598" flipV="1">
            <a:off x="1701769" y="2431921"/>
            <a:ext cx="295533" cy="61579"/>
          </a:xfrm>
          <a:prstGeom prst="rect">
            <a:avLst/>
          </a:prstGeom>
          <a:solidFill>
            <a:srgbClr val="C0C0C0">
              <a:alpha val="50195"/>
            </a:srgbClr>
          </a:solidFill>
          <a:ln w="19050">
            <a:solidFill>
              <a:srgbClr val="000000"/>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sp>
        <p:nvSpPr>
          <p:cNvPr id="15" name="Text Box 25"/>
          <p:cNvSpPr txBox="1">
            <a:spLocks noChangeArrowheads="1"/>
          </p:cNvSpPr>
          <p:nvPr/>
        </p:nvSpPr>
        <p:spPr bwMode="auto">
          <a:xfrm>
            <a:off x="1683626" y="3482956"/>
            <a:ext cx="418036" cy="428508"/>
          </a:xfrm>
          <a:prstGeom prst="rect">
            <a:avLst/>
          </a:prstGeom>
          <a:solidFill>
            <a:srgbClr val="4F81BD">
              <a:lumMod val="40000"/>
              <a:lumOff val="60000"/>
            </a:srgbClr>
          </a:solidFill>
          <a:ln w="38100">
            <a:solidFill>
              <a:srgbClr val="000000"/>
            </a:solidFill>
            <a:miter lim="800000"/>
            <a:headEnd/>
            <a:tailEnd/>
          </a:ln>
        </p:spPr>
        <p:txBody>
          <a:bodyPr lIns="74295" tIns="8890" rIns="74295" bIns="889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ja-JP" altLang="ja-JP" sz="1600" b="1" i="0" u="none" strike="noStrike" kern="0" cap="none" spc="0" normalizeH="0" baseline="0" noProof="0" dirty="0">
              <a:ln>
                <a:noFill/>
              </a:ln>
              <a:solidFill>
                <a:prstClr val="black"/>
              </a:solidFill>
              <a:effectLst/>
              <a:uLnTx/>
              <a:uFillTx/>
              <a:latin typeface="Times New Roman" pitchFamily="18" charset="0"/>
              <a:ea typeface="ＭＳ 明朝" pitchFamily="17" charset="-128"/>
              <a:cs typeface="Times New Roman" pitchFamily="18" charset="0"/>
            </a:endParaRPr>
          </a:p>
        </p:txBody>
      </p:sp>
      <p:cxnSp>
        <p:nvCxnSpPr>
          <p:cNvPr id="16" name="AutoShape 34"/>
          <p:cNvCxnSpPr>
            <a:cxnSpLocks noChangeShapeType="1"/>
          </p:cNvCxnSpPr>
          <p:nvPr/>
        </p:nvCxnSpPr>
        <p:spPr bwMode="auto">
          <a:xfrm>
            <a:off x="1683626" y="3479441"/>
            <a:ext cx="418036" cy="432023"/>
          </a:xfrm>
          <a:prstGeom prst="straightConnector1">
            <a:avLst/>
          </a:prstGeom>
          <a:noFill/>
          <a:ln w="38100">
            <a:solidFill>
              <a:srgbClr val="000000"/>
            </a:solidFill>
            <a:round/>
            <a:headEnd/>
            <a:tailEnd/>
          </a:ln>
        </p:spPr>
      </p:cxnSp>
      <p:cxnSp>
        <p:nvCxnSpPr>
          <p:cNvPr id="17" name="直線矢印コネクタ 16"/>
          <p:cNvCxnSpPr/>
          <p:nvPr/>
        </p:nvCxnSpPr>
        <p:spPr>
          <a:xfrm>
            <a:off x="1892644" y="2474844"/>
            <a:ext cx="0" cy="1220310"/>
          </a:xfrm>
          <a:prstGeom prst="straightConnector1">
            <a:avLst/>
          </a:prstGeom>
          <a:noFill/>
          <a:ln w="38100" cap="flat" cmpd="sng" algn="ctr">
            <a:solidFill>
              <a:srgbClr val="00B050"/>
            </a:solidFill>
            <a:prstDash val="solid"/>
            <a:headEnd type="none" w="med" len="med"/>
            <a:tailEnd type="triangle" w="med" len="med"/>
          </a:ln>
          <a:effectLst/>
        </p:spPr>
      </p:cxnSp>
      <p:sp>
        <p:nvSpPr>
          <p:cNvPr id="18" name="正方形/長方形 17"/>
          <p:cNvSpPr/>
          <p:nvPr/>
        </p:nvSpPr>
        <p:spPr>
          <a:xfrm rot="10800000">
            <a:off x="1703058" y="3084999"/>
            <a:ext cx="396486" cy="45719"/>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19" name="正方形/長方形 18"/>
          <p:cNvSpPr/>
          <p:nvPr/>
        </p:nvSpPr>
        <p:spPr>
          <a:xfrm rot="16200000">
            <a:off x="1166794" y="3686618"/>
            <a:ext cx="396486" cy="45719"/>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20" name="Rectangle 16"/>
          <p:cNvSpPr>
            <a:spLocks noChangeArrowheads="1"/>
          </p:cNvSpPr>
          <p:nvPr/>
        </p:nvSpPr>
        <p:spPr bwMode="auto">
          <a:xfrm flipV="1">
            <a:off x="2977352" y="3513998"/>
            <a:ext cx="1498638" cy="353657"/>
          </a:xfrm>
          <a:prstGeom prst="rect">
            <a:avLst/>
          </a:prstGeom>
          <a:solidFill>
            <a:srgbClr val="FFC000">
              <a:alpha val="50195"/>
            </a:srgbClr>
          </a:solidFill>
          <a:ln w="6350">
            <a:solidFill>
              <a:sysClr val="windowText" lastClr="000000"/>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sp>
        <p:nvSpPr>
          <p:cNvPr id="21" name="テキスト ボックス 23"/>
          <p:cNvSpPr txBox="1"/>
          <p:nvPr/>
        </p:nvSpPr>
        <p:spPr>
          <a:xfrm>
            <a:off x="598770" y="1749466"/>
            <a:ext cx="198150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2nd line</a:t>
            </a:r>
            <a:endParaRPr kumimoji="1" lang="ja-JP" altLang="en-US"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22" name="テキスト ボックス 23"/>
          <p:cNvSpPr txBox="1"/>
          <p:nvPr/>
        </p:nvSpPr>
        <p:spPr>
          <a:xfrm>
            <a:off x="751887" y="2927493"/>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HWP</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23" name="テキスト ボックス 23"/>
          <p:cNvSpPr txBox="1"/>
          <p:nvPr/>
        </p:nvSpPr>
        <p:spPr>
          <a:xfrm>
            <a:off x="613322" y="3850405"/>
            <a:ext cx="1354005" cy="30777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Times New Roman" pitchFamily="18" charset="0"/>
              </a:rPr>
              <a:t>HWP</a:t>
            </a:r>
            <a:endParaRPr kumimoji="1" lang="ja-JP" altLang="en-US" sz="1400" b="0" i="0" u="none" strike="noStrike" kern="1200" cap="none" spc="0" normalizeH="0" baseline="0" noProof="0" dirty="0">
              <a:ln>
                <a:noFill/>
              </a:ln>
              <a:solidFill>
                <a:prstClr val="black"/>
              </a:solidFill>
              <a:effectLst/>
              <a:uLnTx/>
              <a:uFillTx/>
              <a:latin typeface="等线" panose="020F0502020204030204"/>
              <a:ea typeface="游ゴシック" panose="020B0400000000000000" pitchFamily="34" charset="-128"/>
              <a:cs typeface="Times New Roman" pitchFamily="18" charset="0"/>
            </a:endParaRPr>
          </a:p>
        </p:txBody>
      </p:sp>
      <p:sp>
        <p:nvSpPr>
          <p:cNvPr id="24" name="テキスト ボックス 23"/>
          <p:cNvSpPr txBox="1"/>
          <p:nvPr/>
        </p:nvSpPr>
        <p:spPr>
          <a:xfrm>
            <a:off x="1234594" y="3861397"/>
            <a:ext cx="13540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Polarizer</a:t>
            </a:r>
            <a:endParaRPr kumimoji="1" lang="ja-JP"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25" name="テキスト ボックス 23"/>
          <p:cNvSpPr txBox="1"/>
          <p:nvPr/>
        </p:nvSpPr>
        <p:spPr>
          <a:xfrm>
            <a:off x="2635183" y="2707517"/>
            <a:ext cx="1354005" cy="338554"/>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Delay line</a:t>
            </a:r>
            <a:endParaRPr kumimoji="1" lang="ja-JP"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cxnSp>
        <p:nvCxnSpPr>
          <p:cNvPr id="26" name="直線コネクタ 25"/>
          <p:cNvCxnSpPr/>
          <p:nvPr/>
        </p:nvCxnSpPr>
        <p:spPr>
          <a:xfrm>
            <a:off x="3020348" y="2736815"/>
            <a:ext cx="638425" cy="0"/>
          </a:xfrm>
          <a:prstGeom prst="line">
            <a:avLst/>
          </a:prstGeom>
          <a:noFill/>
          <a:ln w="19050" cap="flat" cmpd="sng" algn="ctr">
            <a:solidFill>
              <a:sysClr val="windowText" lastClr="000000"/>
            </a:solidFill>
            <a:prstDash val="solid"/>
            <a:headEnd type="stealth" w="lg" len="lg"/>
            <a:tailEnd type="stealth" w="lg" len="lg"/>
          </a:ln>
          <a:effectLst/>
        </p:spPr>
      </p:cxnSp>
      <p:sp>
        <p:nvSpPr>
          <p:cNvPr id="27" name="テキスト ボックス 23"/>
          <p:cNvSpPr txBox="1"/>
          <p:nvPr/>
        </p:nvSpPr>
        <p:spPr>
          <a:xfrm>
            <a:off x="2244785" y="3825523"/>
            <a:ext cx="1781077" cy="584775"/>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000000"/>
                </a:solidFill>
                <a:latin typeface="Segoe UI Light" panose="020B0502040204020203" pitchFamily="34" charset="0"/>
                <a:ea typeface="等线" panose="02010600030101010101" pitchFamily="2" charset="-122"/>
                <a:cs typeface="Segoe UI Light" panose="020B0502040204020203" pitchFamily="34" charset="0"/>
              </a:rPr>
              <a:t>11</a:t>
            </a:r>
            <a:r>
              <a:rPr kumimoji="1" lang="en-US" altLang="zh-CN" sz="1600" b="1" i="0" u="none" strike="noStrike" kern="1200" cap="none" spc="0" normalizeH="0" baseline="0" noProof="0" dirty="0">
                <a:ln>
                  <a:noFill/>
                </a:ln>
                <a:solidFill>
                  <a:srgbClr val="000000"/>
                </a:solidFill>
                <a:effectLst/>
                <a:uLnTx/>
                <a:uFillTx/>
                <a:latin typeface="Segoe UI Light" panose="020B0502040204020203" pitchFamily="34" charset="0"/>
                <a:ea typeface="等线" panose="02010600030101010101" pitchFamily="2" charset="-122"/>
                <a:cs typeface="Segoe UI Light" panose="020B0502040204020203" pitchFamily="34" charset="0"/>
              </a:rPr>
              <a:t> m long</a:t>
            </a:r>
            <a:endParaRPr kumimoji="1" lang="ja-JP" altLang="en-US" sz="1600" b="1" i="0" u="none" strike="noStrike" kern="1200" cap="none" spc="0" normalizeH="0" baseline="0" noProof="0" dirty="0">
              <a:ln>
                <a:noFill/>
              </a:ln>
              <a:solidFill>
                <a:srgbClr val="000000"/>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srgbClr val="000000"/>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transporting line</a:t>
            </a:r>
            <a:endParaRPr kumimoji="1" lang="ja-JP" altLang="en-US" sz="1600" b="1" i="0" u="none" strike="noStrike" kern="1200" cap="none" spc="0" normalizeH="0" baseline="0" noProof="0" dirty="0">
              <a:ln>
                <a:noFill/>
              </a:ln>
              <a:solidFill>
                <a:srgbClr val="000000"/>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28" name="Text Box 25"/>
          <p:cNvSpPr txBox="1">
            <a:spLocks noChangeArrowheads="1"/>
          </p:cNvSpPr>
          <p:nvPr/>
        </p:nvSpPr>
        <p:spPr bwMode="auto">
          <a:xfrm>
            <a:off x="4538565" y="3477986"/>
            <a:ext cx="418036" cy="428508"/>
          </a:xfrm>
          <a:prstGeom prst="rect">
            <a:avLst/>
          </a:prstGeom>
          <a:solidFill>
            <a:srgbClr val="4F81BD">
              <a:lumMod val="40000"/>
              <a:lumOff val="60000"/>
            </a:srgbClr>
          </a:solidFill>
          <a:ln w="38100">
            <a:solidFill>
              <a:srgbClr val="000000"/>
            </a:solidFill>
            <a:miter lim="800000"/>
            <a:headEnd/>
            <a:tailEnd/>
          </a:ln>
        </p:spPr>
        <p:txBody>
          <a:bodyPr lIns="74295" tIns="8890" rIns="74295" bIns="889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ja-JP" altLang="ja-JP" sz="1600" b="1" i="0" u="none" strike="noStrike" kern="0" cap="none" spc="0" normalizeH="0" baseline="0" noProof="0" dirty="0">
              <a:ln>
                <a:noFill/>
              </a:ln>
              <a:solidFill>
                <a:prstClr val="black"/>
              </a:solidFill>
              <a:effectLst/>
              <a:uLnTx/>
              <a:uFillTx/>
              <a:latin typeface="Times New Roman" pitchFamily="18" charset="0"/>
              <a:ea typeface="ＭＳ 明朝" pitchFamily="17" charset="-128"/>
              <a:cs typeface="Times New Roman" pitchFamily="18" charset="0"/>
            </a:endParaRPr>
          </a:p>
        </p:txBody>
      </p:sp>
      <p:cxnSp>
        <p:nvCxnSpPr>
          <p:cNvPr id="29" name="AutoShape 34"/>
          <p:cNvCxnSpPr>
            <a:cxnSpLocks noChangeShapeType="1"/>
          </p:cNvCxnSpPr>
          <p:nvPr/>
        </p:nvCxnSpPr>
        <p:spPr bwMode="auto">
          <a:xfrm flipV="1">
            <a:off x="4542893" y="3498322"/>
            <a:ext cx="400216" cy="409565"/>
          </a:xfrm>
          <a:prstGeom prst="straightConnector1">
            <a:avLst/>
          </a:prstGeom>
          <a:noFill/>
          <a:ln w="38100">
            <a:solidFill>
              <a:srgbClr val="000000"/>
            </a:solidFill>
            <a:round/>
            <a:headEnd/>
            <a:tailEnd/>
          </a:ln>
        </p:spPr>
      </p:cxnSp>
      <p:sp>
        <p:nvSpPr>
          <p:cNvPr id="30" name="テキスト ボックス 23"/>
          <p:cNvSpPr txBox="1"/>
          <p:nvPr/>
        </p:nvSpPr>
        <p:spPr>
          <a:xfrm>
            <a:off x="1029589" y="1083684"/>
            <a:ext cx="2430987" cy="3693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A1 ground laser hut</a:t>
            </a:r>
            <a:endParaRPr kumimoji="1" lang="ja-JP" altLang="en-US"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cxnSp>
        <p:nvCxnSpPr>
          <p:cNvPr id="31" name="直線矢印コネクタ 30"/>
          <p:cNvCxnSpPr>
            <a:endCxn id="33" idx="1"/>
          </p:cNvCxnSpPr>
          <p:nvPr/>
        </p:nvCxnSpPr>
        <p:spPr>
          <a:xfrm flipV="1">
            <a:off x="661220" y="3692850"/>
            <a:ext cx="4734353" cy="6416"/>
          </a:xfrm>
          <a:prstGeom prst="straightConnector1">
            <a:avLst/>
          </a:prstGeom>
          <a:noFill/>
          <a:ln w="38100" cap="flat" cmpd="sng" algn="ctr">
            <a:solidFill>
              <a:srgbClr val="00B050"/>
            </a:solidFill>
            <a:prstDash val="solid"/>
            <a:headEnd type="none" w="med" len="med"/>
            <a:tailEnd type="triangle" w="med" len="med"/>
          </a:ln>
          <a:effectLst/>
        </p:spPr>
      </p:cxnSp>
      <p:cxnSp>
        <p:nvCxnSpPr>
          <p:cNvPr id="32" name="直線矢印コネクタ 31"/>
          <p:cNvCxnSpPr/>
          <p:nvPr/>
        </p:nvCxnSpPr>
        <p:spPr>
          <a:xfrm flipV="1">
            <a:off x="4742102" y="2707517"/>
            <a:ext cx="0" cy="967636"/>
          </a:xfrm>
          <a:prstGeom prst="straightConnector1">
            <a:avLst/>
          </a:prstGeom>
          <a:noFill/>
          <a:ln w="38100" cap="flat" cmpd="sng" algn="ctr">
            <a:solidFill>
              <a:srgbClr val="00B050"/>
            </a:solidFill>
            <a:prstDash val="solid"/>
            <a:headEnd type="none" w="med" len="med"/>
            <a:tailEnd type="triangle" w="med" len="med"/>
          </a:ln>
          <a:effectLst/>
        </p:spPr>
      </p:cxnSp>
      <p:sp>
        <p:nvSpPr>
          <p:cNvPr id="33" name="Text Box 25"/>
          <p:cNvSpPr txBox="1">
            <a:spLocks noChangeArrowheads="1"/>
          </p:cNvSpPr>
          <p:nvPr/>
        </p:nvSpPr>
        <p:spPr bwMode="auto">
          <a:xfrm>
            <a:off x="5395573" y="3523568"/>
            <a:ext cx="307337" cy="338564"/>
          </a:xfrm>
          <a:prstGeom prst="rect">
            <a:avLst/>
          </a:prstGeom>
          <a:solidFill>
            <a:srgbClr val="4F81BD">
              <a:lumMod val="40000"/>
              <a:lumOff val="60000"/>
            </a:srgbClr>
          </a:solidFill>
          <a:ln w="38100">
            <a:solidFill>
              <a:srgbClr val="000000"/>
            </a:solidFill>
            <a:miter lim="800000"/>
            <a:headEnd/>
            <a:tailEnd/>
          </a:ln>
        </p:spPr>
        <p:txBody>
          <a:bodyPr lIns="74295" tIns="8890" rIns="74295" bIns="8890" anchor="ctr"/>
          <a:lstStyle/>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ja-JP" altLang="ja-JP" sz="1600" b="1" i="0" u="none" strike="noStrike" kern="0" cap="none" spc="0" normalizeH="0" baseline="0" noProof="0" dirty="0">
              <a:ln>
                <a:noFill/>
              </a:ln>
              <a:solidFill>
                <a:prstClr val="black"/>
              </a:solidFill>
              <a:effectLst/>
              <a:uLnTx/>
              <a:uFillTx/>
              <a:latin typeface="Times New Roman" pitchFamily="18" charset="0"/>
              <a:ea typeface="ＭＳ 明朝" pitchFamily="17" charset="-128"/>
              <a:cs typeface="Times New Roman" pitchFamily="18" charset="0"/>
            </a:endParaRPr>
          </a:p>
        </p:txBody>
      </p:sp>
      <p:sp>
        <p:nvSpPr>
          <p:cNvPr id="34" name="テキスト ボックス 23"/>
          <p:cNvSpPr txBox="1"/>
          <p:nvPr/>
        </p:nvSpPr>
        <p:spPr>
          <a:xfrm>
            <a:off x="4943109" y="1095056"/>
            <a:ext cx="2502923" cy="369332"/>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Tunnel RF gun box</a:t>
            </a:r>
            <a:endParaRPr kumimoji="1" lang="ja-JP" altLang="en-US" sz="18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35" name="テキスト ボックス 23"/>
          <p:cNvSpPr txBox="1"/>
          <p:nvPr/>
        </p:nvSpPr>
        <p:spPr>
          <a:xfrm>
            <a:off x="4895659" y="3872614"/>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BBO</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36" name="テキスト ボックス 3"/>
          <p:cNvSpPr txBox="1"/>
          <p:nvPr/>
        </p:nvSpPr>
        <p:spPr>
          <a:xfrm>
            <a:off x="6439612" y="3042580"/>
            <a:ext cx="1410369" cy="369332"/>
          </a:xfrm>
          <a:prstGeom prst="rect">
            <a:avLst/>
          </a:prstGeom>
          <a:solidFill>
            <a:srgbClr val="EEECE1">
              <a:lumMod val="75000"/>
            </a:srgbClr>
          </a:soli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0</a:t>
            </a:r>
            <a:r>
              <a:rPr kumimoji="0" lang="en-US" altLang="zh-CN" sz="1800" b="1" i="0" u="none" strike="noStrike" kern="0" cap="none" spc="0" normalizeH="0" baseline="3000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o</a:t>
            </a:r>
            <a:r>
              <a:rPr kumimoji="0" lang="en-US" altLang="zh-CN" sz="1800" b="1" i="0" u="none" strike="noStrike" kern="0" cap="none" spc="0" normalizeH="0" baseline="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 RF gun</a:t>
            </a:r>
            <a:endParaRPr kumimoji="0" lang="ja-JP" altLang="en-US" sz="1800" b="1" i="0" u="none" strike="noStrike" kern="0" cap="none" spc="0" normalizeH="0" baseline="0" noProof="0" dirty="0">
              <a:ln>
                <a:noFill/>
              </a:ln>
              <a:solidFill>
                <a:prstClr val="black"/>
              </a:solidFill>
              <a:effectLst/>
              <a:uLnTx/>
              <a:uFillTx/>
              <a:latin typeface="Segoe UI Light" panose="020B0502040204020203" pitchFamily="34" charset="0"/>
              <a:ea typeface="ＭＳ Ｐゴシック" panose="020B0600070205080204" pitchFamily="34" charset="-128"/>
              <a:cs typeface="Segoe UI Light" panose="020B0502040204020203" pitchFamily="34" charset="0"/>
            </a:endParaRPr>
          </a:p>
        </p:txBody>
      </p:sp>
      <p:sp>
        <p:nvSpPr>
          <p:cNvPr id="37" name="テキスト ボックス 3"/>
          <p:cNvSpPr txBox="1"/>
          <p:nvPr/>
        </p:nvSpPr>
        <p:spPr>
          <a:xfrm>
            <a:off x="6418897" y="1584687"/>
            <a:ext cx="1410369" cy="369332"/>
          </a:xfrm>
          <a:prstGeom prst="rect">
            <a:avLst/>
          </a:prstGeom>
          <a:solidFill>
            <a:srgbClr val="EEECE1">
              <a:lumMod val="75000"/>
            </a:srgbClr>
          </a:soli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90</a:t>
            </a:r>
            <a:r>
              <a:rPr kumimoji="0" lang="en-US" altLang="zh-CN" sz="1800" b="1" i="0" u="none" strike="noStrike" kern="0" cap="none" spc="0" normalizeH="0" baseline="3000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o</a:t>
            </a:r>
            <a:r>
              <a:rPr kumimoji="0" lang="en-US" altLang="zh-CN" sz="1800" b="1" i="0" u="none" strike="noStrike" kern="0" cap="none" spc="0" normalizeH="0" baseline="0" noProof="0" dirty="0">
                <a:ln>
                  <a:noFill/>
                </a:ln>
                <a:solidFill>
                  <a:prstClr val="black"/>
                </a:solidFill>
                <a:effectLst/>
                <a:uLnTx/>
                <a:uFillTx/>
                <a:latin typeface="Segoe UI Light" panose="020B0502040204020203" pitchFamily="34" charset="0"/>
                <a:ea typeface="宋体" panose="02010600030101010101" pitchFamily="2" charset="-122"/>
                <a:cs typeface="Segoe UI Light" panose="020B0502040204020203" pitchFamily="34" charset="0"/>
              </a:rPr>
              <a:t> RF gun</a:t>
            </a:r>
            <a:endParaRPr kumimoji="0" lang="ja-JP" altLang="en-US" sz="1800" b="1" i="0" u="none" strike="noStrike" kern="0" cap="none" spc="0" normalizeH="0" baseline="0" noProof="0" dirty="0">
              <a:ln>
                <a:noFill/>
              </a:ln>
              <a:solidFill>
                <a:prstClr val="black"/>
              </a:solidFill>
              <a:effectLst/>
              <a:uLnTx/>
              <a:uFillTx/>
              <a:latin typeface="Segoe UI Light" panose="020B0502040204020203" pitchFamily="34" charset="0"/>
              <a:ea typeface="ＭＳ Ｐゴシック" panose="020B0600070205080204" pitchFamily="34" charset="-128"/>
              <a:cs typeface="Segoe UI Light" panose="020B0502040204020203" pitchFamily="34" charset="0"/>
            </a:endParaRPr>
          </a:p>
        </p:txBody>
      </p:sp>
      <p:sp>
        <p:nvSpPr>
          <p:cNvPr id="38" name="Rectangle 16"/>
          <p:cNvSpPr>
            <a:spLocks noChangeArrowheads="1"/>
          </p:cNvSpPr>
          <p:nvPr/>
        </p:nvSpPr>
        <p:spPr bwMode="auto">
          <a:xfrm rot="18789598" flipV="1">
            <a:off x="4576168" y="2642710"/>
            <a:ext cx="295533" cy="61579"/>
          </a:xfrm>
          <a:prstGeom prst="rect">
            <a:avLst/>
          </a:prstGeom>
          <a:solidFill>
            <a:srgbClr val="C0C0C0">
              <a:alpha val="50195"/>
            </a:srgbClr>
          </a:solidFill>
          <a:ln w="19050">
            <a:solidFill>
              <a:srgbClr val="000000"/>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cxnSp>
        <p:nvCxnSpPr>
          <p:cNvPr id="39" name="直線矢印コネクタ 38"/>
          <p:cNvCxnSpPr>
            <a:endCxn id="40" idx="1"/>
          </p:cNvCxnSpPr>
          <p:nvPr/>
        </p:nvCxnSpPr>
        <p:spPr>
          <a:xfrm>
            <a:off x="4731726" y="2724243"/>
            <a:ext cx="1100392" cy="0"/>
          </a:xfrm>
          <a:prstGeom prst="straightConnector1">
            <a:avLst/>
          </a:prstGeom>
          <a:noFill/>
          <a:ln w="38100" cap="flat" cmpd="sng" algn="ctr">
            <a:solidFill>
              <a:srgbClr val="00B050"/>
            </a:solidFill>
            <a:prstDash val="solid"/>
            <a:headEnd type="none" w="med" len="med"/>
            <a:tailEnd type="triangle" w="med" len="med"/>
          </a:ln>
          <a:effectLst/>
        </p:spPr>
      </p:cxnSp>
      <p:sp>
        <p:nvSpPr>
          <p:cNvPr id="40" name="Text Box 25"/>
          <p:cNvSpPr txBox="1">
            <a:spLocks noChangeArrowheads="1"/>
          </p:cNvSpPr>
          <p:nvPr/>
        </p:nvSpPr>
        <p:spPr bwMode="auto">
          <a:xfrm>
            <a:off x="5832118" y="2554961"/>
            <a:ext cx="307337" cy="338564"/>
          </a:xfrm>
          <a:prstGeom prst="rect">
            <a:avLst/>
          </a:prstGeom>
          <a:solidFill>
            <a:srgbClr val="4F81BD">
              <a:lumMod val="40000"/>
              <a:lumOff val="60000"/>
            </a:srgbClr>
          </a:solidFill>
          <a:ln w="38100">
            <a:solidFill>
              <a:srgbClr val="000000"/>
            </a:solidFill>
            <a:miter lim="800000"/>
            <a:headEnd/>
            <a:tailEnd/>
          </a:ln>
        </p:spPr>
        <p:txBody>
          <a:bodyPr lIns="74295" tIns="8890" rIns="74295" bIns="8890" anchor="ctr"/>
          <a:lstStyle/>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ja-JP" altLang="ja-JP" sz="1600" b="1" i="0" u="none" strike="noStrike" kern="0" cap="none" spc="0" normalizeH="0" baseline="0" noProof="0" dirty="0">
              <a:ln>
                <a:noFill/>
              </a:ln>
              <a:solidFill>
                <a:prstClr val="black"/>
              </a:solidFill>
              <a:effectLst/>
              <a:uLnTx/>
              <a:uFillTx/>
              <a:latin typeface="Times New Roman" pitchFamily="18" charset="0"/>
              <a:ea typeface="ＭＳ 明朝" pitchFamily="17" charset="-128"/>
              <a:cs typeface="Times New Roman" pitchFamily="18" charset="0"/>
            </a:endParaRPr>
          </a:p>
        </p:txBody>
      </p:sp>
      <p:sp>
        <p:nvSpPr>
          <p:cNvPr id="41" name="Text Box 25"/>
          <p:cNvSpPr txBox="1">
            <a:spLocks noChangeArrowheads="1"/>
          </p:cNvSpPr>
          <p:nvPr/>
        </p:nvSpPr>
        <p:spPr bwMode="auto">
          <a:xfrm>
            <a:off x="5418994" y="1600855"/>
            <a:ext cx="307337" cy="338564"/>
          </a:xfrm>
          <a:prstGeom prst="rect">
            <a:avLst/>
          </a:prstGeom>
          <a:solidFill>
            <a:srgbClr val="4F81BD">
              <a:lumMod val="40000"/>
              <a:lumOff val="60000"/>
            </a:srgbClr>
          </a:solidFill>
          <a:ln w="38100">
            <a:solidFill>
              <a:srgbClr val="000000"/>
            </a:solidFill>
            <a:miter lim="800000"/>
            <a:headEnd/>
            <a:tailEnd/>
          </a:ln>
        </p:spPr>
        <p:txBody>
          <a:bodyPr lIns="74295" tIns="8890" rIns="74295" bIns="889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200000"/>
              </a:lnSpc>
              <a:spcBef>
                <a:spcPts val="0"/>
              </a:spcBef>
              <a:spcAft>
                <a:spcPts val="0"/>
              </a:spcAft>
              <a:buClrTx/>
              <a:buSzTx/>
              <a:buFontTx/>
              <a:buNone/>
              <a:tabLst/>
              <a:defRPr/>
            </a:pPr>
            <a:endParaRPr kumimoji="0" lang="ja-JP" altLang="ja-JP" sz="1600" b="1" i="0" u="none" strike="noStrike" kern="0" cap="none" spc="0" normalizeH="0" baseline="0" noProof="0" dirty="0">
              <a:ln>
                <a:noFill/>
              </a:ln>
              <a:solidFill>
                <a:prstClr val="black"/>
              </a:solidFill>
              <a:effectLst/>
              <a:uLnTx/>
              <a:uFillTx/>
              <a:latin typeface="Times New Roman" pitchFamily="18" charset="0"/>
              <a:ea typeface="ＭＳ 明朝" pitchFamily="17" charset="-128"/>
              <a:cs typeface="Times New Roman" pitchFamily="18" charset="0"/>
            </a:endParaRPr>
          </a:p>
        </p:txBody>
      </p:sp>
      <p:sp>
        <p:nvSpPr>
          <p:cNvPr id="42" name="テキスト ボックス 23"/>
          <p:cNvSpPr txBox="1"/>
          <p:nvPr/>
        </p:nvSpPr>
        <p:spPr>
          <a:xfrm>
            <a:off x="5308783" y="2903948"/>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BBO</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43" name="テキスト ボックス 23"/>
          <p:cNvSpPr txBox="1"/>
          <p:nvPr/>
        </p:nvSpPr>
        <p:spPr>
          <a:xfrm>
            <a:off x="4912622" y="1924657"/>
            <a:ext cx="1354005" cy="307777"/>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BBO</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44" name="Rectangle 16"/>
          <p:cNvSpPr>
            <a:spLocks noChangeArrowheads="1"/>
          </p:cNvSpPr>
          <p:nvPr/>
        </p:nvSpPr>
        <p:spPr bwMode="auto">
          <a:xfrm rot="18789598" flipV="1">
            <a:off x="4973632" y="2676727"/>
            <a:ext cx="295533" cy="61579"/>
          </a:xfrm>
          <a:prstGeom prst="rect">
            <a:avLst/>
          </a:prstGeom>
          <a:solidFill>
            <a:srgbClr val="C0C0C0">
              <a:alpha val="50195"/>
            </a:srgbClr>
          </a:solidFill>
          <a:ln w="19050">
            <a:solidFill>
              <a:srgbClr val="000000"/>
            </a:solidFill>
            <a:prstDash val="sysDash"/>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cxnSp>
        <p:nvCxnSpPr>
          <p:cNvPr id="45" name="直線矢印コネクタ 44"/>
          <p:cNvCxnSpPr/>
          <p:nvPr/>
        </p:nvCxnSpPr>
        <p:spPr>
          <a:xfrm flipH="1" flipV="1">
            <a:off x="5038172" y="1762052"/>
            <a:ext cx="7048" cy="947667"/>
          </a:xfrm>
          <a:prstGeom prst="straightConnector1">
            <a:avLst/>
          </a:prstGeom>
          <a:noFill/>
          <a:ln w="38100" cap="flat" cmpd="sng" algn="ctr">
            <a:solidFill>
              <a:srgbClr val="00B050"/>
            </a:solidFill>
            <a:prstDash val="solid"/>
            <a:headEnd type="none" w="med" len="med"/>
            <a:tailEnd type="triangle" w="med" len="med"/>
          </a:ln>
          <a:effectLst/>
        </p:spPr>
      </p:cxnSp>
      <p:sp>
        <p:nvSpPr>
          <p:cNvPr id="46" name="Rectangle 16"/>
          <p:cNvSpPr>
            <a:spLocks noChangeArrowheads="1"/>
          </p:cNvSpPr>
          <p:nvPr/>
        </p:nvSpPr>
        <p:spPr bwMode="auto">
          <a:xfrm rot="18789598" flipV="1">
            <a:off x="4859902" y="1711613"/>
            <a:ext cx="295533" cy="61579"/>
          </a:xfrm>
          <a:prstGeom prst="rect">
            <a:avLst/>
          </a:prstGeom>
          <a:solidFill>
            <a:srgbClr val="C0C0C0">
              <a:alpha val="50195"/>
            </a:srgbClr>
          </a:solidFill>
          <a:ln w="19050">
            <a:solidFill>
              <a:srgbClr val="000000"/>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cxnSp>
        <p:nvCxnSpPr>
          <p:cNvPr id="47" name="直線矢印コネクタ 46"/>
          <p:cNvCxnSpPr/>
          <p:nvPr/>
        </p:nvCxnSpPr>
        <p:spPr>
          <a:xfrm>
            <a:off x="5045220" y="1782705"/>
            <a:ext cx="392274" cy="4266"/>
          </a:xfrm>
          <a:prstGeom prst="straightConnector1">
            <a:avLst/>
          </a:prstGeom>
          <a:noFill/>
          <a:ln w="38100" cap="flat" cmpd="sng" algn="ctr">
            <a:solidFill>
              <a:srgbClr val="00B050"/>
            </a:solidFill>
            <a:prstDash val="solid"/>
            <a:headEnd type="none" w="med" len="med"/>
            <a:tailEnd type="triangle" w="med" len="med"/>
          </a:ln>
          <a:effectLst/>
        </p:spPr>
      </p:cxnSp>
      <p:cxnSp>
        <p:nvCxnSpPr>
          <p:cNvPr id="48" name="直線矢印コネクタ 47"/>
          <p:cNvCxnSpPr/>
          <p:nvPr/>
        </p:nvCxnSpPr>
        <p:spPr>
          <a:xfrm>
            <a:off x="6151928" y="2719937"/>
            <a:ext cx="966537" cy="2130"/>
          </a:xfrm>
          <a:prstGeom prst="straightConnector1">
            <a:avLst/>
          </a:prstGeom>
          <a:noFill/>
          <a:ln w="38100" cap="flat" cmpd="sng" algn="ctr">
            <a:solidFill>
              <a:srgbClr val="7030A0"/>
            </a:solidFill>
            <a:prstDash val="solid"/>
            <a:headEnd type="none" w="med" len="med"/>
            <a:tailEnd type="triangle" w="med" len="med"/>
          </a:ln>
          <a:effectLst/>
        </p:spPr>
      </p:cxnSp>
      <p:cxnSp>
        <p:nvCxnSpPr>
          <p:cNvPr id="49" name="直線矢印コネクタ 48"/>
          <p:cNvCxnSpPr/>
          <p:nvPr/>
        </p:nvCxnSpPr>
        <p:spPr>
          <a:xfrm flipV="1">
            <a:off x="5729343" y="3709477"/>
            <a:ext cx="1394738" cy="170"/>
          </a:xfrm>
          <a:prstGeom prst="straightConnector1">
            <a:avLst/>
          </a:prstGeom>
          <a:noFill/>
          <a:ln w="38100" cap="flat" cmpd="sng" algn="ctr">
            <a:solidFill>
              <a:srgbClr val="7030A0"/>
            </a:solidFill>
            <a:prstDash val="solid"/>
            <a:headEnd type="none" w="med" len="med"/>
            <a:tailEnd type="triangle" w="med" len="med"/>
          </a:ln>
          <a:effectLst/>
        </p:spPr>
      </p:cxnSp>
      <p:cxnSp>
        <p:nvCxnSpPr>
          <p:cNvPr id="50" name="直線矢印コネクタ 49"/>
          <p:cNvCxnSpPr/>
          <p:nvPr/>
        </p:nvCxnSpPr>
        <p:spPr>
          <a:xfrm flipH="1" flipV="1">
            <a:off x="6895896" y="3408018"/>
            <a:ext cx="211560" cy="290777"/>
          </a:xfrm>
          <a:prstGeom prst="straightConnector1">
            <a:avLst/>
          </a:prstGeom>
          <a:noFill/>
          <a:ln w="38100" cap="flat" cmpd="sng" algn="ctr">
            <a:solidFill>
              <a:srgbClr val="7030A0"/>
            </a:solidFill>
            <a:prstDash val="solid"/>
            <a:headEnd type="none" w="med" len="med"/>
            <a:tailEnd type="triangle" w="med" len="med"/>
          </a:ln>
          <a:effectLst/>
        </p:spPr>
      </p:cxnSp>
      <p:cxnSp>
        <p:nvCxnSpPr>
          <p:cNvPr id="51" name="直線矢印コネクタ 50"/>
          <p:cNvCxnSpPr>
            <a:stCxn id="41" idx="3"/>
            <a:endCxn id="37" idx="1"/>
          </p:cNvCxnSpPr>
          <p:nvPr/>
        </p:nvCxnSpPr>
        <p:spPr>
          <a:xfrm flipV="1">
            <a:off x="5726331" y="1769353"/>
            <a:ext cx="692566" cy="784"/>
          </a:xfrm>
          <a:prstGeom prst="straightConnector1">
            <a:avLst/>
          </a:prstGeom>
          <a:noFill/>
          <a:ln w="38100" cap="flat" cmpd="sng" algn="ctr">
            <a:solidFill>
              <a:srgbClr val="7030A0"/>
            </a:solidFill>
            <a:prstDash val="solid"/>
            <a:headEnd type="none" w="med" len="med"/>
            <a:tailEnd type="triangle" w="med" len="med"/>
          </a:ln>
          <a:effectLst/>
        </p:spPr>
      </p:cxnSp>
      <p:sp>
        <p:nvSpPr>
          <p:cNvPr id="52" name="Rectangle 16"/>
          <p:cNvSpPr>
            <a:spLocks noChangeArrowheads="1"/>
          </p:cNvSpPr>
          <p:nvPr/>
        </p:nvSpPr>
        <p:spPr bwMode="auto">
          <a:xfrm rot="18565476" flipV="1">
            <a:off x="6997029" y="3706217"/>
            <a:ext cx="295533" cy="61579"/>
          </a:xfrm>
          <a:prstGeom prst="rect">
            <a:avLst/>
          </a:prstGeom>
          <a:solidFill>
            <a:srgbClr val="C0C0C0">
              <a:alpha val="50195"/>
            </a:srgbClr>
          </a:solidFill>
          <a:ln w="19050">
            <a:solidFill>
              <a:srgbClr val="000000"/>
            </a:solidFill>
            <a:miter lim="800000"/>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sp>
        <p:nvSpPr>
          <p:cNvPr id="53" name="Rectangle 16"/>
          <p:cNvSpPr>
            <a:spLocks noChangeArrowheads="1"/>
          </p:cNvSpPr>
          <p:nvPr/>
        </p:nvSpPr>
        <p:spPr bwMode="auto">
          <a:xfrm rot="2708003" flipV="1">
            <a:off x="6994136" y="2658011"/>
            <a:ext cx="295533" cy="61579"/>
          </a:xfrm>
          <a:prstGeom prst="rect">
            <a:avLst/>
          </a:prstGeom>
          <a:solidFill>
            <a:srgbClr val="C0C0C0">
              <a:alpha val="50195"/>
            </a:srgbClr>
          </a:solidFill>
          <a:ln w="19050">
            <a:solidFill>
              <a:srgbClr val="000000"/>
            </a:solidFill>
            <a:miter lim="800000"/>
            <a:headEnd/>
            <a:tailEnd/>
          </a:ln>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2800" b="0" i="0" u="none" strike="noStrike" kern="0" cap="none" spc="0" normalizeH="0" baseline="0" noProof="0">
              <a:ln>
                <a:noFill/>
              </a:ln>
              <a:solidFill>
                <a:prstClr val="black"/>
              </a:solidFill>
              <a:effectLst/>
              <a:uLnTx/>
              <a:uFillTx/>
              <a:latin typeface="Times New Roman" pitchFamily="18" charset="0"/>
              <a:ea typeface="游ゴシック" panose="020B0400000000000000" pitchFamily="34" charset="-128"/>
              <a:cs typeface="Times New Roman" pitchFamily="18" charset="0"/>
            </a:endParaRPr>
          </a:p>
        </p:txBody>
      </p:sp>
      <p:cxnSp>
        <p:nvCxnSpPr>
          <p:cNvPr id="54" name="直線矢印コネクタ 53"/>
          <p:cNvCxnSpPr/>
          <p:nvPr/>
        </p:nvCxnSpPr>
        <p:spPr>
          <a:xfrm flipH="1">
            <a:off x="6895896" y="2714046"/>
            <a:ext cx="194812" cy="328534"/>
          </a:xfrm>
          <a:prstGeom prst="straightConnector1">
            <a:avLst/>
          </a:prstGeom>
          <a:noFill/>
          <a:ln w="38100" cap="flat" cmpd="sng" algn="ctr">
            <a:solidFill>
              <a:srgbClr val="7030A0"/>
            </a:solidFill>
            <a:prstDash val="solid"/>
            <a:headEnd type="none" w="med" len="med"/>
            <a:tailEnd type="triangle" w="med" len="med"/>
          </a:ln>
          <a:effectLst/>
        </p:spPr>
      </p:cxnSp>
      <p:sp>
        <p:nvSpPr>
          <p:cNvPr id="55" name="テキスト ボックス 23"/>
          <p:cNvSpPr txBox="1"/>
          <p:nvPr/>
        </p:nvSpPr>
        <p:spPr>
          <a:xfrm>
            <a:off x="4586232" y="2758216"/>
            <a:ext cx="135400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Flip mirror</a:t>
            </a:r>
            <a:endParaRPr kumimoji="1" lang="ja-JP"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56" name="円/楕円 55"/>
          <p:cNvSpPr/>
          <p:nvPr/>
        </p:nvSpPr>
        <p:spPr>
          <a:xfrm>
            <a:off x="1512164" y="3573095"/>
            <a:ext cx="70240" cy="73938"/>
          </a:xfrm>
          <a:prstGeom prst="ellipse">
            <a:avLst/>
          </a:prstGeom>
          <a:solidFill>
            <a:srgbClr val="8064A2">
              <a:lumMod val="75000"/>
            </a:srgbClr>
          </a:solidFill>
          <a:ln w="25400" cap="flat" cmpd="sng" algn="ctr">
            <a:solidFill>
              <a:srgbClr val="8064A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cxnSp>
        <p:nvCxnSpPr>
          <p:cNvPr id="57" name="直線コネクタ 56"/>
          <p:cNvCxnSpPr/>
          <p:nvPr/>
        </p:nvCxnSpPr>
        <p:spPr>
          <a:xfrm>
            <a:off x="2009795" y="3151193"/>
            <a:ext cx="3977" cy="306703"/>
          </a:xfrm>
          <a:prstGeom prst="line">
            <a:avLst/>
          </a:prstGeom>
          <a:noFill/>
          <a:ln w="19050" cap="flat" cmpd="sng" algn="ctr">
            <a:solidFill>
              <a:srgbClr val="8064A2">
                <a:lumMod val="75000"/>
              </a:srgbClr>
            </a:solidFill>
            <a:prstDash val="solid"/>
            <a:headEnd type="stealth" w="lg" len="lg"/>
            <a:tailEnd type="stealth" w="lg" len="lg"/>
          </a:ln>
          <a:effectLst/>
        </p:spPr>
      </p:cxnSp>
      <p:sp>
        <p:nvSpPr>
          <p:cNvPr id="58" name="テキスト ボックス 23"/>
          <p:cNvSpPr txBox="1"/>
          <p:nvPr/>
        </p:nvSpPr>
        <p:spPr>
          <a:xfrm>
            <a:off x="1836929" y="3857455"/>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0" i="0" u="none" strike="noStrike" kern="1200" cap="none" spc="0" normalizeH="0" baseline="0" noProof="0" dirty="0">
                <a:ln>
                  <a:noFill/>
                </a:ln>
                <a:solidFill>
                  <a:prstClr val="black"/>
                </a:solidFill>
                <a:effectLst/>
                <a:uLnTx/>
                <a:uFillTx/>
                <a:latin typeface="等线" panose="020F0502020204030204"/>
                <a:ea typeface="等线" panose="02010600030101010101" pitchFamily="2" charset="-122"/>
                <a:cs typeface="Times New Roman" pitchFamily="18" charset="0"/>
              </a:rPr>
              <a:t>HWP</a:t>
            </a:r>
            <a:endParaRPr kumimoji="1" lang="ja-JP" altLang="en-US" sz="1400" b="0" i="0" u="none" strike="noStrike" kern="1200" cap="none" spc="0" normalizeH="0" baseline="0" noProof="0" dirty="0">
              <a:ln>
                <a:noFill/>
              </a:ln>
              <a:solidFill>
                <a:prstClr val="black"/>
              </a:solidFill>
              <a:effectLst/>
              <a:uLnTx/>
              <a:uFillTx/>
              <a:latin typeface="等线" panose="020F0502020204030204"/>
              <a:ea typeface="游ゴシック" panose="020B0400000000000000" pitchFamily="34" charset="-128"/>
              <a:cs typeface="Times New Roman" pitchFamily="18" charset="0"/>
            </a:endParaRPr>
          </a:p>
        </p:txBody>
      </p:sp>
      <p:sp>
        <p:nvSpPr>
          <p:cNvPr id="59" name="正方形/長方形 58"/>
          <p:cNvSpPr/>
          <p:nvPr/>
        </p:nvSpPr>
        <p:spPr>
          <a:xfrm rot="16200000">
            <a:off x="2272232" y="3695266"/>
            <a:ext cx="396486" cy="45719"/>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60" name="円/楕円 59"/>
          <p:cNvSpPr/>
          <p:nvPr/>
        </p:nvSpPr>
        <p:spPr>
          <a:xfrm>
            <a:off x="2819435" y="3444764"/>
            <a:ext cx="70240" cy="73938"/>
          </a:xfrm>
          <a:prstGeom prst="ellipse">
            <a:avLst/>
          </a:prstGeom>
          <a:solidFill>
            <a:srgbClr val="8064A2">
              <a:lumMod val="75000"/>
            </a:srgbClr>
          </a:solidFill>
          <a:ln w="25400" cap="flat" cmpd="sng" algn="ctr">
            <a:solidFill>
              <a:srgbClr val="8064A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cxnSp>
        <p:nvCxnSpPr>
          <p:cNvPr id="61" name="直線コネクタ 60"/>
          <p:cNvCxnSpPr/>
          <p:nvPr/>
        </p:nvCxnSpPr>
        <p:spPr>
          <a:xfrm>
            <a:off x="2667538" y="3343281"/>
            <a:ext cx="3977" cy="306703"/>
          </a:xfrm>
          <a:prstGeom prst="line">
            <a:avLst/>
          </a:prstGeom>
          <a:noFill/>
          <a:ln w="19050" cap="flat" cmpd="sng" algn="ctr">
            <a:solidFill>
              <a:srgbClr val="8064A2">
                <a:lumMod val="75000"/>
              </a:srgbClr>
            </a:solidFill>
            <a:prstDash val="solid"/>
            <a:headEnd type="stealth" w="lg" len="lg"/>
            <a:tailEnd type="stealth" w="lg" len="lg"/>
          </a:ln>
          <a:effectLst/>
        </p:spPr>
      </p:cxnSp>
      <p:sp>
        <p:nvSpPr>
          <p:cNvPr id="62" name="円/楕円 61"/>
          <p:cNvSpPr/>
          <p:nvPr/>
        </p:nvSpPr>
        <p:spPr>
          <a:xfrm>
            <a:off x="5080018" y="3534219"/>
            <a:ext cx="70240" cy="73938"/>
          </a:xfrm>
          <a:prstGeom prst="ellipse">
            <a:avLst/>
          </a:prstGeom>
          <a:solidFill>
            <a:srgbClr val="8064A2">
              <a:lumMod val="75000"/>
            </a:srgbClr>
          </a:solidFill>
          <a:ln w="25400" cap="flat" cmpd="sng" algn="ctr">
            <a:solidFill>
              <a:srgbClr val="8064A2">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cxnSp>
        <p:nvCxnSpPr>
          <p:cNvPr id="63" name="直線コネクタ 62"/>
          <p:cNvCxnSpPr/>
          <p:nvPr/>
        </p:nvCxnSpPr>
        <p:spPr>
          <a:xfrm>
            <a:off x="4609712" y="3101315"/>
            <a:ext cx="3977" cy="306703"/>
          </a:xfrm>
          <a:prstGeom prst="line">
            <a:avLst/>
          </a:prstGeom>
          <a:noFill/>
          <a:ln w="19050" cap="flat" cmpd="sng" algn="ctr">
            <a:solidFill>
              <a:srgbClr val="8064A2">
                <a:lumMod val="75000"/>
              </a:srgbClr>
            </a:solidFill>
            <a:prstDash val="solid"/>
            <a:headEnd type="stealth" w="lg" len="lg"/>
            <a:tailEnd type="stealth" w="lg" len="lg"/>
          </a:ln>
          <a:effectLst/>
        </p:spPr>
      </p:cxnSp>
      <p:sp>
        <p:nvSpPr>
          <p:cNvPr id="64" name="テキスト ボックス 23"/>
          <p:cNvSpPr txBox="1"/>
          <p:nvPr/>
        </p:nvSpPr>
        <p:spPr>
          <a:xfrm>
            <a:off x="4460399" y="3207783"/>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rPr>
              <a:t>Polarizer</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sp>
        <p:nvSpPr>
          <p:cNvPr id="65" name="正方形/長方形 64"/>
          <p:cNvSpPr/>
          <p:nvPr/>
        </p:nvSpPr>
        <p:spPr>
          <a:xfrm>
            <a:off x="712758" y="4657013"/>
            <a:ext cx="7715143" cy="30777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Laser with vertical polarization,     laser with horizontal polarization, HWP: half wave plate</a:t>
            </a:r>
          </a:p>
        </p:txBody>
      </p:sp>
      <p:sp>
        <p:nvSpPr>
          <p:cNvPr id="66" name="円/楕円 65"/>
          <p:cNvSpPr/>
          <p:nvPr/>
        </p:nvSpPr>
        <p:spPr>
          <a:xfrm>
            <a:off x="661220" y="4775799"/>
            <a:ext cx="70240" cy="73938"/>
          </a:xfrm>
          <a:prstGeom prst="ellipse">
            <a:avLst/>
          </a:prstGeom>
          <a:solidFill>
            <a:schemeClr val="tx1"/>
          </a:solidFill>
          <a:ln w="25400" cap="flat" cmpd="sng" algn="ctr">
            <a:noFill/>
            <a:prstDash val="solid"/>
          </a:ln>
          <a:effectLst/>
        </p:spPr>
        <p:txBody>
          <a:bodyPr rtlCol="0" anchor="ct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cxnSp>
        <p:nvCxnSpPr>
          <p:cNvPr id="67" name="直線コネクタ 66"/>
          <p:cNvCxnSpPr/>
          <p:nvPr/>
        </p:nvCxnSpPr>
        <p:spPr>
          <a:xfrm>
            <a:off x="3196781" y="4673146"/>
            <a:ext cx="3977" cy="306703"/>
          </a:xfrm>
          <a:prstGeom prst="line">
            <a:avLst/>
          </a:prstGeom>
          <a:noFill/>
          <a:ln w="19050" cap="flat" cmpd="sng" algn="ctr">
            <a:solidFill>
              <a:schemeClr val="tx1"/>
            </a:solidFill>
            <a:prstDash val="solid"/>
            <a:headEnd type="stealth" w="lg" len="lg"/>
            <a:tailEnd type="stealth" w="lg" len="lg"/>
          </a:ln>
          <a:effectLst/>
        </p:spPr>
      </p:cxnSp>
      <p:sp>
        <p:nvSpPr>
          <p:cNvPr id="68" name="円/楕円 67"/>
          <p:cNvSpPr/>
          <p:nvPr/>
        </p:nvSpPr>
        <p:spPr>
          <a:xfrm>
            <a:off x="1016574" y="3618770"/>
            <a:ext cx="164725" cy="164572"/>
          </a:xfrm>
          <a:prstGeom prst="ellipse">
            <a:avLst/>
          </a:prstGeom>
          <a:solidFill>
            <a:srgbClr val="FF0000"/>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a:ea typeface="ＭＳ Ｐゴシック" panose="020B0600070205080204" pitchFamily="34" charset="-128"/>
              <a:cs typeface="+mn-cs"/>
            </a:endParaRPr>
          </a:p>
        </p:txBody>
      </p:sp>
      <p:sp>
        <p:nvSpPr>
          <p:cNvPr id="69" name="星 5 68"/>
          <p:cNvSpPr/>
          <p:nvPr/>
        </p:nvSpPr>
        <p:spPr>
          <a:xfrm flipH="1">
            <a:off x="1387897" y="2053318"/>
            <a:ext cx="206935" cy="195402"/>
          </a:xfrm>
          <a:prstGeom prst="star5">
            <a:avLst/>
          </a:prstGeom>
          <a:solidFill>
            <a:srgbClr val="00206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等线" panose="020F0502020204030204"/>
              <a:ea typeface="游ゴシック" panose="020B0400000000000000" pitchFamily="34" charset="-128"/>
              <a:cs typeface="+mn-cs"/>
            </a:endParaRPr>
          </a:p>
        </p:txBody>
      </p:sp>
      <p:cxnSp>
        <p:nvCxnSpPr>
          <p:cNvPr id="70" name="直線矢印コネクタ 69"/>
          <p:cNvCxnSpPr/>
          <p:nvPr/>
        </p:nvCxnSpPr>
        <p:spPr>
          <a:xfrm>
            <a:off x="7526849" y="2969926"/>
            <a:ext cx="519518" cy="0"/>
          </a:xfrm>
          <a:prstGeom prst="straightConnector1">
            <a:avLst/>
          </a:prstGeom>
          <a:noFill/>
          <a:ln w="19050" cap="flat" cmpd="sng" algn="ctr">
            <a:solidFill>
              <a:sysClr val="windowText" lastClr="000000"/>
            </a:solidFill>
            <a:prstDash val="solid"/>
            <a:headEnd type="none" w="med" len="med"/>
            <a:tailEnd type="triangle" w="med" len="med"/>
          </a:ln>
          <a:effectLst/>
        </p:spPr>
      </p:cxnSp>
      <p:sp>
        <p:nvSpPr>
          <p:cNvPr id="72" name="テキスト ボックス 23"/>
          <p:cNvSpPr txBox="1"/>
          <p:nvPr/>
        </p:nvSpPr>
        <p:spPr>
          <a:xfrm>
            <a:off x="-73479" y="3299563"/>
            <a:ext cx="198150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1st line</a:t>
            </a:r>
            <a:endParaRPr kumimoji="1" lang="ja-JP" altLang="en-US" sz="16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endParaRPr>
          </a:p>
        </p:txBody>
      </p:sp>
      <p:sp>
        <p:nvSpPr>
          <p:cNvPr id="81"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0-17</a:t>
            </a:r>
          </a:p>
        </p:txBody>
      </p:sp>
      <p:sp>
        <p:nvSpPr>
          <p:cNvPr id="82" name="Title 3">
            <a:extLst>
              <a:ext uri="{FF2B5EF4-FFF2-40B4-BE49-F238E27FC236}">
                <a16:creationId xmlns:a16="http://schemas.microsoft.com/office/drawing/2014/main" id="{399053C4-3D87-4704-9752-CC066ED7B1D2}"/>
              </a:ext>
            </a:extLst>
          </p:cNvPr>
          <p:cNvSpPr>
            <a:spLocks noGrp="1"/>
          </p:cNvSpPr>
          <p:nvPr>
            <p:ph type="title"/>
          </p:nvPr>
        </p:nvSpPr>
        <p:spPr>
          <a:xfrm>
            <a:off x="555726" y="123347"/>
            <a:ext cx="10695924" cy="593487"/>
          </a:xfrm>
        </p:spPr>
        <p:txBody>
          <a:bodyPr/>
          <a:lstStyle/>
          <a:p>
            <a:r>
              <a:rPr lang="en-US" sz="4800" dirty="0"/>
              <a:t>Two Lasers Injection Mode (R4.1)</a:t>
            </a:r>
          </a:p>
        </p:txBody>
      </p:sp>
      <p:sp>
        <p:nvSpPr>
          <p:cNvPr id="83" name="テキスト ボックス 23">
            <a:extLst>
              <a:ext uri="{FF2B5EF4-FFF2-40B4-BE49-F238E27FC236}">
                <a16:creationId xmlns:a16="http://schemas.microsoft.com/office/drawing/2014/main" id="{590CFF56-1497-495E-95F7-6FEA502C0556}"/>
              </a:ext>
            </a:extLst>
          </p:cNvPr>
          <p:cNvSpPr txBox="1"/>
          <p:nvPr/>
        </p:nvSpPr>
        <p:spPr>
          <a:xfrm>
            <a:off x="7130938" y="2699407"/>
            <a:ext cx="135400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400" b="1" i="0" u="none" strike="noStrike" kern="1200" cap="none" spc="0" normalizeH="0" baseline="0" noProof="0" dirty="0">
                <a:ln>
                  <a:noFill/>
                </a:ln>
                <a:solidFill>
                  <a:prstClr val="black"/>
                </a:solidFill>
                <a:effectLst/>
                <a:uLnTx/>
                <a:uFillTx/>
                <a:latin typeface="Segoe UI Light" panose="020B0502040204020203" pitchFamily="34" charset="0"/>
                <a:ea typeface="等线" panose="02010600030101010101" pitchFamily="2" charset="-122"/>
                <a:cs typeface="Segoe UI Light" panose="020B0502040204020203" pitchFamily="34" charset="0"/>
              </a:rPr>
              <a:t>e-</a:t>
            </a:r>
            <a:endParaRPr kumimoji="1" lang="ja-JP" altLang="en-US" sz="1400" b="1" i="0" u="none" strike="noStrike" kern="1200" cap="none" spc="0" normalizeH="0" baseline="0" noProof="0" dirty="0">
              <a:ln>
                <a:noFill/>
              </a:ln>
              <a:solidFill>
                <a:prstClr val="black"/>
              </a:solidFill>
              <a:effectLst/>
              <a:uLnTx/>
              <a:uFillTx/>
              <a:latin typeface="Segoe UI Light" panose="020B0502040204020203" pitchFamily="34" charset="0"/>
              <a:ea typeface="游ゴシック" panose="020B0400000000000000" pitchFamily="34" charset="-128"/>
              <a:cs typeface="Segoe UI Light" panose="020B0502040204020203" pitchFamily="34" charset="0"/>
            </a:endParaRPr>
          </a:p>
        </p:txBody>
      </p:sp>
      <p:pic>
        <p:nvPicPr>
          <p:cNvPr id="84" name="Picture 2">
            <a:extLst>
              <a:ext uri="{FF2B5EF4-FFF2-40B4-BE49-F238E27FC236}">
                <a16:creationId xmlns:a16="http://schemas.microsoft.com/office/drawing/2014/main" id="{46C89B69-7AAF-4ED8-B2E7-D8F216E5DF9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13890" y="1333216"/>
            <a:ext cx="3095183" cy="2807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5" name="TextBox 7">
            <a:extLst>
              <a:ext uri="{FF2B5EF4-FFF2-40B4-BE49-F238E27FC236}">
                <a16:creationId xmlns:a16="http://schemas.microsoft.com/office/drawing/2014/main" id="{9DB1E7D2-70D7-4D44-A405-58BBC1916880}"/>
              </a:ext>
            </a:extLst>
          </p:cNvPr>
          <p:cNvSpPr txBox="1"/>
          <p:nvPr/>
        </p:nvSpPr>
        <p:spPr>
          <a:xfrm>
            <a:off x="955107" y="5150658"/>
            <a:ext cx="8572500" cy="1291844"/>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Possible to generate high e</a:t>
            </a:r>
            <a:r>
              <a:rPr lang="en-US" altLang="zh-CN" sz="2400" b="1" baseline="30000"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charge</a:t>
            </a:r>
          </a:p>
          <a:p>
            <a:pPr marL="171352" indent="-171352" defTabSz="932213">
              <a:lnSpc>
                <a:spcPct val="90000"/>
              </a:lnSpc>
              <a:spcAft>
                <a:spcPts val="600"/>
              </a:spcAft>
              <a:buFont typeface="Arial" panose="020B0604020202020204" pitchFamily="34" charset="0"/>
              <a:buChar char="•"/>
            </a:pPr>
            <a:endParaRPr lang="en-US" altLang="zh-CN" sz="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lvl="0" indent="-171352" defTabSz="932213">
              <a:lnSpc>
                <a:spcPct val="90000"/>
              </a:lnSpc>
              <a:spcAft>
                <a:spcPts val="600"/>
              </a:spcAft>
              <a:buFont typeface="Arial" panose="020B0604020202020204" pitchFamily="34" charset="0"/>
              <a:buChar cha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Better emittance </a:t>
            </a:r>
          </a:p>
          <a:p>
            <a:pPr marL="171352" indent="-171352" defTabSz="932213">
              <a:lnSpc>
                <a:spcPct val="90000"/>
              </a:lnSpc>
              <a:spcAft>
                <a:spcPts val="600"/>
              </a:spcAft>
              <a:buFont typeface="Arial" panose="020B0604020202020204" pitchFamily="34" charset="0"/>
              <a:buChar char="•"/>
            </a:pPr>
            <a:endParaRPr lang="en-US" altLang="zh-CN" sz="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indent="-171352" defTabSz="932213">
              <a:lnSpc>
                <a:spcPct val="90000"/>
              </a:lnSpc>
              <a:spcAft>
                <a:spcPts val="600"/>
              </a:spcAft>
              <a:buFont typeface="Arial" panose="020B0604020202020204" pitchFamily="34" charset="0"/>
              <a:buChar cha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Backup for the smooth commissioning</a:t>
            </a:r>
          </a:p>
          <a:p>
            <a:pPr marL="171352" indent="-171352" defTabSz="932213">
              <a:lnSpc>
                <a:spcPct val="90000"/>
              </a:lnSpc>
              <a:spcAft>
                <a:spcPts val="600"/>
              </a:spcAft>
              <a:buFont typeface="Arial" panose="020B0604020202020204" pitchFamily="34" charset="0"/>
              <a:buChar char="•"/>
            </a:pPr>
            <a:endParaRPr lang="en-US" sz="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p:txBody>
      </p:sp>
      <p:sp>
        <p:nvSpPr>
          <p:cNvPr id="2" name="矩形 1">
            <a:extLst>
              <a:ext uri="{FF2B5EF4-FFF2-40B4-BE49-F238E27FC236}">
                <a16:creationId xmlns:a16="http://schemas.microsoft.com/office/drawing/2014/main" id="{1533D6F0-00A1-4D5A-8667-74B671CD1367}"/>
              </a:ext>
            </a:extLst>
          </p:cNvPr>
          <p:cNvSpPr/>
          <p:nvPr/>
        </p:nvSpPr>
        <p:spPr>
          <a:xfrm>
            <a:off x="9046244" y="4192144"/>
            <a:ext cx="2430474" cy="369332"/>
          </a:xfrm>
          <a:prstGeom prst="rect">
            <a:avLst/>
          </a:prstGeom>
        </p:spPr>
        <p:txBody>
          <a:bodyPr wrap="none">
            <a:spAutoFit/>
          </a:bodyPr>
          <a:lstStyle/>
          <a:p>
            <a:r>
              <a:rPr lang="en-US" altLang="ja-JP" b="1" dirty="0">
                <a:solidFill>
                  <a:srgbClr val="FFFFFF"/>
                </a:solidFill>
                <a:latin typeface="等线 Light" panose="02010600030101010101" pitchFamily="2" charset="-122"/>
                <a:ea typeface="等线 Light" panose="02010600030101010101" pitchFamily="2" charset="-122"/>
              </a:rPr>
              <a:t>Irradiated by two lasers</a:t>
            </a:r>
            <a:endParaRPr lang="zh-CN" altLang="en-US" dirty="0"/>
          </a:p>
        </p:txBody>
      </p:sp>
    </p:spTree>
    <p:extLst>
      <p:ext uri="{BB962C8B-B14F-4D97-AF65-F5344CB8AC3E}">
        <p14:creationId xmlns:p14="http://schemas.microsoft.com/office/powerpoint/2010/main" val="14367163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1"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9"/>
                                        </p:tgtEl>
                                        <p:attrNameLst>
                                          <p:attrName>style.visibility</p:attrName>
                                        </p:attrNameLst>
                                      </p:cBhvr>
                                      <p:to>
                                        <p:strVal val="visible"/>
                                      </p:to>
                                    </p:set>
                                  </p:childTnLst>
                                </p:cTn>
                              </p:par>
                              <p:par>
                                <p:cTn id="11" presetID="0" presetClass="path" presetSubtype="0" repeatCount="indefinite" accel="50000" decel="50000" fill="hold" grpId="0" nodeType="withEffect">
                                  <p:stCondLst>
                                    <p:cond delay="0"/>
                                  </p:stCondLst>
                                  <p:childTnLst>
                                    <p:animMotion origin="layout" path="M -4.16667E-6 -3.33333E-6 L 0.30209 -3.33333E-6 L 0.30339 -0.14652 L 0.49388 -0.14305 L 0.47357 -0.08264 " pathEditMode="relative" rAng="0" ptsTypes="AAAAA">
                                      <p:cBhvr>
                                        <p:cTn id="12" dur="3000" fill="hold"/>
                                        <p:tgtEl>
                                          <p:spTgt spid="68"/>
                                        </p:tgtEl>
                                        <p:attrNameLst>
                                          <p:attrName>ppt_x</p:attrName>
                                          <p:attrName>ppt_y</p:attrName>
                                        </p:attrNameLst>
                                      </p:cBhvr>
                                      <p:rCtr x="24688" y="-7338"/>
                                    </p:animMotion>
                                  </p:childTnLst>
                                </p:cTn>
                              </p:par>
                              <p:par>
                                <p:cTn id="13" presetID="0" presetClass="path" presetSubtype="0" repeatCount="indefinite" accel="50000" decel="50000" fill="hold" grpId="1" nodeType="withEffect">
                                  <p:stCondLst>
                                    <p:cond delay="0"/>
                                  </p:stCondLst>
                                  <p:childTnLst>
                                    <p:animMotion origin="layout" path="M 4.375E-6 2.59259E-6 L 0.14974 2.59259E-6 L 0.14974 0.05231 L 0.03203 0.05115 C 0.03242 0.10949 0.03255 0.16782 0.03281 0.22615 L 0.46197 0.22615 L 0.44101 0.17014 " pathEditMode="relative" rAng="0" ptsTypes="AAAAAAA">
                                      <p:cBhvr>
                                        <p:cTn id="14" dur="3000" fill="hold"/>
                                        <p:tgtEl>
                                          <p:spTgt spid="69"/>
                                        </p:tgtEl>
                                        <p:attrNameLst>
                                          <p:attrName>ppt_x</p:attrName>
                                          <p:attrName>ppt_y</p:attrName>
                                        </p:attrNameLst>
                                      </p:cBhvr>
                                      <p:rCtr x="23099" y="1129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animBg="1"/>
      <p:bldP spid="68" grpId="1" animBg="1"/>
      <p:bldP spid="69" grpId="0" animBg="1"/>
      <p:bldP spid="69"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3">
            <a:extLst>
              <a:ext uri="{FF2B5EF4-FFF2-40B4-BE49-F238E27FC236}">
                <a16:creationId xmlns:a16="http://schemas.microsoft.com/office/drawing/2014/main" id="{76BDFCF7-CA4D-4DE1-A790-EE0C9EF0CDF6}"/>
              </a:ext>
            </a:extLst>
          </p:cNvPr>
          <p:cNvSpPr/>
          <p:nvPr/>
        </p:nvSpPr>
        <p:spPr bwMode="auto">
          <a:xfrm>
            <a:off x="8667652" y="4220791"/>
            <a:ext cx="2745522" cy="134142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9">
            <a:extLst>
              <a:ext uri="{FF2B5EF4-FFF2-40B4-BE49-F238E27FC236}">
                <a16:creationId xmlns:a16="http://schemas.microsoft.com/office/drawing/2014/main" id="{43881F82-7C57-4A56-95C3-E61282A5C860}"/>
              </a:ext>
            </a:extLst>
          </p:cNvPr>
          <p:cNvSpPr/>
          <p:nvPr/>
        </p:nvSpPr>
        <p:spPr bwMode="auto">
          <a:xfrm>
            <a:off x="8358396" y="979818"/>
            <a:ext cx="3721310" cy="145657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10"/>
          <p:cNvSpPr/>
          <p:nvPr/>
        </p:nvSpPr>
        <p:spPr>
          <a:xfrm>
            <a:off x="1206244" y="2655852"/>
            <a:ext cx="2612839" cy="534358"/>
          </a:xfrm>
          <a:prstGeom prst="rect">
            <a:avLst/>
          </a:prstGeom>
        </p:spPr>
        <p:txBody>
          <a:bodyPr wrap="square" lIns="0" tIns="0" rIns="0" bIns="0">
            <a:noAutofit/>
          </a:bodyPr>
          <a:lstStyle/>
          <a:p>
            <a:pPr marL="0" marR="0" lvl="0" indent="0" algn="l" defTabSz="724942" rtl="0" eaLnBrk="1" fontAlgn="auto" latinLnBrk="0" hangingPunct="1">
              <a:lnSpc>
                <a:spcPct val="90000"/>
              </a:lnSpc>
              <a:spcBef>
                <a:spcPct val="0"/>
              </a:spcBef>
              <a:spcAft>
                <a:spcPct val="35000"/>
              </a:spcAft>
              <a:buClrTx/>
              <a:buSzTx/>
              <a:buFontTx/>
              <a:buNone/>
              <a:tabLst/>
              <a:defRPr/>
            </a:pPr>
            <a:r>
              <a:rPr kumimoji="1" lang="en-US" sz="1800" b="1" i="0" u="none" strike="noStrike" kern="1200" cap="none" spc="0" normalizeH="0" baseline="0" noProof="0" dirty="0">
                <a:ln>
                  <a:noFill/>
                </a:ln>
                <a:solidFill>
                  <a:srgbClr val="002050"/>
                </a:solidFill>
                <a:effectLst/>
                <a:uLnTx/>
                <a:uFillTx/>
                <a:latin typeface="Segoe UI"/>
                <a:ea typeface="+mn-ea"/>
                <a:cs typeface="+mn-cs"/>
              </a:rPr>
              <a:t>1.3 </a:t>
            </a:r>
            <a:r>
              <a:rPr kumimoji="1" lang="en-US" altLang="zh-CN" sz="1800" b="1" i="0" u="none" strike="noStrike" kern="1200" cap="none" spc="0" normalizeH="0" baseline="0" noProof="0" dirty="0">
                <a:ln>
                  <a:noFill/>
                </a:ln>
                <a:solidFill>
                  <a:srgbClr val="002050"/>
                </a:solidFill>
                <a:effectLst/>
                <a:uLnTx/>
                <a:uFillTx/>
                <a:latin typeface="Segoe UI"/>
                <a:ea typeface="+mn-ea"/>
                <a:cs typeface="+mn-cs"/>
              </a:rPr>
              <a:t>nC</a:t>
            </a:r>
            <a:endParaRPr kumimoji="1" lang="en-US" sz="1800" b="1" i="0" u="none" strike="noStrike" kern="1200" cap="none" spc="0" normalizeH="0" baseline="0" noProof="0" dirty="0">
              <a:ln>
                <a:noFill/>
              </a:ln>
              <a:solidFill>
                <a:srgbClr val="002050"/>
              </a:solidFill>
              <a:effectLst/>
              <a:uLnTx/>
              <a:uFillTx/>
              <a:latin typeface="Segoe UI"/>
              <a:ea typeface="+mn-ea"/>
              <a:cs typeface="+mn-cs"/>
            </a:endParaRPr>
          </a:p>
        </p:txBody>
      </p:sp>
      <p:sp>
        <p:nvSpPr>
          <p:cNvPr id="6" name="円/楕円 2"/>
          <p:cNvSpPr/>
          <p:nvPr/>
        </p:nvSpPr>
        <p:spPr>
          <a:xfrm>
            <a:off x="984574" y="2781756"/>
            <a:ext cx="176829" cy="184991"/>
          </a:xfrm>
          <a:prstGeom prst="ellipse">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1-17</a:t>
            </a:r>
          </a:p>
        </p:txBody>
      </p:sp>
      <p:pic>
        <p:nvPicPr>
          <p:cNvPr id="11" name="图片 10">
            <a:extLst>
              <a:ext uri="{FF2B5EF4-FFF2-40B4-BE49-F238E27FC236}">
                <a16:creationId xmlns:a16="http://schemas.microsoft.com/office/drawing/2014/main" id="{A5757261-143A-48A4-B346-E20637B6C0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89995" y="1132198"/>
            <a:ext cx="5576637" cy="5576637"/>
          </a:xfrm>
          <a:prstGeom prst="rect">
            <a:avLst/>
          </a:prstGeom>
        </p:spPr>
      </p:pic>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191653"/>
            <a:ext cx="11561274" cy="593487"/>
          </a:xfrm>
        </p:spPr>
        <p:txBody>
          <a:bodyPr/>
          <a:lstStyle/>
          <a:p>
            <a:r>
              <a:rPr lang="en-US" sz="4800" dirty="0"/>
              <a:t>Controllable and Monitorable Laser (R4.2)</a:t>
            </a:r>
          </a:p>
        </p:txBody>
      </p:sp>
      <p:pic>
        <p:nvPicPr>
          <p:cNvPr id="14" name="図 20">
            <a:extLst>
              <a:ext uri="{FF2B5EF4-FFF2-40B4-BE49-F238E27FC236}">
                <a16:creationId xmlns:a16="http://schemas.microsoft.com/office/drawing/2014/main" id="{F5D46D8D-90FD-4AF4-BC6B-F26A4269B33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61907" y="1062119"/>
            <a:ext cx="1755672" cy="1316754"/>
          </a:xfrm>
          <a:prstGeom prst="rect">
            <a:avLst/>
          </a:prstGeom>
        </p:spPr>
      </p:pic>
      <p:sp>
        <p:nvSpPr>
          <p:cNvPr id="15" name="TextBox 7">
            <a:extLst>
              <a:ext uri="{FF2B5EF4-FFF2-40B4-BE49-F238E27FC236}">
                <a16:creationId xmlns:a16="http://schemas.microsoft.com/office/drawing/2014/main" id="{4DD94725-ADBC-4B05-8340-A3ECF51B8B08}"/>
              </a:ext>
            </a:extLst>
          </p:cNvPr>
          <p:cNvSpPr txBox="1"/>
          <p:nvPr/>
        </p:nvSpPr>
        <p:spPr>
          <a:xfrm>
            <a:off x="8474700" y="2919511"/>
            <a:ext cx="3605005" cy="993938"/>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emporary setup for </a:t>
            </a:r>
            <a:r>
              <a:rPr lang="en-US" altLang="zh-CN"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aser </a:t>
            </a: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beam shaping</a:t>
            </a:r>
          </a:p>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Remote control</a:t>
            </a:r>
          </a:p>
        </p:txBody>
      </p:sp>
      <p:pic>
        <p:nvPicPr>
          <p:cNvPr id="17" name="図 2">
            <a:extLst>
              <a:ext uri="{FF2B5EF4-FFF2-40B4-BE49-F238E27FC236}">
                <a16:creationId xmlns:a16="http://schemas.microsoft.com/office/drawing/2014/main" id="{41C38BBF-5750-4AD3-AF3E-32134647724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16200000">
            <a:off x="8651775" y="842660"/>
            <a:ext cx="1316754" cy="1755672"/>
          </a:xfrm>
          <a:prstGeom prst="rect">
            <a:avLst/>
          </a:prstGeom>
        </p:spPr>
      </p:pic>
      <p:sp>
        <p:nvSpPr>
          <p:cNvPr id="19" name="TextBox 10">
            <a:extLst>
              <a:ext uri="{FF2B5EF4-FFF2-40B4-BE49-F238E27FC236}">
                <a16:creationId xmlns:a16="http://schemas.microsoft.com/office/drawing/2014/main" id="{B7E0B7E7-CE60-4010-A3D2-4D371FF9A08A}"/>
              </a:ext>
            </a:extLst>
          </p:cNvPr>
          <p:cNvSpPr txBox="1"/>
          <p:nvPr/>
        </p:nvSpPr>
        <p:spPr>
          <a:xfrm>
            <a:off x="8358396" y="2493479"/>
            <a:ext cx="3721309" cy="415948"/>
          </a:xfrm>
          <a:prstGeom prst="rect">
            <a:avLst/>
          </a:prstGeom>
          <a:solidFill>
            <a:schemeClr val="accent3"/>
          </a:solidFill>
          <a:ln w="12700">
            <a:noFill/>
            <a:prstDash val="sysDash"/>
          </a:ln>
        </p:spPr>
        <p:txBody>
          <a:bodyPr wrap="square" lIns="91379" tIns="45690" rIns="91379" bIns="45690" rtlCol="0" anchor="ctr" anchorCtr="0">
            <a:noAutofit/>
          </a:bodyPr>
          <a:lstStyle>
            <a:defPPr>
              <a:defRPr lang="en-US"/>
            </a:defPPr>
            <a:lvl1pPr algn="ctr" defTabSz="1624214" fontAlgn="base">
              <a:defRPr sz="1600" kern="0">
                <a:ln>
                  <a:solidFill>
                    <a:srgbClr val="FFFFFF">
                      <a:alpha val="0"/>
                    </a:srgbClr>
                  </a:solidFill>
                </a:ln>
                <a:gradFill>
                  <a:gsLst>
                    <a:gs pos="0">
                      <a:sysClr val="window" lastClr="FFFFFF"/>
                    </a:gs>
                    <a:gs pos="100000">
                      <a:sysClr val="window" lastClr="FFFFFF"/>
                    </a:gs>
                  </a:gsLst>
                  <a:lin ang="16200000" scaled="0"/>
                </a:gradFill>
              </a:defRPr>
            </a:lvl1pPr>
          </a:lstStyle>
          <a:p>
            <a:r>
              <a:rPr lang="en-US" sz="2200" b="1" dirty="0">
                <a:latin typeface="等线 Light" panose="02010600030101010101" pitchFamily="2" charset="-122"/>
                <a:ea typeface="等线 Light" panose="02010600030101010101" pitchFamily="2" charset="-122"/>
              </a:rPr>
              <a:t>UV laser aperture</a:t>
            </a:r>
          </a:p>
        </p:txBody>
      </p:sp>
      <p:sp>
        <p:nvSpPr>
          <p:cNvPr id="25" name="TextBox 10">
            <a:extLst>
              <a:ext uri="{FF2B5EF4-FFF2-40B4-BE49-F238E27FC236}">
                <a16:creationId xmlns:a16="http://schemas.microsoft.com/office/drawing/2014/main" id="{EF59A82C-C315-40C0-BAE8-31E901AFA1EF}"/>
              </a:ext>
            </a:extLst>
          </p:cNvPr>
          <p:cNvSpPr txBox="1"/>
          <p:nvPr/>
        </p:nvSpPr>
        <p:spPr>
          <a:xfrm>
            <a:off x="8667652" y="5612825"/>
            <a:ext cx="2745522" cy="415948"/>
          </a:xfrm>
          <a:prstGeom prst="rect">
            <a:avLst/>
          </a:prstGeom>
          <a:solidFill>
            <a:schemeClr val="accent6"/>
          </a:solidFill>
          <a:ln w="12700">
            <a:noFill/>
            <a:prstDash val="sysDash"/>
          </a:ln>
        </p:spPr>
        <p:txBody>
          <a:bodyPr wrap="square" lIns="91379" tIns="45690" rIns="91379" bIns="45690" rtlCol="0" anchor="ctr" anchorCtr="0">
            <a:noAutofit/>
          </a:bodyPr>
          <a:lstStyle>
            <a:defPPr>
              <a:defRPr lang="en-US"/>
            </a:defPPr>
            <a:lvl1pPr algn="ctr" defTabSz="1624214" fontAlgn="base">
              <a:defRPr sz="1600" kern="0">
                <a:ln>
                  <a:solidFill>
                    <a:srgbClr val="FFFFFF">
                      <a:alpha val="0"/>
                    </a:srgbClr>
                  </a:solidFill>
                </a:ln>
                <a:gradFill>
                  <a:gsLst>
                    <a:gs pos="0">
                      <a:sysClr val="window" lastClr="FFFFFF"/>
                    </a:gs>
                    <a:gs pos="100000">
                      <a:sysClr val="window" lastClr="FFFFFF"/>
                    </a:gs>
                  </a:gsLst>
                  <a:lin ang="16200000" scaled="0"/>
                </a:gradFill>
              </a:defRPr>
            </a:lvl1pPr>
          </a:lstStyle>
          <a:p>
            <a:r>
              <a:rPr lang="en-US" altLang="zh-CN" sz="2000" b="1" dirty="0">
                <a:latin typeface="等线 Light" panose="02010600030101010101" pitchFamily="2" charset="-122"/>
                <a:ea typeface="等线 Light" panose="02010600030101010101" pitchFamily="2" charset="-122"/>
              </a:rPr>
              <a:t>UV laser beam profile</a:t>
            </a:r>
            <a:endParaRPr lang="en-US" sz="2000" b="1" dirty="0">
              <a:latin typeface="等线 Light" panose="02010600030101010101" pitchFamily="2" charset="-122"/>
              <a:ea typeface="等线 Light" panose="02010600030101010101" pitchFamily="2" charset="-122"/>
            </a:endParaRPr>
          </a:p>
        </p:txBody>
      </p:sp>
      <p:sp>
        <p:nvSpPr>
          <p:cNvPr id="28" name="TextBox 7">
            <a:extLst>
              <a:ext uri="{FF2B5EF4-FFF2-40B4-BE49-F238E27FC236}">
                <a16:creationId xmlns:a16="http://schemas.microsoft.com/office/drawing/2014/main" id="{C3BF2F01-0B1E-446D-A72D-17F158F15DA1}"/>
              </a:ext>
            </a:extLst>
          </p:cNvPr>
          <p:cNvSpPr txBox="1"/>
          <p:nvPr/>
        </p:nvSpPr>
        <p:spPr>
          <a:xfrm>
            <a:off x="132024" y="4030018"/>
            <a:ext cx="2630159" cy="2412484"/>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CCD setup at the virtual cathode position</a:t>
            </a:r>
          </a:p>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Net energy meter </a:t>
            </a:r>
          </a:p>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Remote control actuators for fine adjustment (20 pieces)</a:t>
            </a:r>
          </a:p>
        </p:txBody>
      </p:sp>
      <p:pic>
        <p:nvPicPr>
          <p:cNvPr id="30" name="图片 29">
            <a:extLst>
              <a:ext uri="{FF2B5EF4-FFF2-40B4-BE49-F238E27FC236}">
                <a16:creationId xmlns:a16="http://schemas.microsoft.com/office/drawing/2014/main" id="{E287405D-E8E5-44DA-A675-56666243F76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40980" y="4292068"/>
            <a:ext cx="1198866" cy="1198866"/>
          </a:xfrm>
          <a:prstGeom prst="rect">
            <a:avLst/>
          </a:prstGeom>
        </p:spPr>
      </p:pic>
      <p:sp>
        <p:nvSpPr>
          <p:cNvPr id="31" name="Rectangle 13">
            <a:extLst>
              <a:ext uri="{FF2B5EF4-FFF2-40B4-BE49-F238E27FC236}">
                <a16:creationId xmlns:a16="http://schemas.microsoft.com/office/drawing/2014/main" id="{0E140200-1B3A-4894-AA46-DD0F235FF19E}"/>
              </a:ext>
            </a:extLst>
          </p:cNvPr>
          <p:cNvSpPr/>
          <p:nvPr/>
        </p:nvSpPr>
        <p:spPr bwMode="auto">
          <a:xfrm>
            <a:off x="77471" y="1803112"/>
            <a:ext cx="2435192" cy="134142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2" name="TextBox 10">
            <a:extLst>
              <a:ext uri="{FF2B5EF4-FFF2-40B4-BE49-F238E27FC236}">
                <a16:creationId xmlns:a16="http://schemas.microsoft.com/office/drawing/2014/main" id="{3778A585-74F2-4EC2-85CA-348C8442E68D}"/>
              </a:ext>
            </a:extLst>
          </p:cNvPr>
          <p:cNvSpPr txBox="1"/>
          <p:nvPr/>
        </p:nvSpPr>
        <p:spPr>
          <a:xfrm>
            <a:off x="77471" y="3195176"/>
            <a:ext cx="2435192" cy="415948"/>
          </a:xfrm>
          <a:prstGeom prst="rect">
            <a:avLst/>
          </a:prstGeom>
          <a:solidFill>
            <a:schemeClr val="accent6"/>
          </a:solidFill>
          <a:ln w="12700">
            <a:noFill/>
            <a:prstDash val="sysDash"/>
          </a:ln>
        </p:spPr>
        <p:txBody>
          <a:bodyPr wrap="square" lIns="91379" tIns="45690" rIns="91379" bIns="45690" rtlCol="0" anchor="ctr" anchorCtr="0">
            <a:noAutofit/>
          </a:bodyPr>
          <a:lstStyle>
            <a:defPPr>
              <a:defRPr lang="en-US"/>
            </a:defPPr>
            <a:lvl1pPr algn="ctr" defTabSz="1624214" fontAlgn="base">
              <a:defRPr sz="1600" kern="0">
                <a:ln>
                  <a:solidFill>
                    <a:srgbClr val="FFFFFF">
                      <a:alpha val="0"/>
                    </a:srgbClr>
                  </a:solidFill>
                </a:ln>
                <a:gradFill>
                  <a:gsLst>
                    <a:gs pos="0">
                      <a:sysClr val="window" lastClr="FFFFFF"/>
                    </a:gs>
                    <a:gs pos="100000">
                      <a:sysClr val="window" lastClr="FFFFFF"/>
                    </a:gs>
                  </a:gsLst>
                  <a:lin ang="16200000" scaled="0"/>
                </a:gradFill>
              </a:defRPr>
            </a:lvl1pPr>
          </a:lstStyle>
          <a:p>
            <a:r>
              <a:rPr lang="en-US" altLang="zh-CN" sz="1800" b="1" dirty="0">
                <a:latin typeface="等线 Light" panose="02010600030101010101" pitchFamily="2" charset="-122"/>
                <a:ea typeface="等线 Light" panose="02010600030101010101" pitchFamily="2" charset="-122"/>
              </a:rPr>
              <a:t>UV laser beam profile</a:t>
            </a:r>
            <a:endParaRPr lang="en-US" sz="1800" b="1" dirty="0">
              <a:latin typeface="等线 Light" panose="02010600030101010101" pitchFamily="2" charset="-122"/>
              <a:ea typeface="等线 Light" panose="02010600030101010101" pitchFamily="2" charset="-122"/>
            </a:endParaRPr>
          </a:p>
        </p:txBody>
      </p:sp>
      <p:pic>
        <p:nvPicPr>
          <p:cNvPr id="34" name="图片 33">
            <a:extLst>
              <a:ext uri="{FF2B5EF4-FFF2-40B4-BE49-F238E27FC236}">
                <a16:creationId xmlns:a16="http://schemas.microsoft.com/office/drawing/2014/main" id="{BEED3C1F-93D5-4867-8101-1695CC8162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0735" y="1838249"/>
            <a:ext cx="1268663" cy="1271146"/>
          </a:xfrm>
          <a:prstGeom prst="rect">
            <a:avLst/>
          </a:prstGeom>
        </p:spPr>
      </p:pic>
      <p:cxnSp>
        <p:nvCxnSpPr>
          <p:cNvPr id="37" name="直接箭头连接符 36">
            <a:extLst>
              <a:ext uri="{FF2B5EF4-FFF2-40B4-BE49-F238E27FC236}">
                <a16:creationId xmlns:a16="http://schemas.microsoft.com/office/drawing/2014/main" id="{78FE10BD-3D64-4499-88EF-9567D310BCD3}"/>
              </a:ext>
            </a:extLst>
          </p:cNvPr>
          <p:cNvCxnSpPr>
            <a:cxnSpLocks/>
          </p:cNvCxnSpPr>
          <p:nvPr/>
        </p:nvCxnSpPr>
        <p:spPr>
          <a:xfrm flipH="1" flipV="1">
            <a:off x="2512662" y="2366425"/>
            <a:ext cx="120316" cy="139939"/>
          </a:xfrm>
          <a:prstGeom prst="straightConnector1">
            <a:avLst/>
          </a:prstGeom>
          <a:ln w="285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直接箭头连接符 38">
            <a:extLst>
              <a:ext uri="{FF2B5EF4-FFF2-40B4-BE49-F238E27FC236}">
                <a16:creationId xmlns:a16="http://schemas.microsoft.com/office/drawing/2014/main" id="{F56863BE-A898-4A3D-82B3-ABEFE3BE4D08}"/>
              </a:ext>
            </a:extLst>
          </p:cNvPr>
          <p:cNvCxnSpPr>
            <a:cxnSpLocks/>
          </p:cNvCxnSpPr>
          <p:nvPr/>
        </p:nvCxnSpPr>
        <p:spPr>
          <a:xfrm flipV="1">
            <a:off x="7261058" y="2436395"/>
            <a:ext cx="1406594" cy="753815"/>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1" name="直接箭头连接符 40">
            <a:extLst>
              <a:ext uri="{FF2B5EF4-FFF2-40B4-BE49-F238E27FC236}">
                <a16:creationId xmlns:a16="http://schemas.microsoft.com/office/drawing/2014/main" id="{1F8BF68D-D000-499A-81C6-370C78645F88}"/>
              </a:ext>
            </a:extLst>
          </p:cNvPr>
          <p:cNvCxnSpPr>
            <a:cxnSpLocks/>
          </p:cNvCxnSpPr>
          <p:nvPr/>
        </p:nvCxnSpPr>
        <p:spPr>
          <a:xfrm flipV="1">
            <a:off x="7902742" y="5490934"/>
            <a:ext cx="739493" cy="292339"/>
          </a:xfrm>
          <a:prstGeom prst="straightConnector1">
            <a:avLst/>
          </a:prstGeom>
          <a:ln w="285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a:extLst>
              <a:ext uri="{FF2B5EF4-FFF2-40B4-BE49-F238E27FC236}">
                <a16:creationId xmlns:a16="http://schemas.microsoft.com/office/drawing/2014/main" id="{E57131A4-A438-400A-A869-166D03A34FCA}"/>
              </a:ext>
            </a:extLst>
          </p:cNvPr>
          <p:cNvCxnSpPr>
            <a:cxnSpLocks/>
          </p:cNvCxnSpPr>
          <p:nvPr/>
        </p:nvCxnSpPr>
        <p:spPr>
          <a:xfrm flipV="1">
            <a:off x="5746585" y="2506364"/>
            <a:ext cx="2980320" cy="2385138"/>
          </a:xfrm>
          <a:prstGeom prst="straightConnector1">
            <a:avLst/>
          </a:prstGeom>
          <a:ln w="28575">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8" name="矩形 47">
            <a:extLst>
              <a:ext uri="{FF2B5EF4-FFF2-40B4-BE49-F238E27FC236}">
                <a16:creationId xmlns:a16="http://schemas.microsoft.com/office/drawing/2014/main" id="{6AB405DE-12C7-4B44-8421-D67FE35BB414}"/>
              </a:ext>
            </a:extLst>
          </p:cNvPr>
          <p:cNvSpPr/>
          <p:nvPr/>
        </p:nvSpPr>
        <p:spPr>
          <a:xfrm>
            <a:off x="3942503" y="6266237"/>
            <a:ext cx="3143809" cy="400110"/>
          </a:xfrm>
          <a:prstGeom prst="rect">
            <a:avLst/>
          </a:prstGeom>
        </p:spPr>
        <p:txBody>
          <a:bodyPr wrap="none">
            <a:spAutoFit/>
          </a:bodyPr>
          <a:lstStyle/>
          <a:p>
            <a:r>
              <a:rPr lang="en-US" altLang="zh-CN" sz="2000" b="1" dirty="0">
                <a:solidFill>
                  <a:srgbClr val="002060"/>
                </a:solidFill>
                <a:latin typeface="等线 Light" panose="02010600030101010101" pitchFamily="2" charset="-122"/>
                <a:ea typeface="等线 Light" panose="02010600030101010101" pitchFamily="2" charset="-122"/>
              </a:rPr>
              <a:t>Optics layout in RF gun box</a:t>
            </a:r>
            <a:endParaRPr lang="zh-CN" altLang="en-US" sz="2000" dirty="0">
              <a:solidFill>
                <a:srgbClr val="002060"/>
              </a:solidFill>
            </a:endParaRPr>
          </a:p>
        </p:txBody>
      </p:sp>
      <p:cxnSp>
        <p:nvCxnSpPr>
          <p:cNvPr id="50" name="直接连接符 49">
            <a:extLst>
              <a:ext uri="{FF2B5EF4-FFF2-40B4-BE49-F238E27FC236}">
                <a16:creationId xmlns:a16="http://schemas.microsoft.com/office/drawing/2014/main" id="{60AA79BB-6529-4CE6-8142-CC5A0713F40E}"/>
              </a:ext>
            </a:extLst>
          </p:cNvPr>
          <p:cNvCxnSpPr/>
          <p:nvPr/>
        </p:nvCxnSpPr>
        <p:spPr>
          <a:xfrm>
            <a:off x="4822656" y="1238821"/>
            <a:ext cx="541421" cy="0"/>
          </a:xfrm>
          <a:prstGeom prst="line">
            <a:avLst/>
          </a:prstGeom>
          <a:ln w="19050">
            <a:headEnd type="none"/>
            <a:tailEnd type="none"/>
          </a:ln>
        </p:spPr>
        <p:style>
          <a:lnRef idx="1">
            <a:schemeClr val="accent2"/>
          </a:lnRef>
          <a:fillRef idx="0">
            <a:schemeClr val="accent2"/>
          </a:fillRef>
          <a:effectRef idx="0">
            <a:schemeClr val="accent2"/>
          </a:effectRef>
          <a:fontRef idx="minor">
            <a:schemeClr val="tx1"/>
          </a:fontRef>
        </p:style>
      </p:cxnSp>
      <p:cxnSp>
        <p:nvCxnSpPr>
          <p:cNvPr id="51" name="直接连接符 50">
            <a:extLst>
              <a:ext uri="{FF2B5EF4-FFF2-40B4-BE49-F238E27FC236}">
                <a16:creationId xmlns:a16="http://schemas.microsoft.com/office/drawing/2014/main" id="{289931A9-16C2-414C-99BB-26A079933572}"/>
              </a:ext>
            </a:extLst>
          </p:cNvPr>
          <p:cNvCxnSpPr/>
          <p:nvPr/>
        </p:nvCxnSpPr>
        <p:spPr>
          <a:xfrm>
            <a:off x="4822655" y="1638300"/>
            <a:ext cx="541421" cy="0"/>
          </a:xfrm>
          <a:prstGeom prst="line">
            <a:avLst/>
          </a:prstGeom>
          <a:ln w="19050">
            <a:headEnd type="none"/>
            <a:tailEnd type="none"/>
          </a:ln>
        </p:spPr>
        <p:style>
          <a:lnRef idx="1">
            <a:schemeClr val="accent1"/>
          </a:lnRef>
          <a:fillRef idx="0">
            <a:schemeClr val="accent1"/>
          </a:fillRef>
          <a:effectRef idx="0">
            <a:schemeClr val="accent1"/>
          </a:effectRef>
          <a:fontRef idx="minor">
            <a:schemeClr val="tx1"/>
          </a:fontRef>
        </p:style>
      </p:cxnSp>
      <p:sp>
        <p:nvSpPr>
          <p:cNvPr id="52" name="矩形 51">
            <a:extLst>
              <a:ext uri="{FF2B5EF4-FFF2-40B4-BE49-F238E27FC236}">
                <a16:creationId xmlns:a16="http://schemas.microsoft.com/office/drawing/2014/main" id="{54FF1B50-01AA-4CAE-851C-4B04A80871E2}"/>
              </a:ext>
            </a:extLst>
          </p:cNvPr>
          <p:cNvSpPr/>
          <p:nvPr/>
        </p:nvSpPr>
        <p:spPr>
          <a:xfrm>
            <a:off x="5395652" y="1028593"/>
            <a:ext cx="1058303" cy="400110"/>
          </a:xfrm>
          <a:prstGeom prst="rect">
            <a:avLst/>
          </a:prstGeom>
        </p:spPr>
        <p:txBody>
          <a:bodyPr wrap="none">
            <a:spAutoFit/>
          </a:bodyPr>
          <a:lstStyle/>
          <a:p>
            <a:r>
              <a:rPr lang="en-US" altLang="zh-CN" sz="2000" b="1" dirty="0">
                <a:solidFill>
                  <a:srgbClr val="002060"/>
                </a:solidFill>
                <a:latin typeface="等线 Light" panose="02010600030101010101" pitchFamily="2" charset="-122"/>
                <a:ea typeface="等线 Light" panose="02010600030101010101" pitchFamily="2" charset="-122"/>
              </a:rPr>
              <a:t>1st laser</a:t>
            </a:r>
            <a:endParaRPr lang="zh-CN" altLang="en-US" sz="2000" dirty="0">
              <a:solidFill>
                <a:srgbClr val="002060"/>
              </a:solidFill>
            </a:endParaRPr>
          </a:p>
        </p:txBody>
      </p:sp>
      <p:sp>
        <p:nvSpPr>
          <p:cNvPr id="53" name="矩形 52">
            <a:extLst>
              <a:ext uri="{FF2B5EF4-FFF2-40B4-BE49-F238E27FC236}">
                <a16:creationId xmlns:a16="http://schemas.microsoft.com/office/drawing/2014/main" id="{3EBA3A8C-CBD4-4C49-AA56-5BA9A58BE9E4}"/>
              </a:ext>
            </a:extLst>
          </p:cNvPr>
          <p:cNvSpPr/>
          <p:nvPr/>
        </p:nvSpPr>
        <p:spPr>
          <a:xfrm>
            <a:off x="5375971" y="1403002"/>
            <a:ext cx="1164101" cy="400110"/>
          </a:xfrm>
          <a:prstGeom prst="rect">
            <a:avLst/>
          </a:prstGeom>
        </p:spPr>
        <p:txBody>
          <a:bodyPr wrap="none">
            <a:spAutoFit/>
          </a:bodyPr>
          <a:lstStyle/>
          <a:p>
            <a:r>
              <a:rPr lang="en-US" altLang="zh-CN" sz="2000" b="1" dirty="0">
                <a:solidFill>
                  <a:srgbClr val="002060"/>
                </a:solidFill>
                <a:latin typeface="等线 Light" panose="02010600030101010101" pitchFamily="2" charset="-122"/>
                <a:ea typeface="等线 Light" panose="02010600030101010101" pitchFamily="2" charset="-122"/>
              </a:rPr>
              <a:t>2nd laser</a:t>
            </a:r>
            <a:endParaRPr lang="zh-CN" altLang="en-US" sz="2000" dirty="0">
              <a:solidFill>
                <a:srgbClr val="002060"/>
              </a:solidFill>
            </a:endParaRPr>
          </a:p>
        </p:txBody>
      </p:sp>
    </p:spTree>
    <p:extLst>
      <p:ext uri="{BB962C8B-B14F-4D97-AF65-F5344CB8AC3E}">
        <p14:creationId xmlns:p14="http://schemas.microsoft.com/office/powerpoint/2010/main" val="11916909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2-17</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191653"/>
            <a:ext cx="11561274" cy="593487"/>
          </a:xfrm>
        </p:spPr>
        <p:txBody>
          <a:bodyPr/>
          <a:lstStyle/>
          <a:p>
            <a:r>
              <a:rPr lang="en-US" sz="4800" dirty="0"/>
              <a:t>Laser Status Monitoring System</a:t>
            </a:r>
          </a:p>
        </p:txBody>
      </p:sp>
      <p:pic>
        <p:nvPicPr>
          <p:cNvPr id="3" name="图片 2">
            <a:extLst>
              <a:ext uri="{FF2B5EF4-FFF2-40B4-BE49-F238E27FC236}">
                <a16:creationId xmlns:a16="http://schemas.microsoft.com/office/drawing/2014/main" id="{0E2681F6-AC86-4789-831D-3F1AE3DB41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4408" y="1089269"/>
            <a:ext cx="10324093" cy="5353233"/>
          </a:xfrm>
          <a:prstGeom prst="rect">
            <a:avLst/>
          </a:prstGeom>
        </p:spPr>
      </p:pic>
      <p:sp>
        <p:nvSpPr>
          <p:cNvPr id="4" name="矩形 3">
            <a:extLst>
              <a:ext uri="{FF2B5EF4-FFF2-40B4-BE49-F238E27FC236}">
                <a16:creationId xmlns:a16="http://schemas.microsoft.com/office/drawing/2014/main" id="{16191C1D-EB4B-4675-A576-878BB3D5A114}"/>
              </a:ext>
            </a:extLst>
          </p:cNvPr>
          <p:cNvSpPr/>
          <p:nvPr/>
        </p:nvSpPr>
        <p:spPr>
          <a:xfrm>
            <a:off x="751973" y="6442502"/>
            <a:ext cx="5561138" cy="400110"/>
          </a:xfrm>
          <a:prstGeom prst="rect">
            <a:avLst/>
          </a:prstGeom>
        </p:spPr>
        <p:txBody>
          <a:bodyPr wrap="none">
            <a:spAutoFit/>
          </a:bodyPr>
          <a:lstStyle/>
          <a:p>
            <a:r>
              <a:rPr lang="en-US" altLang="zh-CN"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http://www-linac.kek.jp/ope/opelog2/opelog.html</a:t>
            </a:r>
            <a:endParaRPr lang="zh-CN" altLang="en-US" dirty="0"/>
          </a:p>
        </p:txBody>
      </p:sp>
    </p:spTree>
    <p:extLst>
      <p:ext uri="{BB962C8B-B14F-4D97-AF65-F5344CB8AC3E}">
        <p14:creationId xmlns:p14="http://schemas.microsoft.com/office/powerpoint/2010/main" val="27473417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3">
            <a:extLst>
              <a:ext uri="{FF2B5EF4-FFF2-40B4-BE49-F238E27FC236}">
                <a16:creationId xmlns:a16="http://schemas.microsoft.com/office/drawing/2014/main" id="{21340DCC-B8D6-4285-9283-EBB1E1D87B97}"/>
              </a:ext>
            </a:extLst>
          </p:cNvPr>
          <p:cNvSpPr/>
          <p:nvPr/>
        </p:nvSpPr>
        <p:spPr bwMode="auto">
          <a:xfrm>
            <a:off x="254030" y="937495"/>
            <a:ext cx="11683944" cy="279831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rtl="0"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2" y="86561"/>
            <a:ext cx="11561274" cy="593487"/>
          </a:xfrm>
        </p:spPr>
        <p:txBody>
          <a:bodyPr/>
          <a:lstStyle/>
          <a:p>
            <a:r>
              <a:rPr lang="en-US" sz="4800" dirty="0"/>
              <a:t>Electron Beam Commissioning (R4.2 &amp; R4.4)</a:t>
            </a:r>
          </a:p>
        </p:txBody>
      </p:sp>
      <p:pic>
        <p:nvPicPr>
          <p:cNvPr id="23" name="Picture 2" descr="../../opelog2/php/upload/uploadfile/2018-12/03/20181203-194719.png">
            <a:extLst>
              <a:ext uri="{FF2B5EF4-FFF2-40B4-BE49-F238E27FC236}">
                <a16:creationId xmlns:a16="http://schemas.microsoft.com/office/drawing/2014/main" id="{6D8F24EA-0EA6-4DD4-881F-343D6A7118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12663" y="982167"/>
            <a:ext cx="4426372" cy="2700838"/>
          </a:xfrm>
          <a:prstGeom prst="rect">
            <a:avLst/>
          </a:prstGeom>
          <a:noFill/>
          <a:extLst>
            <a:ext uri="{909E8E84-426E-40DD-AFC4-6F175D3DCCD1}">
              <a14:hiddenFill xmlns:a14="http://schemas.microsoft.com/office/drawing/2010/main">
                <a:solidFill>
                  <a:srgbClr val="FFFFFF"/>
                </a:solidFill>
              </a14:hiddenFill>
            </a:ext>
          </a:extLst>
        </p:spPr>
      </p:pic>
      <p:pic>
        <p:nvPicPr>
          <p:cNvPr id="26" name="図 3" descr="C:\Users\cband-x003\Desktop\QQ截图20181116182034.jpg">
            <a:extLst>
              <a:ext uri="{FF2B5EF4-FFF2-40B4-BE49-F238E27FC236}">
                <a16:creationId xmlns:a16="http://schemas.microsoft.com/office/drawing/2014/main" id="{AF0E5051-EA9A-4863-928D-F6C031A6E3F8}"/>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992627" y="1031705"/>
            <a:ext cx="3392153" cy="2566376"/>
          </a:xfrm>
          <a:prstGeom prst="rect">
            <a:avLst/>
          </a:prstGeom>
          <a:noFill/>
          <a:ln>
            <a:noFill/>
          </a:ln>
        </p:spPr>
      </p:pic>
      <p:sp>
        <p:nvSpPr>
          <p:cNvPr id="2" name="矩形 1">
            <a:extLst>
              <a:ext uri="{FF2B5EF4-FFF2-40B4-BE49-F238E27FC236}">
                <a16:creationId xmlns:a16="http://schemas.microsoft.com/office/drawing/2014/main" id="{142171E5-FA62-4081-BB47-16D1B5637425}"/>
              </a:ext>
            </a:extLst>
          </p:cNvPr>
          <p:cNvSpPr/>
          <p:nvPr/>
        </p:nvSpPr>
        <p:spPr>
          <a:xfrm>
            <a:off x="360902" y="1283841"/>
            <a:ext cx="2350957" cy="2062103"/>
          </a:xfrm>
          <a:prstGeom prst="rect">
            <a:avLst/>
          </a:prstGeom>
        </p:spPr>
        <p:txBody>
          <a:bodyPr wrap="square">
            <a:spAutoFit/>
          </a:bodyPr>
          <a:lstStyle/>
          <a:p>
            <a:r>
              <a:rPr lang="en-US" altLang="zh-CN" sz="32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High Charge Test under Full Laser Energy</a:t>
            </a:r>
            <a:endParaRPr lang="zh-CN" altLang="en-US" sz="3200" dirty="0"/>
          </a:p>
        </p:txBody>
      </p:sp>
      <p:sp>
        <p:nvSpPr>
          <p:cNvPr id="29" name="Rectangle 23">
            <a:extLst>
              <a:ext uri="{FF2B5EF4-FFF2-40B4-BE49-F238E27FC236}">
                <a16:creationId xmlns:a16="http://schemas.microsoft.com/office/drawing/2014/main" id="{49601131-F025-4B93-9B66-9295FEDF4C02}"/>
              </a:ext>
            </a:extLst>
          </p:cNvPr>
          <p:cNvSpPr/>
          <p:nvPr/>
        </p:nvSpPr>
        <p:spPr bwMode="auto">
          <a:xfrm>
            <a:off x="254029" y="3823999"/>
            <a:ext cx="11683944" cy="2961812"/>
          </a:xfrm>
          <a:prstGeom prst="rect">
            <a:avLst/>
          </a:prstGeom>
          <a:solidFill>
            <a:schemeClr val="accent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rtl="0"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33" name="矩形 32">
            <a:extLst>
              <a:ext uri="{FF2B5EF4-FFF2-40B4-BE49-F238E27FC236}">
                <a16:creationId xmlns:a16="http://schemas.microsoft.com/office/drawing/2014/main" id="{A2E2E831-B680-4E40-AB82-6C5137968569}"/>
              </a:ext>
            </a:extLst>
          </p:cNvPr>
          <p:cNvSpPr/>
          <p:nvPr/>
        </p:nvSpPr>
        <p:spPr>
          <a:xfrm>
            <a:off x="440840" y="4520075"/>
            <a:ext cx="1642026" cy="1569660"/>
          </a:xfrm>
          <a:prstGeom prst="rect">
            <a:avLst/>
          </a:prstGeom>
        </p:spPr>
        <p:txBody>
          <a:bodyPr wrap="square">
            <a:spAutoFit/>
          </a:bodyPr>
          <a:lstStyle/>
          <a:p>
            <a:r>
              <a:rPr lang="en-US" altLang="zh-CN" sz="32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For </a:t>
            </a:r>
          </a:p>
          <a:p>
            <a:r>
              <a:rPr lang="en-US" altLang="zh-CN" sz="3200" b="1" dirty="0" err="1">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Commi-ssioning</a:t>
            </a:r>
            <a:endParaRPr lang="zh-CN" altLang="en-US" sz="3200" dirty="0"/>
          </a:p>
        </p:txBody>
      </p:sp>
      <p:sp>
        <p:nvSpPr>
          <p:cNvPr id="9" name="矩形 8">
            <a:extLst>
              <a:ext uri="{FF2B5EF4-FFF2-40B4-BE49-F238E27FC236}">
                <a16:creationId xmlns:a16="http://schemas.microsoft.com/office/drawing/2014/main" id="{BAD77C9D-6779-4CCB-80D8-AC423E090797}"/>
              </a:ext>
            </a:extLst>
          </p:cNvPr>
          <p:cNvSpPr/>
          <p:nvPr/>
        </p:nvSpPr>
        <p:spPr>
          <a:xfrm>
            <a:off x="8660352" y="3857405"/>
            <a:ext cx="3277620" cy="707886"/>
          </a:xfrm>
          <a:prstGeom prst="rect">
            <a:avLst/>
          </a:prstGeom>
        </p:spPr>
        <p:txBody>
          <a:bodyPr wrap="square">
            <a:spAutoFit/>
          </a:bodyPr>
          <a:lstStyle/>
          <a:p>
            <a:pPr algn="ctr"/>
            <a:r>
              <a:rPr lang="en-US" altLang="zh-CN"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aser pointing stability at the virtual cathode position </a:t>
            </a:r>
            <a:endParaRPr lang="zh-CN" altLang="en-US" sz="2000" dirty="0"/>
          </a:p>
        </p:txBody>
      </p:sp>
      <p:sp>
        <p:nvSpPr>
          <p:cNvPr id="35" name="正方形/長方形 21">
            <a:extLst>
              <a:ext uri="{FF2B5EF4-FFF2-40B4-BE49-F238E27FC236}">
                <a16:creationId xmlns:a16="http://schemas.microsoft.com/office/drawing/2014/main" id="{57C40756-02DF-463E-886F-CF6D984EB9E8}"/>
              </a:ext>
            </a:extLst>
          </p:cNvPr>
          <p:cNvSpPr/>
          <p:nvPr/>
        </p:nvSpPr>
        <p:spPr>
          <a:xfrm>
            <a:off x="7678230" y="1328460"/>
            <a:ext cx="1701107"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SP_A1_G Charge</a:t>
            </a:r>
            <a:endParaRPr kumimoji="0" lang="zh-CN" altLang="en-US" sz="1600" b="1" kern="0" dirty="0">
              <a:solidFill>
                <a:schemeClr val="bg2"/>
              </a:solidFill>
              <a:latin typeface="等线" panose="020F0502020204030204"/>
              <a:ea typeface="等线" panose="02010600030101010101" pitchFamily="2" charset="-122"/>
            </a:endParaRPr>
          </a:p>
        </p:txBody>
      </p:sp>
      <p:sp>
        <p:nvSpPr>
          <p:cNvPr id="36" name="正方形/長方形 20">
            <a:extLst>
              <a:ext uri="{FF2B5EF4-FFF2-40B4-BE49-F238E27FC236}">
                <a16:creationId xmlns:a16="http://schemas.microsoft.com/office/drawing/2014/main" id="{2F06BF51-E42A-4CD5-8CD1-433A409430B2}"/>
              </a:ext>
            </a:extLst>
          </p:cNvPr>
          <p:cNvSpPr/>
          <p:nvPr/>
        </p:nvSpPr>
        <p:spPr>
          <a:xfrm>
            <a:off x="9908261" y="3353737"/>
            <a:ext cx="1734770"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2856 MHz phase</a:t>
            </a:r>
            <a:endParaRPr kumimoji="0" lang="zh-CN" altLang="en-US" sz="1600" b="1" kern="0" dirty="0">
              <a:solidFill>
                <a:schemeClr val="bg2"/>
              </a:solidFill>
              <a:latin typeface="等线" panose="020F0502020204030204"/>
              <a:ea typeface="等线" panose="02010600030101010101" pitchFamily="2" charset="-122"/>
            </a:endParaRPr>
          </a:p>
        </p:txBody>
      </p:sp>
      <p:sp>
        <p:nvSpPr>
          <p:cNvPr id="40" name="Rectangle 10">
            <a:extLst>
              <a:ext uri="{FF2B5EF4-FFF2-40B4-BE49-F238E27FC236}">
                <a16:creationId xmlns:a16="http://schemas.microsoft.com/office/drawing/2014/main" id="{CDCE3FAA-00D5-45D1-ABCA-AA2ED14DF4AA}"/>
              </a:ext>
            </a:extLst>
          </p:cNvPr>
          <p:cNvSpPr/>
          <p:nvPr/>
        </p:nvSpPr>
        <p:spPr>
          <a:xfrm>
            <a:off x="9797605" y="1537092"/>
            <a:ext cx="2612839" cy="534358"/>
          </a:xfrm>
          <a:prstGeom prst="rect">
            <a:avLst/>
          </a:prstGeom>
        </p:spPr>
        <p:txBody>
          <a:bodyPr wrap="square" lIns="0" tIns="0" rIns="0" bIns="0">
            <a:noAutofit/>
          </a:bodyPr>
          <a:lstStyle/>
          <a:p>
            <a:pPr defTabSz="724942">
              <a:lnSpc>
                <a:spcPct val="90000"/>
              </a:lnSpc>
              <a:spcBef>
                <a:spcPct val="0"/>
              </a:spcBef>
              <a:spcAft>
                <a:spcPct val="35000"/>
              </a:spcAft>
            </a:pPr>
            <a:r>
              <a:rPr lang="en-US" b="1" dirty="0">
                <a:solidFill>
                  <a:schemeClr val="bg2"/>
                </a:solidFill>
                <a:latin typeface="等线" panose="02010600030101010101" pitchFamily="2" charset="-122"/>
                <a:ea typeface="等线" panose="02010600030101010101" pitchFamily="2" charset="-122"/>
              </a:rPr>
              <a:t>&gt;4 </a:t>
            </a:r>
            <a:r>
              <a:rPr lang="en-US" altLang="zh-CN" b="1" dirty="0">
                <a:solidFill>
                  <a:schemeClr val="bg2"/>
                </a:solidFill>
                <a:latin typeface="等线" panose="02010600030101010101" pitchFamily="2" charset="-122"/>
                <a:ea typeface="等线" panose="02010600030101010101" pitchFamily="2" charset="-122"/>
              </a:rPr>
              <a:t>nC</a:t>
            </a:r>
            <a:endParaRPr lang="en-US" b="1" dirty="0">
              <a:solidFill>
                <a:schemeClr val="bg2"/>
              </a:solidFill>
              <a:latin typeface="等线" panose="02010600030101010101" pitchFamily="2" charset="-122"/>
              <a:ea typeface="等线" panose="02010600030101010101" pitchFamily="2" charset="-122"/>
            </a:endParaRPr>
          </a:p>
        </p:txBody>
      </p:sp>
      <p:sp>
        <p:nvSpPr>
          <p:cNvPr id="42" name="円/楕円 2">
            <a:extLst>
              <a:ext uri="{FF2B5EF4-FFF2-40B4-BE49-F238E27FC236}">
                <a16:creationId xmlns:a16="http://schemas.microsoft.com/office/drawing/2014/main" id="{25DED296-6B33-4511-8183-661D35C69ECD}"/>
              </a:ext>
            </a:extLst>
          </p:cNvPr>
          <p:cNvSpPr/>
          <p:nvPr/>
        </p:nvSpPr>
        <p:spPr>
          <a:xfrm>
            <a:off x="6056647" y="2508841"/>
            <a:ext cx="176829" cy="184991"/>
          </a:xfrm>
          <a:prstGeom prst="ellipse">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prstClr val="white"/>
              </a:solidFill>
            </a:endParaRPr>
          </a:p>
        </p:txBody>
      </p:sp>
      <p:sp>
        <p:nvSpPr>
          <p:cNvPr id="43" name="Rectangle 10">
            <a:extLst>
              <a:ext uri="{FF2B5EF4-FFF2-40B4-BE49-F238E27FC236}">
                <a16:creationId xmlns:a16="http://schemas.microsoft.com/office/drawing/2014/main" id="{935503E4-3978-4F34-AC40-B37701A0F3DE}"/>
              </a:ext>
            </a:extLst>
          </p:cNvPr>
          <p:cNvSpPr/>
          <p:nvPr/>
        </p:nvSpPr>
        <p:spPr>
          <a:xfrm>
            <a:off x="5855039" y="2241662"/>
            <a:ext cx="2612839" cy="534358"/>
          </a:xfrm>
          <a:prstGeom prst="rect">
            <a:avLst/>
          </a:prstGeom>
        </p:spPr>
        <p:txBody>
          <a:bodyPr wrap="square" lIns="0" tIns="0" rIns="0" bIns="0">
            <a:noAutofit/>
          </a:bodyPr>
          <a:lstStyle/>
          <a:p>
            <a:pPr defTabSz="724942">
              <a:lnSpc>
                <a:spcPct val="90000"/>
              </a:lnSpc>
              <a:spcBef>
                <a:spcPct val="0"/>
              </a:spcBef>
              <a:spcAft>
                <a:spcPct val="35000"/>
              </a:spcAft>
            </a:pPr>
            <a:r>
              <a:rPr lang="en-US" b="1" dirty="0">
                <a:solidFill>
                  <a:schemeClr val="bg2"/>
                </a:solidFill>
                <a:latin typeface="等线" panose="02010600030101010101" pitchFamily="2" charset="-122"/>
                <a:ea typeface="等线" panose="02010600030101010101" pitchFamily="2" charset="-122"/>
              </a:rPr>
              <a:t>2.8 </a:t>
            </a:r>
            <a:r>
              <a:rPr lang="en-US" altLang="zh-CN" b="1" dirty="0">
                <a:solidFill>
                  <a:schemeClr val="bg2"/>
                </a:solidFill>
                <a:latin typeface="等线" panose="02010600030101010101" pitchFamily="2" charset="-122"/>
                <a:ea typeface="等线" panose="02010600030101010101" pitchFamily="2" charset="-122"/>
              </a:rPr>
              <a:t>nC</a:t>
            </a:r>
            <a:endParaRPr lang="en-US" b="1" dirty="0">
              <a:solidFill>
                <a:schemeClr val="bg2"/>
              </a:solidFill>
              <a:latin typeface="等线" panose="02010600030101010101" pitchFamily="2" charset="-122"/>
              <a:ea typeface="等线" panose="02010600030101010101" pitchFamily="2" charset="-122"/>
            </a:endParaRPr>
          </a:p>
        </p:txBody>
      </p:sp>
      <p:sp>
        <p:nvSpPr>
          <p:cNvPr id="45" name="テキスト ボックス 4">
            <a:extLst>
              <a:ext uri="{FF2B5EF4-FFF2-40B4-BE49-F238E27FC236}">
                <a16:creationId xmlns:a16="http://schemas.microsoft.com/office/drawing/2014/main" id="{EC012FB3-3CEB-4F66-A412-681F94B4CEE0}"/>
              </a:ext>
            </a:extLst>
          </p:cNvPr>
          <p:cNvSpPr txBox="1"/>
          <p:nvPr/>
        </p:nvSpPr>
        <p:spPr>
          <a:xfrm>
            <a:off x="6647081" y="4121660"/>
            <a:ext cx="2215515" cy="2554545"/>
          </a:xfrm>
          <a:prstGeom prst="rect">
            <a:avLst/>
          </a:prstGeom>
          <a:noFill/>
        </p:spPr>
        <p:txBody>
          <a:bodyPr wrap="square" rtlCol="0">
            <a:spAutoFit/>
          </a:bodyPr>
          <a:lstStyle/>
          <a:p>
            <a:r>
              <a:rPr lang="en-US" altLang="ja-JP" sz="2000" b="1" dirty="0">
                <a:latin typeface="等线 Light" panose="02010600030101010101" pitchFamily="2" charset="-122"/>
                <a:ea typeface="等线 Light" panose="02010600030101010101" pitchFamily="2" charset="-122"/>
              </a:rPr>
              <a:t>B-sector Wire Scanner 2019.06.27</a:t>
            </a:r>
            <a:br>
              <a:rPr lang="en-US" altLang="ja-JP" sz="2000" b="1" dirty="0">
                <a:latin typeface="等线 Light" panose="02010600030101010101" pitchFamily="2" charset="-122"/>
                <a:ea typeface="等线 Light" panose="02010600030101010101" pitchFamily="2" charset="-122"/>
              </a:rPr>
            </a:br>
            <a:r>
              <a:rPr lang="en-US" altLang="ja-JP" sz="2000" b="1" dirty="0">
                <a:latin typeface="等线 Light" panose="02010600030101010101" pitchFamily="2" charset="-122"/>
                <a:ea typeface="等线 Light" panose="02010600030101010101" pitchFamily="2" charset="-122"/>
              </a:rPr>
              <a:t>1.2 nC @ SP_A1_G </a:t>
            </a:r>
          </a:p>
          <a:p>
            <a:br>
              <a:rPr lang="en-US" altLang="ja-JP" sz="2000" b="1" dirty="0">
                <a:latin typeface="等线 Light" panose="02010600030101010101" pitchFamily="2" charset="-122"/>
                <a:ea typeface="等线 Light" panose="02010600030101010101" pitchFamily="2" charset="-122"/>
              </a:rPr>
            </a:br>
            <a:r>
              <a:rPr lang="en-US" altLang="ja-JP" sz="2000" b="1" dirty="0">
                <a:latin typeface="等线 Light" panose="02010600030101010101" pitchFamily="2" charset="-122"/>
                <a:ea typeface="等线 Light" panose="02010600030101010101" pitchFamily="2" charset="-122"/>
              </a:rPr>
              <a:t>4-wire ABCD: </a:t>
            </a:r>
            <a:r>
              <a:rPr lang="el-GR" altLang="ja-JP" sz="2000" b="1" dirty="0">
                <a:latin typeface="等线 Light" panose="02010600030101010101" pitchFamily="2" charset="-122"/>
                <a:ea typeface="等线 Light" panose="02010600030101010101" pitchFamily="2" charset="-122"/>
              </a:rPr>
              <a:t>γε</a:t>
            </a:r>
            <a:r>
              <a:rPr lang="en-US" altLang="ja-JP" sz="2000" b="1" baseline="-25000" dirty="0">
                <a:latin typeface="等线 Light" panose="02010600030101010101" pitchFamily="2" charset="-122"/>
                <a:ea typeface="等线 Light" panose="02010600030101010101" pitchFamily="2" charset="-122"/>
              </a:rPr>
              <a:t>x</a:t>
            </a:r>
            <a:r>
              <a:rPr lang="en-US" altLang="ja-JP" sz="2000" b="1" dirty="0">
                <a:latin typeface="等线 Light" panose="02010600030101010101" pitchFamily="2" charset="-122"/>
                <a:ea typeface="等线 Light" panose="02010600030101010101" pitchFamily="2" charset="-122"/>
              </a:rPr>
              <a:t>=12.655 </a:t>
            </a:r>
            <a:r>
              <a:rPr lang="el-GR" altLang="ja-JP" sz="2000" b="1" dirty="0">
                <a:latin typeface="等线 Light" panose="02010600030101010101" pitchFamily="2" charset="-122"/>
                <a:ea typeface="等线 Light" panose="02010600030101010101" pitchFamily="2" charset="-122"/>
              </a:rPr>
              <a:t>μ</a:t>
            </a:r>
            <a:r>
              <a:rPr lang="en-US" altLang="ja-JP" sz="2000" b="1" dirty="0">
                <a:latin typeface="等线 Light" panose="02010600030101010101" pitchFamily="2" charset="-122"/>
                <a:ea typeface="等线 Light" panose="02010600030101010101" pitchFamily="2" charset="-122"/>
              </a:rPr>
              <a:t>m,</a:t>
            </a:r>
          </a:p>
          <a:p>
            <a:r>
              <a:rPr lang="el-GR" altLang="ja-JP" sz="2000" b="1" dirty="0">
                <a:latin typeface="等线 Light" panose="02010600030101010101" pitchFamily="2" charset="-122"/>
                <a:ea typeface="等线 Light" panose="02010600030101010101" pitchFamily="2" charset="-122"/>
              </a:rPr>
              <a:t>γε</a:t>
            </a:r>
            <a:r>
              <a:rPr lang="en-US" altLang="ja-JP" sz="2000" b="1" baseline="-25000" dirty="0">
                <a:latin typeface="等线 Light" panose="02010600030101010101" pitchFamily="2" charset="-122"/>
                <a:ea typeface="等线 Light" panose="02010600030101010101" pitchFamily="2" charset="-122"/>
              </a:rPr>
              <a:t>y</a:t>
            </a:r>
            <a:r>
              <a:rPr lang="en-US" altLang="ja-JP" sz="2000" b="1" dirty="0">
                <a:latin typeface="等线 Light" panose="02010600030101010101" pitchFamily="2" charset="-122"/>
                <a:ea typeface="等线 Light" panose="02010600030101010101" pitchFamily="2" charset="-122"/>
              </a:rPr>
              <a:t>=11.225 </a:t>
            </a:r>
            <a:r>
              <a:rPr lang="el-GR" altLang="ja-JP" sz="2000" b="1" dirty="0">
                <a:latin typeface="等线 Light" panose="02010600030101010101" pitchFamily="2" charset="-122"/>
                <a:ea typeface="等线 Light" panose="02010600030101010101" pitchFamily="2" charset="-122"/>
              </a:rPr>
              <a:t>μ</a:t>
            </a:r>
            <a:r>
              <a:rPr lang="en-US" altLang="ja-JP" sz="2000" b="1" dirty="0">
                <a:latin typeface="等线 Light" panose="02010600030101010101" pitchFamily="2" charset="-122"/>
                <a:ea typeface="等线 Light" panose="02010600030101010101" pitchFamily="2" charset="-122"/>
              </a:rPr>
              <a:t>m</a:t>
            </a:r>
            <a:endParaRPr kumimoji="1" lang="ja-JP" altLang="en-US" sz="2000" b="1" dirty="0">
              <a:latin typeface="等线 Light" panose="02010600030101010101" pitchFamily="2" charset="-122"/>
              <a:ea typeface="等线 Light" panose="02010600030101010101" pitchFamily="2" charset="-122"/>
            </a:endParaRPr>
          </a:p>
        </p:txBody>
      </p:sp>
      <p:pic>
        <p:nvPicPr>
          <p:cNvPr id="5" name="图片 4">
            <a:extLst>
              <a:ext uri="{FF2B5EF4-FFF2-40B4-BE49-F238E27FC236}">
                <a16:creationId xmlns:a16="http://schemas.microsoft.com/office/drawing/2014/main" id="{ED228311-1508-4651-9338-DA652BF77DD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12124" y="4568381"/>
            <a:ext cx="3084009" cy="2153653"/>
          </a:xfrm>
          <a:prstGeom prst="rect">
            <a:avLst/>
          </a:prstGeom>
        </p:spPr>
      </p:pic>
      <p:pic>
        <p:nvPicPr>
          <p:cNvPr id="6" name="图片 5">
            <a:extLst>
              <a:ext uri="{FF2B5EF4-FFF2-40B4-BE49-F238E27FC236}">
                <a16:creationId xmlns:a16="http://schemas.microsoft.com/office/drawing/2014/main" id="{9ECF5702-7124-45EB-A286-2E3BC2FCC30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88882" y="3948074"/>
            <a:ext cx="4480963" cy="2734147"/>
          </a:xfrm>
          <a:prstGeom prst="rect">
            <a:avLst/>
          </a:prstGeom>
        </p:spPr>
      </p:pic>
    </p:spTree>
    <p:extLst>
      <p:ext uri="{BB962C8B-B14F-4D97-AF65-F5344CB8AC3E}">
        <p14:creationId xmlns:p14="http://schemas.microsoft.com/office/powerpoint/2010/main" val="34614333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4-17</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191653"/>
            <a:ext cx="11561274" cy="593487"/>
          </a:xfrm>
        </p:spPr>
        <p:txBody>
          <a:bodyPr/>
          <a:lstStyle/>
          <a:p>
            <a:r>
              <a:rPr lang="en-US" altLang="zh-CN" sz="4000" dirty="0"/>
              <a:t>Stable &amp; Continuous Operation in the Commissioning </a:t>
            </a:r>
            <a:endParaRPr lang="en-US" sz="4000" dirty="0"/>
          </a:p>
        </p:txBody>
      </p:sp>
      <p:pic>
        <p:nvPicPr>
          <p:cNvPr id="5" name="图片 4">
            <a:extLst>
              <a:ext uri="{FF2B5EF4-FFF2-40B4-BE49-F238E27FC236}">
                <a16:creationId xmlns:a16="http://schemas.microsoft.com/office/drawing/2014/main" id="{FE825759-57AE-4A0D-8E5A-1A65AADF1D6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926" y="1188669"/>
            <a:ext cx="7948864" cy="5400269"/>
          </a:xfrm>
          <a:prstGeom prst="rect">
            <a:avLst/>
          </a:prstGeom>
        </p:spPr>
      </p:pic>
      <p:sp>
        <p:nvSpPr>
          <p:cNvPr id="8" name="TextBox 7">
            <a:extLst>
              <a:ext uri="{FF2B5EF4-FFF2-40B4-BE49-F238E27FC236}">
                <a16:creationId xmlns:a16="http://schemas.microsoft.com/office/drawing/2014/main" id="{0B8C353D-16DD-42B0-B112-1EB2A8602241}"/>
              </a:ext>
            </a:extLst>
          </p:cNvPr>
          <p:cNvSpPr txBox="1"/>
          <p:nvPr/>
        </p:nvSpPr>
        <p:spPr>
          <a:xfrm>
            <a:off x="8386011" y="1407151"/>
            <a:ext cx="3633538" cy="4963303"/>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altLang="zh-CN"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More </a:t>
            </a:r>
            <a:r>
              <a:rPr lang="en-US" altLang="zh-CN" sz="2100" b="1">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han 4 </a:t>
            </a:r>
            <a:r>
              <a:rPr lang="en-US" altLang="zh-CN"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months stable and continuous regular injection (R4.3)</a:t>
            </a:r>
          </a:p>
          <a:p>
            <a:pPr marL="171352" indent="-171352" defTabSz="932213">
              <a:lnSpc>
                <a:spcPct val="90000"/>
              </a:lnSpc>
              <a:spcAft>
                <a:spcPts val="600"/>
              </a:spcAft>
              <a:buFont typeface="Arial" panose="020B0604020202020204" pitchFamily="34" charset="0"/>
              <a:buChar char="•"/>
            </a:pPr>
            <a:endPar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indent="-171352" defTabSz="932213">
              <a:lnSpc>
                <a:spcPct val="90000"/>
              </a:lnSpc>
              <a:spcAft>
                <a:spcPts val="600"/>
              </a:spcAft>
              <a:buFont typeface="Arial" panose="020B0604020202020204" pitchFamily="34" charset="0"/>
              <a:buChar char="•"/>
            </a:pPr>
            <a:r>
              <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Comparable low injection background</a:t>
            </a:r>
          </a:p>
          <a:p>
            <a:pPr marL="171352" indent="-171352" defTabSz="932213">
              <a:lnSpc>
                <a:spcPct val="90000"/>
              </a:lnSpc>
              <a:spcAft>
                <a:spcPts val="600"/>
              </a:spcAft>
              <a:buFont typeface="Arial" panose="020B0604020202020204" pitchFamily="34" charset="0"/>
              <a:buChar char="•"/>
            </a:pPr>
            <a:endPar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indent="-171352" defTabSz="932213">
              <a:lnSpc>
                <a:spcPct val="90000"/>
              </a:lnSpc>
              <a:spcAft>
                <a:spcPts val="600"/>
              </a:spcAft>
              <a:buFont typeface="Arial" panose="020B0604020202020204" pitchFamily="34" charset="0"/>
              <a:buChar char="•"/>
            </a:pPr>
            <a:r>
              <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vailability rate is 98.8%</a:t>
            </a:r>
            <a:r>
              <a:rPr lang="ja-JP" alt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a:t>
            </a:r>
            <a:r>
              <a:rPr lang="en-US" altLang="ja-JP"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MTBF: 394.1 h, MTTR: 4.6 h) </a:t>
            </a:r>
            <a:r>
              <a:rPr lang="en-US" altLang="zh-CN"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R4.3)</a:t>
            </a:r>
            <a:endPar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indent="-171352" defTabSz="932213">
              <a:lnSpc>
                <a:spcPct val="90000"/>
              </a:lnSpc>
              <a:spcAft>
                <a:spcPts val="600"/>
              </a:spcAft>
              <a:buFont typeface="Arial" panose="020B0604020202020204" pitchFamily="34" charset="0"/>
              <a:buChar char="•"/>
            </a:pPr>
            <a:endPar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indent="-171352" defTabSz="932213">
              <a:lnSpc>
                <a:spcPct val="90000"/>
              </a:lnSpc>
              <a:spcAft>
                <a:spcPts val="600"/>
              </a:spcAft>
              <a:buFont typeface="Arial" panose="020B0604020202020204" pitchFamily="34" charset="0"/>
              <a:buChar char="•"/>
            </a:pPr>
            <a:r>
              <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Different correspondence for different study by altering e</a:t>
            </a:r>
            <a:r>
              <a:rPr lang="en-US" sz="2100" b="1" baseline="30000"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t>
            </a:r>
            <a:r>
              <a:rPr lang="en-US" sz="21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charge only a few seconds (R4.2)</a:t>
            </a:r>
          </a:p>
        </p:txBody>
      </p:sp>
    </p:spTree>
    <p:extLst>
      <p:ext uri="{BB962C8B-B14F-4D97-AF65-F5344CB8AC3E}">
        <p14:creationId xmlns:p14="http://schemas.microsoft.com/office/powerpoint/2010/main" val="1628475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69859"/>
            <a:ext cx="11561274" cy="593487"/>
          </a:xfrm>
        </p:spPr>
        <p:txBody>
          <a:bodyPr/>
          <a:lstStyle/>
          <a:p>
            <a:r>
              <a:rPr lang="en-US" altLang="zh-CN" sz="4000" dirty="0"/>
              <a:t>Updates (R4.1 &amp; R4.2)</a:t>
            </a:r>
            <a:endParaRPr lang="en-US" sz="4000" dirty="0"/>
          </a:p>
        </p:txBody>
      </p:sp>
      <p:sp>
        <p:nvSpPr>
          <p:cNvPr id="8" name="TextBox 7">
            <a:extLst>
              <a:ext uri="{FF2B5EF4-FFF2-40B4-BE49-F238E27FC236}">
                <a16:creationId xmlns:a16="http://schemas.microsoft.com/office/drawing/2014/main" id="{0B8C353D-16DD-42B0-B112-1EB2A8602241}"/>
              </a:ext>
            </a:extLst>
          </p:cNvPr>
          <p:cNvSpPr txBox="1"/>
          <p:nvPr/>
        </p:nvSpPr>
        <p:spPr>
          <a:xfrm>
            <a:off x="585651" y="1211838"/>
            <a:ext cx="11090996" cy="5537877"/>
          </a:xfrm>
          <a:prstGeom prst="rect">
            <a:avLst/>
          </a:prstGeom>
          <a:noFill/>
        </p:spPr>
        <p:txBody>
          <a:bodyPr wrap="square" lIns="91379" tIns="45690" rIns="91379" bIns="45690" rtlCol="0">
            <a:noAutofit/>
          </a:bodyPr>
          <a:lstStyle/>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Install new Menlo fiber oscillator (1030 &amp; 1064 nm) (2019 summer)</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lvl="0" indent="-457200" defTabSz="932213">
              <a:lnSpc>
                <a:spcPct val="90000"/>
              </a:lnSpc>
              <a:spcAft>
                <a:spcPts val="600"/>
              </a:spcAft>
              <a:buFont typeface="Arial" panose="020B0604020202020204" pitchFamily="34" charset="0"/>
              <a:buChar char="•"/>
              <a:defRPr/>
            </a:pP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Photocathode </a:t>
            </a:r>
            <a:r>
              <a:rPr lang="en-US" altLang="ja-JP"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development</a:t>
            </a: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for higher QE (2019 summer)</a:t>
            </a:r>
          </a:p>
          <a:p>
            <a:pPr marL="800100" lvl="1" indent="-342900" defTabSz="932213">
              <a:lnSpc>
                <a:spcPct val="90000"/>
              </a:lnSpc>
              <a:spcAft>
                <a:spcPts val="600"/>
              </a:spcAft>
              <a:buFont typeface="等线 Light" panose="02010600030101010101" pitchFamily="2" charset="-122"/>
              <a:buChar char="–"/>
              <a:defRP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Ir</a:t>
            </a:r>
            <a:r>
              <a:rPr lang="en-US" altLang="zh-CN" sz="2400" b="1" baseline="-25000"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7</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Ce</a:t>
            </a:r>
            <a:r>
              <a:rPr lang="en-US" altLang="zh-CN" sz="2400" b="1" baseline="-25000"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2</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sym typeface="Wingdings" panose="05000000000000000000" pitchFamily="2" charset="2"/>
              </a:rPr>
              <a:t> Ir</a:t>
            </a:r>
            <a:r>
              <a:rPr lang="en-US" altLang="zh-CN" sz="2400" b="1" baseline="-25000"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sym typeface="Wingdings" panose="05000000000000000000" pitchFamily="2" charset="2"/>
              </a:rPr>
              <a:t>2</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sym typeface="Wingdings" panose="05000000000000000000" pitchFamily="2" charset="2"/>
              </a:rPr>
              <a:t>Ce</a:t>
            </a:r>
            <a:endPar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R="0" lvl="0" algn="l" defTabSz="932213" rtl="0" eaLnBrk="1" fontAlgn="auto" latinLnBrk="0" hangingPunct="1">
              <a:lnSpc>
                <a:spcPct val="90000"/>
              </a:lnSpc>
              <a:spcBef>
                <a:spcPts val="0"/>
              </a:spcBef>
              <a:spcAft>
                <a:spcPts val="600"/>
              </a:spcAft>
              <a:buClrTx/>
              <a:buSzTx/>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Rebuild transporting line by use of relay imaging system (2019 summer)</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lvl="0" indent="-457200" defTabSz="932213">
              <a:lnSpc>
                <a:spcPct val="90000"/>
              </a:lnSpc>
              <a:spcAft>
                <a:spcPts val="600"/>
              </a:spcAft>
              <a:buFont typeface="Arial" panose="020B0604020202020204" pitchFamily="34" charset="0"/>
              <a:buChar char="•"/>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Improve temperature stability in the laser hut (2019 summer)</a:t>
            </a:r>
            <a:endPar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lvl="0" indent="-171352" defTabSz="932213">
              <a:lnSpc>
                <a:spcPct val="90000"/>
              </a:lnSpc>
              <a:spcAft>
                <a:spcPts val="600"/>
              </a:spcAft>
              <a:buFont typeface="Arial" panose="020B0604020202020204" pitchFamily="34" charset="0"/>
              <a:buChar char="•"/>
              <a:defRPr/>
            </a:pPr>
            <a:endParaRPr lang="en-US" altLang="zh-CN" sz="9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Realize real time UV laser beam profile monitor (2019 summer)</a:t>
            </a:r>
          </a:p>
          <a:p>
            <a:pPr marL="914400" marR="0" lvl="1" indent="-457200" algn="l" defTabSz="932213" rtl="0" eaLnBrk="1" fontAlgn="auto" latinLnBrk="0" hangingPunct="1">
              <a:lnSpc>
                <a:spcPct val="90000"/>
              </a:lnSpc>
              <a:spcBef>
                <a:spcPts val="0"/>
              </a:spcBef>
              <a:spcAft>
                <a:spcPts val="600"/>
              </a:spcAft>
              <a:buClrTx/>
              <a:buSzTx/>
              <a:buFont typeface="等线 Light" panose="02010600030101010101" pitchFamily="2" charset="-122"/>
              <a:buChar char="–"/>
              <a:tabLst/>
              <a:defRPr/>
            </a:pPr>
            <a:r>
              <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Available during continuous injection</a:t>
            </a:r>
          </a:p>
          <a:p>
            <a:pPr marL="342900" indent="-342900" defTabSz="932213">
              <a:lnSpc>
                <a:spcPct val="90000"/>
              </a:lnSpc>
              <a:spcAft>
                <a:spcPts val="600"/>
              </a:spcAft>
              <a:buFont typeface="Arial" panose="020B0604020202020204" pitchFamily="34" charset="0"/>
              <a:buChar char="•"/>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indent="-457200" defTabSz="932213">
              <a:lnSpc>
                <a:spcPct val="90000"/>
              </a:lnSpc>
              <a:spcAft>
                <a:spcPts val="600"/>
              </a:spcAft>
              <a:buFont typeface="Arial" panose="020B0604020202020204" pitchFamily="34" charset="0"/>
              <a:buChar char="•"/>
              <a:defRPr/>
            </a:pPr>
            <a:r>
              <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New RF gun for better vacuum </a:t>
            </a: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evel</a:t>
            </a:r>
            <a:r>
              <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and higher RF power (from 2020)</a:t>
            </a:r>
            <a:endPar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342900" indent="-342900" defTabSz="932213">
              <a:lnSpc>
                <a:spcPct val="90000"/>
              </a:lnSpc>
              <a:spcAft>
                <a:spcPts val="600"/>
              </a:spcAft>
              <a:buFont typeface="Arial" panose="020B0604020202020204" pitchFamily="34" charset="0"/>
              <a:buChar char="•"/>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342900" indent="-342900" defTabSz="932213">
              <a:lnSpc>
                <a:spcPct val="90000"/>
              </a:lnSpc>
              <a:spcAft>
                <a:spcPts val="600"/>
              </a:spcAft>
              <a:buFont typeface="Arial" panose="020B0604020202020204" pitchFamily="34" charset="0"/>
              <a:buChar char="•"/>
              <a:defRPr/>
            </a:pPr>
            <a:endPar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628552" marR="0" lvl="1"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sp>
        <p:nvSpPr>
          <p:cNvPr id="4" name="Rectangle 118">
            <a:extLst>
              <a:ext uri="{FF2B5EF4-FFF2-40B4-BE49-F238E27FC236}">
                <a16:creationId xmlns:a16="http://schemas.microsoft.com/office/drawing/2014/main" id="{D14C601C-1618-49CE-ADA0-1B18EF579794}"/>
              </a:ext>
            </a:extLst>
          </p:cNvPr>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5-17</a:t>
            </a:r>
          </a:p>
        </p:txBody>
      </p:sp>
    </p:spTree>
    <p:extLst>
      <p:ext uri="{BB962C8B-B14F-4D97-AF65-F5344CB8AC3E}">
        <p14:creationId xmlns:p14="http://schemas.microsoft.com/office/powerpoint/2010/main" val="2169195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69859"/>
            <a:ext cx="11561274" cy="593487"/>
          </a:xfrm>
        </p:spPr>
        <p:txBody>
          <a:bodyPr/>
          <a:lstStyle/>
          <a:p>
            <a:r>
              <a:rPr lang="en-US" altLang="zh-CN" sz="4000" dirty="0"/>
              <a:t>Laser for Middle &amp;  Later Stages of Phase III </a:t>
            </a:r>
            <a:endParaRPr lang="en-US" sz="4000" dirty="0"/>
          </a:p>
        </p:txBody>
      </p:sp>
      <p:sp>
        <p:nvSpPr>
          <p:cNvPr id="4" name="Rectangle 118">
            <a:extLst>
              <a:ext uri="{FF2B5EF4-FFF2-40B4-BE49-F238E27FC236}">
                <a16:creationId xmlns:a16="http://schemas.microsoft.com/office/drawing/2014/main" id="{D14C601C-1618-49CE-ADA0-1B18EF579794}"/>
              </a:ext>
            </a:extLst>
          </p:cNvPr>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6-17</a:t>
            </a:r>
          </a:p>
        </p:txBody>
      </p:sp>
      <p:sp>
        <p:nvSpPr>
          <p:cNvPr id="6" name="Rectangle 13">
            <a:extLst>
              <a:ext uri="{FF2B5EF4-FFF2-40B4-BE49-F238E27FC236}">
                <a16:creationId xmlns:a16="http://schemas.microsoft.com/office/drawing/2014/main" id="{C6C936F2-2429-40EF-B63D-2B56FB363C6C}"/>
              </a:ext>
            </a:extLst>
          </p:cNvPr>
          <p:cNvSpPr/>
          <p:nvPr/>
        </p:nvSpPr>
        <p:spPr bwMode="auto">
          <a:xfrm>
            <a:off x="212139" y="1051663"/>
            <a:ext cx="462660" cy="44465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13">
            <a:extLst>
              <a:ext uri="{FF2B5EF4-FFF2-40B4-BE49-F238E27FC236}">
                <a16:creationId xmlns:a16="http://schemas.microsoft.com/office/drawing/2014/main" id="{A5573A51-2C5F-447A-A540-9FF18DEFD716}"/>
              </a:ext>
            </a:extLst>
          </p:cNvPr>
          <p:cNvSpPr/>
          <p:nvPr/>
        </p:nvSpPr>
        <p:spPr bwMode="auto">
          <a:xfrm>
            <a:off x="750421" y="1051518"/>
            <a:ext cx="11217922" cy="4448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5" descr="W:\Open Engagements\Productivity\MS-Unified Communications\#1601 BizProd MOD Team Core Content Work\New Iconography\Words\Fix_060512.png">
            <a:extLst>
              <a:ext uri="{FF2B5EF4-FFF2-40B4-BE49-F238E27FC236}">
                <a16:creationId xmlns:a16="http://schemas.microsoft.com/office/drawing/2014/main" id="{9DA61869-58E4-4139-B845-3394D4A42E9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3657" y="1044922"/>
            <a:ext cx="443921" cy="444801"/>
          </a:xfrm>
          <a:prstGeom prst="rect">
            <a:avLst/>
          </a:prstGeom>
          <a:noFill/>
          <a:extLst>
            <a:ext uri="{909E8E84-426E-40DD-AFC4-6F175D3DCCD1}">
              <a14:hiddenFill xmlns:a14="http://schemas.microsoft.com/office/drawing/2010/main">
                <a:solidFill>
                  <a:srgbClr val="FFFFFF"/>
                </a:solidFill>
              </a14:hiddenFill>
            </a:ext>
          </a:extLst>
        </p:spPr>
      </p:pic>
      <p:sp>
        <p:nvSpPr>
          <p:cNvPr id="10" name="文本框 6">
            <a:extLst>
              <a:ext uri="{FF2B5EF4-FFF2-40B4-BE49-F238E27FC236}">
                <a16:creationId xmlns:a16="http://schemas.microsoft.com/office/drawing/2014/main" id="{463B6E13-8C6C-4924-9673-0FACE51C2C4C}"/>
              </a:ext>
            </a:extLst>
          </p:cNvPr>
          <p:cNvSpPr txBox="1"/>
          <p:nvPr/>
        </p:nvSpPr>
        <p:spPr>
          <a:xfrm>
            <a:off x="667578" y="1049394"/>
            <a:ext cx="11519500"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2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Laser temporal reshaping for low emittance, low energy spread, and injection noise suppression </a:t>
            </a:r>
            <a:endParaRPr kumimoji="0" lang="zh-CN" altLang="en-US" sz="22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11" name="Rectangle 13">
            <a:extLst>
              <a:ext uri="{FF2B5EF4-FFF2-40B4-BE49-F238E27FC236}">
                <a16:creationId xmlns:a16="http://schemas.microsoft.com/office/drawing/2014/main" id="{C9313275-B4DC-42EA-99AF-00BB4292759E}"/>
              </a:ext>
            </a:extLst>
          </p:cNvPr>
          <p:cNvSpPr/>
          <p:nvPr/>
        </p:nvSpPr>
        <p:spPr bwMode="auto">
          <a:xfrm>
            <a:off x="212139" y="1578832"/>
            <a:ext cx="3325146" cy="384741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フリーフォーム 86">
            <a:extLst>
              <a:ext uri="{FF2B5EF4-FFF2-40B4-BE49-F238E27FC236}">
                <a16:creationId xmlns:a16="http://schemas.microsoft.com/office/drawing/2014/main" id="{8A3ADCEB-70BF-4BB8-B346-8520FF095260}"/>
              </a:ext>
            </a:extLst>
          </p:cNvPr>
          <p:cNvSpPr/>
          <p:nvPr/>
        </p:nvSpPr>
        <p:spPr bwMode="auto">
          <a:xfrm>
            <a:off x="1419759" y="1930504"/>
            <a:ext cx="869619"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dirty="0">
              <a:ln>
                <a:noFill/>
              </a:ln>
              <a:solidFill>
                <a:srgbClr val="FFFFFF"/>
              </a:solidFill>
              <a:effectLst/>
              <a:uLnTx/>
              <a:uFillTx/>
              <a:latin typeface="ＭＳ 明朝" pitchFamily="17" charset="-128"/>
              <a:ea typeface="ＭＳ 明朝" pitchFamily="17" charset="-128"/>
              <a:cs typeface="+mn-cs"/>
            </a:endParaRPr>
          </a:p>
        </p:txBody>
      </p:sp>
      <p:cxnSp>
        <p:nvCxnSpPr>
          <p:cNvPr id="20" name="Straight Arrow Connector 6">
            <a:extLst>
              <a:ext uri="{FF2B5EF4-FFF2-40B4-BE49-F238E27FC236}">
                <a16:creationId xmlns:a16="http://schemas.microsoft.com/office/drawing/2014/main" id="{80EECA52-75E1-4704-A551-C2E05BCFA077}"/>
              </a:ext>
            </a:extLst>
          </p:cNvPr>
          <p:cNvCxnSpPr/>
          <p:nvPr/>
        </p:nvCxnSpPr>
        <p:spPr>
          <a:xfrm flipV="1">
            <a:off x="1258407" y="2864139"/>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6">
            <a:extLst>
              <a:ext uri="{FF2B5EF4-FFF2-40B4-BE49-F238E27FC236}">
                <a16:creationId xmlns:a16="http://schemas.microsoft.com/office/drawing/2014/main" id="{2F3C7396-5529-4714-A811-77800644898C}"/>
              </a:ext>
            </a:extLst>
          </p:cNvPr>
          <p:cNvCxnSpPr/>
          <p:nvPr/>
        </p:nvCxnSpPr>
        <p:spPr>
          <a:xfrm flipH="1" flipV="1">
            <a:off x="1260819" y="1796896"/>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正方形/長方形 89">
            <a:extLst>
              <a:ext uri="{FF2B5EF4-FFF2-40B4-BE49-F238E27FC236}">
                <a16:creationId xmlns:a16="http://schemas.microsoft.com/office/drawing/2014/main" id="{E0EBA2A9-D2D6-45AD-BCC7-CE6B2B951B0E}"/>
              </a:ext>
            </a:extLst>
          </p:cNvPr>
          <p:cNvSpPr/>
          <p:nvPr/>
        </p:nvSpPr>
        <p:spPr>
          <a:xfrm>
            <a:off x="2454326" y="2543429"/>
            <a:ext cx="26962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23" name="正方形/長方形 90">
            <a:extLst>
              <a:ext uri="{FF2B5EF4-FFF2-40B4-BE49-F238E27FC236}">
                <a16:creationId xmlns:a16="http://schemas.microsoft.com/office/drawing/2014/main" id="{2F6DAE62-BFCD-4F36-9E53-11E6D2793D9B}"/>
              </a:ext>
            </a:extLst>
          </p:cNvPr>
          <p:cNvSpPr/>
          <p:nvPr/>
        </p:nvSpPr>
        <p:spPr>
          <a:xfrm>
            <a:off x="1266465" y="1651790"/>
            <a:ext cx="25199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I</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cxnSp>
        <p:nvCxnSpPr>
          <p:cNvPr id="15" name="Straight Arrow Connector 6">
            <a:extLst>
              <a:ext uri="{FF2B5EF4-FFF2-40B4-BE49-F238E27FC236}">
                <a16:creationId xmlns:a16="http://schemas.microsoft.com/office/drawing/2014/main" id="{471B396D-5399-445B-8905-CED06B2E83F7}"/>
              </a:ext>
            </a:extLst>
          </p:cNvPr>
          <p:cNvCxnSpPr/>
          <p:nvPr/>
        </p:nvCxnSpPr>
        <p:spPr>
          <a:xfrm flipH="1" flipV="1">
            <a:off x="1856012" y="1767182"/>
            <a:ext cx="5646" cy="1079275"/>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6">
            <a:extLst>
              <a:ext uri="{FF2B5EF4-FFF2-40B4-BE49-F238E27FC236}">
                <a16:creationId xmlns:a16="http://schemas.microsoft.com/office/drawing/2014/main" id="{27CE9A24-8333-4ABA-94DB-D7F0688D7B62}"/>
              </a:ext>
            </a:extLst>
          </p:cNvPr>
          <p:cNvCxnSpPr/>
          <p:nvPr/>
        </p:nvCxnSpPr>
        <p:spPr>
          <a:xfrm flipH="1" flipV="1">
            <a:off x="2070594" y="1784864"/>
            <a:ext cx="5646" cy="1079275"/>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正方形/長方形 93">
            <a:extLst>
              <a:ext uri="{FF2B5EF4-FFF2-40B4-BE49-F238E27FC236}">
                <a16:creationId xmlns:a16="http://schemas.microsoft.com/office/drawing/2014/main" id="{BEE9AE7D-BAEF-4D21-B161-FFECA4736A09}"/>
              </a:ext>
            </a:extLst>
          </p:cNvPr>
          <p:cNvSpPr/>
          <p:nvPr/>
        </p:nvSpPr>
        <p:spPr>
          <a:xfrm>
            <a:off x="2032503" y="1588167"/>
            <a:ext cx="3529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r>
              <a:rPr kumimoji="0" lang="en-US" altLang="zh-CN" sz="1800" b="1" i="1" u="none" strike="noStrike" kern="1200" cap="none" spc="0" normalizeH="0" baseline="-25000" noProof="0" dirty="0">
                <a:ln>
                  <a:noFill/>
                </a:ln>
                <a:solidFill>
                  <a:srgbClr val="FFFFFF"/>
                </a:solidFill>
                <a:effectLst/>
                <a:uLnTx/>
                <a:uFillTx/>
                <a:latin typeface="等线" panose="02010600030101010101" pitchFamily="2" charset="-122"/>
                <a:ea typeface="等线" panose="02010600030101010101" pitchFamily="2" charset="-122"/>
                <a:cs typeface="+mn-cs"/>
              </a:rPr>
              <a:t>2</a:t>
            </a:r>
            <a:endParaRPr kumimoji="1" lang="ja-JP" altLang="en-US" sz="1800" b="0" i="1" u="none" strike="noStrike" kern="1200" cap="none" spc="0" normalizeH="0" baseline="-25000" noProof="0" dirty="0">
              <a:ln>
                <a:noFill/>
              </a:ln>
              <a:solidFill>
                <a:srgbClr val="FFFFFF"/>
              </a:solidFill>
              <a:effectLst/>
              <a:uLnTx/>
              <a:uFillTx/>
              <a:latin typeface="Segoe UI"/>
              <a:ea typeface="+mn-ea"/>
              <a:cs typeface="+mn-cs"/>
            </a:endParaRPr>
          </a:p>
        </p:txBody>
      </p:sp>
      <p:sp>
        <p:nvSpPr>
          <p:cNvPr id="18" name="正方形/長方形 94">
            <a:extLst>
              <a:ext uri="{FF2B5EF4-FFF2-40B4-BE49-F238E27FC236}">
                <a16:creationId xmlns:a16="http://schemas.microsoft.com/office/drawing/2014/main" id="{6F8A0E89-85E9-4651-80F8-E140807BB455}"/>
              </a:ext>
            </a:extLst>
          </p:cNvPr>
          <p:cNvSpPr/>
          <p:nvPr/>
        </p:nvSpPr>
        <p:spPr>
          <a:xfrm>
            <a:off x="1558147" y="1578832"/>
            <a:ext cx="3529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r>
              <a:rPr kumimoji="0" lang="en-US" altLang="zh-CN" sz="1800" b="1" i="0" u="none" strike="noStrike" kern="1200" cap="none" spc="0" normalizeH="0" baseline="-25000" noProof="0" dirty="0">
                <a:ln>
                  <a:noFill/>
                </a:ln>
                <a:solidFill>
                  <a:srgbClr val="FFFFFF"/>
                </a:solidFill>
                <a:effectLst/>
                <a:uLnTx/>
                <a:uFillTx/>
                <a:latin typeface="等线" panose="02010600030101010101" pitchFamily="2" charset="-122"/>
                <a:ea typeface="等线" panose="02010600030101010101" pitchFamily="2" charset="-122"/>
                <a:cs typeface="+mn-cs"/>
              </a:rPr>
              <a:t>1</a:t>
            </a:r>
            <a:endParaRPr kumimoji="1" lang="ja-JP" altLang="en-US" sz="1800" b="0" i="0" u="none" strike="noStrike" kern="1200" cap="none" spc="0" normalizeH="0" baseline="-25000" noProof="0" dirty="0">
              <a:ln>
                <a:noFill/>
              </a:ln>
              <a:solidFill>
                <a:srgbClr val="FFFFFF"/>
              </a:solidFill>
              <a:effectLst/>
              <a:uLnTx/>
              <a:uFillTx/>
              <a:latin typeface="Segoe UI"/>
              <a:ea typeface="+mn-ea"/>
              <a:cs typeface="+mn-cs"/>
            </a:endParaRPr>
          </a:p>
        </p:txBody>
      </p:sp>
      <p:sp>
        <p:nvSpPr>
          <p:cNvPr id="25" name="正方形/長方形 105">
            <a:extLst>
              <a:ext uri="{FF2B5EF4-FFF2-40B4-BE49-F238E27FC236}">
                <a16:creationId xmlns:a16="http://schemas.microsoft.com/office/drawing/2014/main" id="{4D378A16-E1CC-425D-92A5-A7C108C234C1}"/>
              </a:ext>
            </a:extLst>
          </p:cNvPr>
          <p:cNvSpPr/>
          <p:nvPr/>
        </p:nvSpPr>
        <p:spPr>
          <a:xfrm>
            <a:off x="1246084" y="3443830"/>
            <a:ext cx="3529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r>
              <a:rPr kumimoji="0" lang="en-US" altLang="zh-CN" sz="1800" b="1" i="0" u="none" strike="noStrike" kern="1200" cap="none" spc="0" normalizeH="0" baseline="-25000" noProof="0" dirty="0">
                <a:ln>
                  <a:noFill/>
                </a:ln>
                <a:solidFill>
                  <a:srgbClr val="FFFFFF"/>
                </a:solidFill>
                <a:effectLst/>
                <a:uLnTx/>
                <a:uFillTx/>
                <a:latin typeface="等线" panose="02010600030101010101" pitchFamily="2" charset="-122"/>
                <a:ea typeface="等线" panose="02010600030101010101" pitchFamily="2" charset="-122"/>
                <a:cs typeface="+mn-cs"/>
              </a:rPr>
              <a:t>1</a:t>
            </a:r>
            <a:endParaRPr kumimoji="1" lang="ja-JP" altLang="en-US" sz="1800" b="0" i="0" u="none" strike="noStrike" kern="1200" cap="none" spc="0" normalizeH="0" baseline="-25000" noProof="0" dirty="0">
              <a:ln>
                <a:noFill/>
              </a:ln>
              <a:solidFill>
                <a:srgbClr val="FFFFFF"/>
              </a:solidFill>
              <a:effectLst/>
              <a:uLnTx/>
              <a:uFillTx/>
              <a:latin typeface="Segoe UI"/>
              <a:ea typeface="+mn-ea"/>
              <a:cs typeface="+mn-cs"/>
            </a:endParaRPr>
          </a:p>
        </p:txBody>
      </p:sp>
      <p:cxnSp>
        <p:nvCxnSpPr>
          <p:cNvPr id="27" name="Straight Arrow Connector 6">
            <a:extLst>
              <a:ext uri="{FF2B5EF4-FFF2-40B4-BE49-F238E27FC236}">
                <a16:creationId xmlns:a16="http://schemas.microsoft.com/office/drawing/2014/main" id="{CFC4A236-8CDB-4013-9040-A16F9DA0EBA9}"/>
              </a:ext>
            </a:extLst>
          </p:cNvPr>
          <p:cNvCxnSpPr/>
          <p:nvPr/>
        </p:nvCxnSpPr>
        <p:spPr>
          <a:xfrm flipV="1">
            <a:off x="360104" y="4233967"/>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6">
            <a:extLst>
              <a:ext uri="{FF2B5EF4-FFF2-40B4-BE49-F238E27FC236}">
                <a16:creationId xmlns:a16="http://schemas.microsoft.com/office/drawing/2014/main" id="{D3F0848B-A9D2-405F-AE39-093DE7E6C2E6}"/>
              </a:ext>
            </a:extLst>
          </p:cNvPr>
          <p:cNvCxnSpPr/>
          <p:nvPr/>
        </p:nvCxnSpPr>
        <p:spPr>
          <a:xfrm flipV="1">
            <a:off x="998129" y="3629602"/>
            <a:ext cx="0" cy="115175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97">
            <a:extLst>
              <a:ext uri="{FF2B5EF4-FFF2-40B4-BE49-F238E27FC236}">
                <a16:creationId xmlns:a16="http://schemas.microsoft.com/office/drawing/2014/main" id="{1B47F2DC-8A54-455C-9D4F-6694847BADD5}"/>
              </a:ext>
            </a:extLst>
          </p:cNvPr>
          <p:cNvSpPr/>
          <p:nvPr/>
        </p:nvSpPr>
        <p:spPr>
          <a:xfrm>
            <a:off x="1552000" y="3901505"/>
            <a:ext cx="3000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x</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30" name="正方形/長方形 98">
            <a:extLst>
              <a:ext uri="{FF2B5EF4-FFF2-40B4-BE49-F238E27FC236}">
                <a16:creationId xmlns:a16="http://schemas.microsoft.com/office/drawing/2014/main" id="{29E3D3CD-5C0E-44F1-8C1B-D11E303991E3}"/>
              </a:ext>
            </a:extLst>
          </p:cNvPr>
          <p:cNvSpPr/>
          <p:nvPr/>
        </p:nvSpPr>
        <p:spPr>
          <a:xfrm>
            <a:off x="998129" y="3444936"/>
            <a:ext cx="35939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x’</a:t>
            </a:r>
            <a:endParaRPr kumimoji="1" lang="ja-JP" altLang="en-US" sz="1800" b="1" i="1" u="none" strike="noStrike" kern="1200" cap="none" spc="0" normalizeH="0" baseline="0" noProof="0" dirty="0">
              <a:ln>
                <a:noFill/>
              </a:ln>
              <a:solidFill>
                <a:srgbClr val="FFFFFF"/>
              </a:solidFill>
              <a:effectLst/>
              <a:uLnTx/>
              <a:uFillTx/>
              <a:latin typeface="Segoe UI"/>
              <a:ea typeface="+mn-ea"/>
              <a:cs typeface="+mn-cs"/>
            </a:endParaRPr>
          </a:p>
        </p:txBody>
      </p:sp>
      <p:cxnSp>
        <p:nvCxnSpPr>
          <p:cNvPr id="31" name="Straight Arrow Connector 6">
            <a:extLst>
              <a:ext uri="{FF2B5EF4-FFF2-40B4-BE49-F238E27FC236}">
                <a16:creationId xmlns:a16="http://schemas.microsoft.com/office/drawing/2014/main" id="{C67F4B56-DE19-4634-8134-30C0245AFE13}"/>
              </a:ext>
            </a:extLst>
          </p:cNvPr>
          <p:cNvCxnSpPr/>
          <p:nvPr/>
        </p:nvCxnSpPr>
        <p:spPr>
          <a:xfrm flipV="1">
            <a:off x="648036" y="3703435"/>
            <a:ext cx="700943" cy="1067249"/>
          </a:xfrm>
          <a:prstGeom prst="straightConnector1">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6">
            <a:extLst>
              <a:ext uri="{FF2B5EF4-FFF2-40B4-BE49-F238E27FC236}">
                <a16:creationId xmlns:a16="http://schemas.microsoft.com/office/drawing/2014/main" id="{4E80486F-AC2C-4340-A940-ECA312A3D4C0}"/>
              </a:ext>
            </a:extLst>
          </p:cNvPr>
          <p:cNvCxnSpPr/>
          <p:nvPr/>
        </p:nvCxnSpPr>
        <p:spPr>
          <a:xfrm flipV="1">
            <a:off x="438516" y="3848718"/>
            <a:ext cx="1119223" cy="809901"/>
          </a:xfrm>
          <a:prstGeom prst="straightConnector1">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正方形/長方形 106">
            <a:extLst>
              <a:ext uri="{FF2B5EF4-FFF2-40B4-BE49-F238E27FC236}">
                <a16:creationId xmlns:a16="http://schemas.microsoft.com/office/drawing/2014/main" id="{9A3F1742-AE94-43BB-91FD-8B0F8618D29C}"/>
              </a:ext>
            </a:extLst>
          </p:cNvPr>
          <p:cNvSpPr/>
          <p:nvPr/>
        </p:nvSpPr>
        <p:spPr>
          <a:xfrm>
            <a:off x="1516910" y="3647219"/>
            <a:ext cx="35298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r>
              <a:rPr kumimoji="0" lang="en-US" altLang="zh-CN" sz="1800" b="1" i="0" u="none" strike="noStrike" kern="1200" cap="none" spc="0" normalizeH="0" baseline="-25000" noProof="0" dirty="0">
                <a:ln>
                  <a:noFill/>
                </a:ln>
                <a:solidFill>
                  <a:srgbClr val="FFFFFF"/>
                </a:solidFill>
                <a:effectLst/>
                <a:uLnTx/>
                <a:uFillTx/>
                <a:latin typeface="等线" panose="02010600030101010101" pitchFamily="2" charset="-122"/>
                <a:ea typeface="等线" panose="02010600030101010101" pitchFamily="2" charset="-122"/>
                <a:cs typeface="+mn-cs"/>
              </a:rPr>
              <a:t>2</a:t>
            </a:r>
            <a:endParaRPr kumimoji="1" lang="ja-JP" altLang="en-US" sz="1800" b="0" i="0" u="none" strike="noStrike" kern="1200" cap="none" spc="0" normalizeH="0" baseline="-25000" noProof="0" dirty="0">
              <a:ln>
                <a:noFill/>
              </a:ln>
              <a:solidFill>
                <a:srgbClr val="FFFFFF"/>
              </a:solidFill>
              <a:effectLst/>
              <a:uLnTx/>
              <a:uFillTx/>
              <a:latin typeface="Segoe UI"/>
              <a:ea typeface="+mn-ea"/>
              <a:cs typeface="+mn-cs"/>
            </a:endParaRPr>
          </a:p>
        </p:txBody>
      </p:sp>
      <p:sp>
        <p:nvSpPr>
          <p:cNvPr id="34" name="正方形/長方形 107">
            <a:extLst>
              <a:ext uri="{FF2B5EF4-FFF2-40B4-BE49-F238E27FC236}">
                <a16:creationId xmlns:a16="http://schemas.microsoft.com/office/drawing/2014/main" id="{8B717932-7261-44DC-80C2-2F214A340D48}"/>
              </a:ext>
            </a:extLst>
          </p:cNvPr>
          <p:cNvSpPr/>
          <p:nvPr/>
        </p:nvSpPr>
        <p:spPr>
          <a:xfrm>
            <a:off x="360104" y="4774377"/>
            <a:ext cx="1370888"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Phase space</a:t>
            </a:r>
            <a:endParaRPr kumimoji="1" lang="ja-JP" altLang="en-US" sz="1800" b="0"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35" name="正方形/長方形 109">
            <a:extLst>
              <a:ext uri="{FF2B5EF4-FFF2-40B4-BE49-F238E27FC236}">
                <a16:creationId xmlns:a16="http://schemas.microsoft.com/office/drawing/2014/main" id="{09DCC7A4-65C1-4AC6-AEBD-0B62CB89828A}"/>
              </a:ext>
            </a:extLst>
          </p:cNvPr>
          <p:cNvSpPr/>
          <p:nvPr/>
        </p:nvSpPr>
        <p:spPr>
          <a:xfrm>
            <a:off x="498597" y="2888450"/>
            <a:ext cx="284885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Laser temporal distribution</a:t>
            </a:r>
            <a:endParaRPr kumimoji="1" lang="ja-JP" altLang="en-US"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grpSp>
        <p:nvGrpSpPr>
          <p:cNvPr id="36" name="グループ化 116">
            <a:extLst>
              <a:ext uri="{FF2B5EF4-FFF2-40B4-BE49-F238E27FC236}">
                <a16:creationId xmlns:a16="http://schemas.microsoft.com/office/drawing/2014/main" id="{1A685379-0CAB-4B10-81D7-1C3D6FD56894}"/>
              </a:ext>
            </a:extLst>
          </p:cNvPr>
          <p:cNvGrpSpPr/>
          <p:nvPr/>
        </p:nvGrpSpPr>
        <p:grpSpPr>
          <a:xfrm>
            <a:off x="1345753" y="2137811"/>
            <a:ext cx="1071732" cy="637985"/>
            <a:chOff x="1003713" y="4794272"/>
            <a:chExt cx="1071732" cy="637985"/>
          </a:xfrm>
        </p:grpSpPr>
        <p:cxnSp>
          <p:nvCxnSpPr>
            <p:cNvPr id="37" name="カギ線コネクタ 117">
              <a:extLst>
                <a:ext uri="{FF2B5EF4-FFF2-40B4-BE49-F238E27FC236}">
                  <a16:creationId xmlns:a16="http://schemas.microsoft.com/office/drawing/2014/main" id="{ABC7816C-E9F7-49CF-8D39-3FC7BCBEF01D}"/>
                </a:ext>
              </a:extLst>
            </p:cNvPr>
            <p:cNvCxnSpPr/>
            <p:nvPr/>
          </p:nvCxnSpPr>
          <p:spPr>
            <a:xfrm>
              <a:off x="1384933" y="4794273"/>
              <a:ext cx="690512" cy="637984"/>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カギ線コネクタ 118">
              <a:extLst>
                <a:ext uri="{FF2B5EF4-FFF2-40B4-BE49-F238E27FC236}">
                  <a16:creationId xmlns:a16="http://schemas.microsoft.com/office/drawing/2014/main" id="{DA585620-31F7-428C-A74B-86C367630BB3}"/>
                </a:ext>
              </a:extLst>
            </p:cNvPr>
            <p:cNvCxnSpPr/>
            <p:nvPr/>
          </p:nvCxnSpPr>
          <p:spPr>
            <a:xfrm rot="10800000" flipV="1">
              <a:off x="1003713" y="4794272"/>
              <a:ext cx="671349" cy="637985"/>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9" name="Rectangle 13">
            <a:extLst>
              <a:ext uri="{FF2B5EF4-FFF2-40B4-BE49-F238E27FC236}">
                <a16:creationId xmlns:a16="http://schemas.microsoft.com/office/drawing/2014/main" id="{AD92FCBE-033E-41DF-9D09-4C25C341085B}"/>
              </a:ext>
            </a:extLst>
          </p:cNvPr>
          <p:cNvSpPr/>
          <p:nvPr/>
        </p:nvSpPr>
        <p:spPr bwMode="auto">
          <a:xfrm>
            <a:off x="3596414" y="1572633"/>
            <a:ext cx="8371929" cy="384741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40" name="正方形/長方形 109">
            <a:extLst>
              <a:ext uri="{FF2B5EF4-FFF2-40B4-BE49-F238E27FC236}">
                <a16:creationId xmlns:a16="http://schemas.microsoft.com/office/drawing/2014/main" id="{BF23F291-5CF6-46CD-848F-CF92307B644E}"/>
              </a:ext>
            </a:extLst>
          </p:cNvPr>
          <p:cNvSpPr/>
          <p:nvPr/>
        </p:nvSpPr>
        <p:spPr>
          <a:xfrm>
            <a:off x="4420934" y="4482180"/>
            <a:ext cx="2347117"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Nd laser system: 17 ps</a:t>
            </a:r>
            <a:endParaRPr kumimoji="1" lang="ja-JP" altLang="en-US"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41" name="正方形/長方形 109">
            <a:extLst>
              <a:ext uri="{FF2B5EF4-FFF2-40B4-BE49-F238E27FC236}">
                <a16:creationId xmlns:a16="http://schemas.microsoft.com/office/drawing/2014/main" id="{0F1C2F21-E74A-457D-8571-AF5B7F04BA91}"/>
              </a:ext>
            </a:extLst>
          </p:cNvPr>
          <p:cNvSpPr/>
          <p:nvPr/>
        </p:nvSpPr>
        <p:spPr>
          <a:xfrm>
            <a:off x="8533432" y="4489961"/>
            <a:ext cx="235994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Yb laser system: 2.5 ps</a:t>
            </a:r>
            <a:endParaRPr kumimoji="1" lang="ja-JP" altLang="en-US"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grpSp>
        <p:nvGrpSpPr>
          <p:cNvPr id="42" name="グループ化 8">
            <a:extLst>
              <a:ext uri="{FF2B5EF4-FFF2-40B4-BE49-F238E27FC236}">
                <a16:creationId xmlns:a16="http://schemas.microsoft.com/office/drawing/2014/main" id="{614BDF54-D460-43E6-AB7B-6558EBE89294}"/>
              </a:ext>
            </a:extLst>
          </p:cNvPr>
          <p:cNvGrpSpPr/>
          <p:nvPr/>
        </p:nvGrpSpPr>
        <p:grpSpPr>
          <a:xfrm>
            <a:off x="8721585" y="2737683"/>
            <a:ext cx="1963182" cy="1723777"/>
            <a:chOff x="9457609" y="3654650"/>
            <a:chExt cx="1395592" cy="1225403"/>
          </a:xfrm>
        </p:grpSpPr>
        <p:grpSp>
          <p:nvGrpSpPr>
            <p:cNvPr id="43" name="グループ化 134">
              <a:extLst>
                <a:ext uri="{FF2B5EF4-FFF2-40B4-BE49-F238E27FC236}">
                  <a16:creationId xmlns:a16="http://schemas.microsoft.com/office/drawing/2014/main" id="{8342CA39-14B7-4FE8-A79F-EB683C46197E}"/>
                </a:ext>
              </a:extLst>
            </p:cNvPr>
            <p:cNvGrpSpPr/>
            <p:nvPr/>
          </p:nvGrpSpPr>
          <p:grpSpPr>
            <a:xfrm>
              <a:off x="9457609" y="3654650"/>
              <a:ext cx="1395592" cy="1225403"/>
              <a:chOff x="628054" y="1925225"/>
              <a:chExt cx="1395592" cy="1225403"/>
            </a:xfrm>
          </p:grpSpPr>
          <p:sp>
            <p:nvSpPr>
              <p:cNvPr id="50" name="フリーフォーム 135">
                <a:extLst>
                  <a:ext uri="{FF2B5EF4-FFF2-40B4-BE49-F238E27FC236}">
                    <a16:creationId xmlns:a16="http://schemas.microsoft.com/office/drawing/2014/main" id="{6756AC05-EA52-4006-8952-C63B2173FE1C}"/>
                  </a:ext>
                </a:extLst>
              </p:cNvPr>
              <p:cNvSpPr/>
              <p:nvPr/>
            </p:nvSpPr>
            <p:spPr bwMode="auto">
              <a:xfrm flipH="1">
                <a:off x="894812" y="2191152"/>
                <a:ext cx="201992" cy="90162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cxnSp>
            <p:nvCxnSpPr>
              <p:cNvPr id="51" name="Straight Arrow Connector 6">
                <a:extLst>
                  <a:ext uri="{FF2B5EF4-FFF2-40B4-BE49-F238E27FC236}">
                    <a16:creationId xmlns:a16="http://schemas.microsoft.com/office/drawing/2014/main" id="{10D6B678-027F-4642-993A-C4475C2AAF38}"/>
                  </a:ext>
                </a:extLst>
              </p:cNvPr>
              <p:cNvCxnSpPr/>
              <p:nvPr/>
            </p:nvCxnSpPr>
            <p:spPr>
              <a:xfrm flipV="1">
                <a:off x="628054" y="3137574"/>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6">
                <a:extLst>
                  <a:ext uri="{FF2B5EF4-FFF2-40B4-BE49-F238E27FC236}">
                    <a16:creationId xmlns:a16="http://schemas.microsoft.com/office/drawing/2014/main" id="{F35DDC8C-E905-4D49-B8F1-CDFA64256CEB}"/>
                  </a:ext>
                </a:extLst>
              </p:cNvPr>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138">
                <a:extLst>
                  <a:ext uri="{FF2B5EF4-FFF2-40B4-BE49-F238E27FC236}">
                    <a16:creationId xmlns:a16="http://schemas.microsoft.com/office/drawing/2014/main" id="{1623E4DE-139A-4684-9531-3DEBA49981D1}"/>
                  </a:ext>
                </a:extLst>
              </p:cNvPr>
              <p:cNvSpPr/>
              <p:nvPr/>
            </p:nvSpPr>
            <p:spPr>
              <a:xfrm>
                <a:off x="1833114" y="2888076"/>
                <a:ext cx="190532" cy="26255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54" name="正方形/長方形 139">
                <a:extLst>
                  <a:ext uri="{FF2B5EF4-FFF2-40B4-BE49-F238E27FC236}">
                    <a16:creationId xmlns:a16="http://schemas.microsoft.com/office/drawing/2014/main" id="{3853E334-395F-4981-844E-2F15CA09CBC4}"/>
                  </a:ext>
                </a:extLst>
              </p:cNvPr>
              <p:cNvSpPr/>
              <p:nvPr/>
            </p:nvSpPr>
            <p:spPr>
              <a:xfrm>
                <a:off x="636112" y="1925225"/>
                <a:ext cx="179137" cy="26255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I</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grpSp>
        <p:sp>
          <p:nvSpPr>
            <p:cNvPr id="44" name="フリーフォーム 141">
              <a:extLst>
                <a:ext uri="{FF2B5EF4-FFF2-40B4-BE49-F238E27FC236}">
                  <a16:creationId xmlns:a16="http://schemas.microsoft.com/office/drawing/2014/main" id="{F225054F-DF6A-4015-A6AC-FD871716181D}"/>
                </a:ext>
              </a:extLst>
            </p:cNvPr>
            <p:cNvSpPr/>
            <p:nvPr/>
          </p:nvSpPr>
          <p:spPr bwMode="auto">
            <a:xfrm>
              <a:off x="9794069" y="392528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sp>
          <p:nvSpPr>
            <p:cNvPr id="45" name="フリーフォーム 142">
              <a:extLst>
                <a:ext uri="{FF2B5EF4-FFF2-40B4-BE49-F238E27FC236}">
                  <a16:creationId xmlns:a16="http://schemas.microsoft.com/office/drawing/2014/main" id="{B87A878B-20B5-4F48-9A02-1475B96BB384}"/>
                </a:ext>
              </a:extLst>
            </p:cNvPr>
            <p:cNvSpPr/>
            <p:nvPr/>
          </p:nvSpPr>
          <p:spPr bwMode="auto">
            <a:xfrm>
              <a:off x="9895773" y="3917134"/>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sp>
          <p:nvSpPr>
            <p:cNvPr id="46" name="フリーフォーム 143">
              <a:extLst>
                <a:ext uri="{FF2B5EF4-FFF2-40B4-BE49-F238E27FC236}">
                  <a16:creationId xmlns:a16="http://schemas.microsoft.com/office/drawing/2014/main" id="{C78C1CA3-1D0E-4DAC-B937-9AA5332D7316}"/>
                </a:ext>
              </a:extLst>
            </p:cNvPr>
            <p:cNvSpPr/>
            <p:nvPr/>
          </p:nvSpPr>
          <p:spPr bwMode="auto">
            <a:xfrm>
              <a:off x="9991132" y="3927946"/>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sp>
          <p:nvSpPr>
            <p:cNvPr id="47" name="フリーフォーム 144">
              <a:extLst>
                <a:ext uri="{FF2B5EF4-FFF2-40B4-BE49-F238E27FC236}">
                  <a16:creationId xmlns:a16="http://schemas.microsoft.com/office/drawing/2014/main" id="{04081FFA-B7CE-4905-8150-E4C324E661A5}"/>
                </a:ext>
              </a:extLst>
            </p:cNvPr>
            <p:cNvSpPr/>
            <p:nvPr/>
          </p:nvSpPr>
          <p:spPr bwMode="auto">
            <a:xfrm>
              <a:off x="10089734" y="391831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sp>
          <p:nvSpPr>
            <p:cNvPr id="48" name="フリーフォーム 145">
              <a:extLst>
                <a:ext uri="{FF2B5EF4-FFF2-40B4-BE49-F238E27FC236}">
                  <a16:creationId xmlns:a16="http://schemas.microsoft.com/office/drawing/2014/main" id="{12F0A5BA-4FF7-4C6F-9250-3612EF2B5788}"/>
                </a:ext>
              </a:extLst>
            </p:cNvPr>
            <p:cNvSpPr/>
            <p:nvPr/>
          </p:nvSpPr>
          <p:spPr bwMode="auto">
            <a:xfrm>
              <a:off x="10168915" y="392528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grpSp>
      <p:grpSp>
        <p:nvGrpSpPr>
          <p:cNvPr id="55" name="グループ化 9">
            <a:extLst>
              <a:ext uri="{FF2B5EF4-FFF2-40B4-BE49-F238E27FC236}">
                <a16:creationId xmlns:a16="http://schemas.microsoft.com/office/drawing/2014/main" id="{0F56CD52-8AC4-430B-9F4A-EB4B7D9CD5B0}"/>
              </a:ext>
            </a:extLst>
          </p:cNvPr>
          <p:cNvGrpSpPr/>
          <p:nvPr/>
        </p:nvGrpSpPr>
        <p:grpSpPr>
          <a:xfrm>
            <a:off x="4683365" y="2705126"/>
            <a:ext cx="1983160" cy="1730259"/>
            <a:chOff x="7161991" y="3634649"/>
            <a:chExt cx="1403341" cy="1224381"/>
          </a:xfrm>
        </p:grpSpPr>
        <p:grpSp>
          <p:nvGrpSpPr>
            <p:cNvPr id="56" name="グループ化 122">
              <a:extLst>
                <a:ext uri="{FF2B5EF4-FFF2-40B4-BE49-F238E27FC236}">
                  <a16:creationId xmlns:a16="http://schemas.microsoft.com/office/drawing/2014/main" id="{5E2406DB-9B80-4DB9-8455-C0B2FC189463}"/>
                </a:ext>
              </a:extLst>
            </p:cNvPr>
            <p:cNvGrpSpPr/>
            <p:nvPr/>
          </p:nvGrpSpPr>
          <p:grpSpPr>
            <a:xfrm>
              <a:off x="7161991" y="3634649"/>
              <a:ext cx="1403341" cy="1224381"/>
              <a:chOff x="628054" y="1925225"/>
              <a:chExt cx="1403341" cy="1224381"/>
            </a:xfrm>
          </p:grpSpPr>
          <p:sp>
            <p:nvSpPr>
              <p:cNvPr id="60" name="フリーフォーム 127">
                <a:extLst>
                  <a:ext uri="{FF2B5EF4-FFF2-40B4-BE49-F238E27FC236}">
                    <a16:creationId xmlns:a16="http://schemas.microsoft.com/office/drawing/2014/main" id="{4F517AAF-8C06-477D-AA71-E71491D80AE1}"/>
                  </a:ext>
                </a:extLst>
              </p:cNvPr>
              <p:cNvSpPr/>
              <p:nvPr/>
            </p:nvSpPr>
            <p:spPr bwMode="auto">
              <a:xfrm>
                <a:off x="698879" y="2180232"/>
                <a:ext cx="694215"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cxnSp>
            <p:nvCxnSpPr>
              <p:cNvPr id="61" name="Straight Arrow Connector 6">
                <a:extLst>
                  <a:ext uri="{FF2B5EF4-FFF2-40B4-BE49-F238E27FC236}">
                    <a16:creationId xmlns:a16="http://schemas.microsoft.com/office/drawing/2014/main" id="{BAD54C9D-5075-440A-86A3-708BE1EF78F3}"/>
                  </a:ext>
                </a:extLst>
              </p:cNvPr>
              <p:cNvCxnSpPr/>
              <p:nvPr/>
            </p:nvCxnSpPr>
            <p:spPr>
              <a:xfrm flipV="1">
                <a:off x="628054" y="3141831"/>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
                <a:extLst>
                  <a:ext uri="{FF2B5EF4-FFF2-40B4-BE49-F238E27FC236}">
                    <a16:creationId xmlns:a16="http://schemas.microsoft.com/office/drawing/2014/main" id="{8C9DC237-1232-46C1-9F84-D9EA7DDE2CBF}"/>
                  </a:ext>
                </a:extLst>
              </p:cNvPr>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130">
                <a:extLst>
                  <a:ext uri="{FF2B5EF4-FFF2-40B4-BE49-F238E27FC236}">
                    <a16:creationId xmlns:a16="http://schemas.microsoft.com/office/drawing/2014/main" id="{99E56D9D-909F-401D-B0CE-DD7CF2ADF19A}"/>
                  </a:ext>
                </a:extLst>
              </p:cNvPr>
              <p:cNvSpPr/>
              <p:nvPr/>
            </p:nvSpPr>
            <p:spPr>
              <a:xfrm>
                <a:off x="1841735" y="2885703"/>
                <a:ext cx="189660" cy="26135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64" name="正方形/長方形 131">
                <a:extLst>
                  <a:ext uri="{FF2B5EF4-FFF2-40B4-BE49-F238E27FC236}">
                    <a16:creationId xmlns:a16="http://schemas.microsoft.com/office/drawing/2014/main" id="{430D6A57-1605-4E18-AE47-DA64E099A333}"/>
                  </a:ext>
                </a:extLst>
              </p:cNvPr>
              <p:cNvSpPr/>
              <p:nvPr/>
            </p:nvSpPr>
            <p:spPr>
              <a:xfrm>
                <a:off x="636112" y="1925225"/>
                <a:ext cx="178317" cy="26135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I</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grpSp>
        <p:sp>
          <p:nvSpPr>
            <p:cNvPr id="57" name="フリーフォーム 132">
              <a:extLst>
                <a:ext uri="{FF2B5EF4-FFF2-40B4-BE49-F238E27FC236}">
                  <a16:creationId xmlns:a16="http://schemas.microsoft.com/office/drawing/2014/main" id="{6CF2D65D-083A-4405-A31A-36F212CBDF10}"/>
                </a:ext>
              </a:extLst>
            </p:cNvPr>
            <p:cNvSpPr/>
            <p:nvPr/>
          </p:nvSpPr>
          <p:spPr bwMode="auto">
            <a:xfrm>
              <a:off x="7566996" y="3884630"/>
              <a:ext cx="652922"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1" lang="ja-JP" altLang="en-US" sz="1800" b="1" i="0" u="none" strike="noStrike" kern="1200" cap="none" spc="0" normalizeH="0" baseline="0" noProof="0">
                <a:ln>
                  <a:noFill/>
                </a:ln>
                <a:solidFill>
                  <a:srgbClr val="FFFFFF"/>
                </a:solidFill>
                <a:effectLst/>
                <a:uLnTx/>
                <a:uFillTx/>
                <a:latin typeface="ＭＳ 明朝" pitchFamily="17" charset="-128"/>
                <a:ea typeface="ＭＳ 明朝" pitchFamily="17" charset="-128"/>
                <a:cs typeface="+mn-cs"/>
              </a:endParaRPr>
            </a:p>
          </p:txBody>
        </p:sp>
        <p:sp>
          <p:nvSpPr>
            <p:cNvPr id="59" name="フリーフォーム 150">
              <a:extLst>
                <a:ext uri="{FF2B5EF4-FFF2-40B4-BE49-F238E27FC236}">
                  <a16:creationId xmlns:a16="http://schemas.microsoft.com/office/drawing/2014/main" id="{5F6A3DF8-1125-43A5-95D2-B10315A0C5F9}"/>
                </a:ext>
              </a:extLst>
            </p:cNvPr>
            <p:cNvSpPr/>
            <p:nvPr/>
          </p:nvSpPr>
          <p:spPr bwMode="auto">
            <a:xfrm>
              <a:off x="7381374" y="3798322"/>
              <a:ext cx="739942" cy="1014445"/>
            </a:xfrm>
            <a:custGeom>
              <a:avLst/>
              <a:gdLst>
                <a:gd name="connsiteX0" fmla="*/ 0 w 739942"/>
                <a:gd name="connsiteY0" fmla="*/ 954152 h 1014445"/>
                <a:gd name="connsiteX1" fmla="*/ 126331 w 739942"/>
                <a:gd name="connsiteY1" fmla="*/ 924073 h 1014445"/>
                <a:gd name="connsiteX2" fmla="*/ 234615 w 739942"/>
                <a:gd name="connsiteY2" fmla="*/ 93894 h 1014445"/>
                <a:gd name="connsiteX3" fmla="*/ 517358 w 739942"/>
                <a:gd name="connsiteY3" fmla="*/ 93894 h 1014445"/>
                <a:gd name="connsiteX4" fmla="*/ 601579 w 739942"/>
                <a:gd name="connsiteY4" fmla="*/ 761646 h 1014445"/>
                <a:gd name="connsiteX5" fmla="*/ 739942 w 739942"/>
                <a:gd name="connsiteY5" fmla="*/ 966183 h 1014445"/>
                <a:gd name="connsiteX6" fmla="*/ 739942 w 739942"/>
                <a:gd name="connsiteY6" fmla="*/ 966183 h 101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9942" h="1014445">
                  <a:moveTo>
                    <a:pt x="0" y="954152"/>
                  </a:moveTo>
                  <a:cubicBezTo>
                    <a:pt x="43614" y="1010800"/>
                    <a:pt x="87229" y="1067449"/>
                    <a:pt x="126331" y="924073"/>
                  </a:cubicBezTo>
                  <a:cubicBezTo>
                    <a:pt x="165433" y="780697"/>
                    <a:pt x="169444" y="232257"/>
                    <a:pt x="234615" y="93894"/>
                  </a:cubicBezTo>
                  <a:cubicBezTo>
                    <a:pt x="299786" y="-44469"/>
                    <a:pt x="456197" y="-17398"/>
                    <a:pt x="517358" y="93894"/>
                  </a:cubicBezTo>
                  <a:cubicBezTo>
                    <a:pt x="578519" y="205186"/>
                    <a:pt x="564482" y="616265"/>
                    <a:pt x="601579" y="761646"/>
                  </a:cubicBezTo>
                  <a:cubicBezTo>
                    <a:pt x="638676" y="907027"/>
                    <a:pt x="739942" y="966183"/>
                    <a:pt x="739942" y="966183"/>
                  </a:cubicBezTo>
                  <a:lnTo>
                    <a:pt x="739942" y="966183"/>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2" name="矩形 1">
            <a:extLst>
              <a:ext uri="{FF2B5EF4-FFF2-40B4-BE49-F238E27FC236}">
                <a16:creationId xmlns:a16="http://schemas.microsoft.com/office/drawing/2014/main" id="{89FAC949-7665-4161-BCC8-4E52A59721F6}"/>
              </a:ext>
            </a:extLst>
          </p:cNvPr>
          <p:cNvSpPr/>
          <p:nvPr/>
        </p:nvSpPr>
        <p:spPr>
          <a:xfrm>
            <a:off x="3717522" y="1572598"/>
            <a:ext cx="8371928" cy="1200329"/>
          </a:xfrm>
          <a:prstGeom prst="rect">
            <a:avLst/>
          </a:prstGeom>
        </p:spPr>
        <p:txBody>
          <a:bodyPr wrap="square">
            <a:spAutoFit/>
          </a:bodyPr>
          <a:lstStyle/>
          <a:p>
            <a:pPr marL="285750" lvl="0" indent="-285750">
              <a:buFont typeface="Arial" panose="020B0604020202020204" pitchFamily="34" charset="0"/>
              <a:buChar char="•"/>
              <a:defRPr/>
            </a:pPr>
            <a:r>
              <a:rPr lang="en-US" altLang="zh-CN" b="1" dirty="0">
                <a:latin typeface="等线 Light" panose="02010600030101010101" pitchFamily="2" charset="-122"/>
                <a:ea typeface="等线 Light" panose="02010600030101010101" pitchFamily="2" charset="-122"/>
                <a:cs typeface="Times New Roman" panose="02020603050405020304" pitchFamily="18" charset="0"/>
              </a:rPr>
              <a:t>Coherent pulse stacking technology by use of the birefringent effect of crystal</a:t>
            </a:r>
          </a:p>
          <a:p>
            <a:pPr marL="285750" lvl="0" indent="-285750">
              <a:buFont typeface="Arial" panose="020B0604020202020204" pitchFamily="34" charset="0"/>
              <a:buChar char="•"/>
              <a:defRPr/>
            </a:pPr>
            <a:r>
              <a:rPr lang="en-US" altLang="ja-JP" b="1" dirty="0">
                <a:latin typeface="等线 Light" panose="02010600030101010101" pitchFamily="2" charset="-122"/>
                <a:ea typeface="等线 Light" panose="02010600030101010101" pitchFamily="2" charset="-122"/>
                <a:cs typeface="Times New Roman" panose="02020603050405020304" pitchFamily="18" charset="0"/>
              </a:rPr>
              <a:t>Demonstrated in Nd laser system (Supported by Dr. Honda in 2018, R4.2)</a:t>
            </a:r>
          </a:p>
          <a:p>
            <a:pPr marL="285750" lvl="0" indent="-285750">
              <a:buFont typeface="Arial" panose="020B0604020202020204" pitchFamily="34" charset="0"/>
              <a:buChar char="•"/>
              <a:defRPr/>
            </a:pPr>
            <a:r>
              <a:rPr lang="en-US" altLang="ja-JP" b="1" dirty="0">
                <a:latin typeface="等线 Light" panose="02010600030101010101" pitchFamily="2" charset="-122"/>
                <a:ea typeface="等线 Light" panose="02010600030101010101" pitchFamily="2" charset="-122"/>
                <a:cs typeface="Times New Roman" panose="02020603050405020304" pitchFamily="18" charset="0"/>
              </a:rPr>
              <a:t>Due to the narrower spectrum width of the current Nd laser system (wider temporal width), the real rectangular shape is impossible (Fourier transform limit)</a:t>
            </a:r>
            <a:endParaRPr lang="ja-JP" altLang="en-US" b="1" dirty="0">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65" name="矩形 64">
            <a:extLst>
              <a:ext uri="{FF2B5EF4-FFF2-40B4-BE49-F238E27FC236}">
                <a16:creationId xmlns:a16="http://schemas.microsoft.com/office/drawing/2014/main" id="{887FAB89-A0C4-47E4-A543-D97542D3791D}"/>
              </a:ext>
            </a:extLst>
          </p:cNvPr>
          <p:cNvSpPr/>
          <p:nvPr/>
        </p:nvSpPr>
        <p:spPr>
          <a:xfrm>
            <a:off x="3717522" y="4785684"/>
            <a:ext cx="8282805" cy="646331"/>
          </a:xfrm>
          <a:prstGeom prst="rect">
            <a:avLst/>
          </a:prstGeom>
        </p:spPr>
        <p:txBody>
          <a:bodyPr wrap="square">
            <a:spAutoFit/>
          </a:bodyPr>
          <a:lstStyle/>
          <a:p>
            <a:pPr marL="285750" lvl="0" indent="-285750">
              <a:buFont typeface="Arial" panose="020B0604020202020204" pitchFamily="34" charset="0"/>
              <a:buChar char="•"/>
              <a:defRPr/>
            </a:pPr>
            <a:r>
              <a:rPr lang="en-US" altLang="zh-CN" b="1" dirty="0">
                <a:latin typeface="等线 Light" panose="02010600030101010101" pitchFamily="2" charset="-122"/>
                <a:ea typeface="等线 Light" panose="02010600030101010101" pitchFamily="2" charset="-122"/>
                <a:cs typeface="Times New Roman" panose="02020603050405020304" pitchFamily="18" charset="0"/>
              </a:rPr>
              <a:t>Yb laser system is the best and only candidate for low energy spread and low emittance electron beam generation in Phase III </a:t>
            </a:r>
          </a:p>
        </p:txBody>
      </p:sp>
      <p:graphicFrame>
        <p:nvGraphicFramePr>
          <p:cNvPr id="67" name="表格 66">
            <a:extLst>
              <a:ext uri="{FF2B5EF4-FFF2-40B4-BE49-F238E27FC236}">
                <a16:creationId xmlns:a16="http://schemas.microsoft.com/office/drawing/2014/main" id="{B7E03A8D-46F6-42F9-8070-5BD5BD90F44F}"/>
              </a:ext>
            </a:extLst>
          </p:cNvPr>
          <p:cNvGraphicFramePr>
            <a:graphicFrameLocks noGrp="1"/>
          </p:cNvGraphicFramePr>
          <p:nvPr>
            <p:extLst>
              <p:ext uri="{D42A27DB-BD31-4B8C-83A1-F6EECF244321}">
                <p14:modId xmlns:p14="http://schemas.microsoft.com/office/powerpoint/2010/main" val="2334535967"/>
              </p:ext>
            </p:extLst>
          </p:nvPr>
        </p:nvGraphicFramePr>
        <p:xfrm>
          <a:off x="667514" y="5588920"/>
          <a:ext cx="10743082" cy="898366"/>
        </p:xfrm>
        <a:graphic>
          <a:graphicData uri="http://schemas.openxmlformats.org/drawingml/2006/table">
            <a:tbl>
              <a:tblPr firstRow="1" bandRow="1">
                <a:tableStyleId>{D27102A9-8310-4765-A935-A1911B00CA55}</a:tableStyleId>
              </a:tblPr>
              <a:tblGrid>
                <a:gridCol w="1534726">
                  <a:extLst>
                    <a:ext uri="{9D8B030D-6E8A-4147-A177-3AD203B41FA5}">
                      <a16:colId xmlns:a16="http://schemas.microsoft.com/office/drawing/2014/main" val="4058633041"/>
                    </a:ext>
                  </a:extLst>
                </a:gridCol>
                <a:gridCol w="767363">
                  <a:extLst>
                    <a:ext uri="{9D8B030D-6E8A-4147-A177-3AD203B41FA5}">
                      <a16:colId xmlns:a16="http://schemas.microsoft.com/office/drawing/2014/main" val="4127344198"/>
                    </a:ext>
                  </a:extLst>
                </a:gridCol>
                <a:gridCol w="767363">
                  <a:extLst>
                    <a:ext uri="{9D8B030D-6E8A-4147-A177-3AD203B41FA5}">
                      <a16:colId xmlns:a16="http://schemas.microsoft.com/office/drawing/2014/main" val="1329354045"/>
                    </a:ext>
                  </a:extLst>
                </a:gridCol>
                <a:gridCol w="767363">
                  <a:extLst>
                    <a:ext uri="{9D8B030D-6E8A-4147-A177-3AD203B41FA5}">
                      <a16:colId xmlns:a16="http://schemas.microsoft.com/office/drawing/2014/main" val="746467558"/>
                    </a:ext>
                  </a:extLst>
                </a:gridCol>
                <a:gridCol w="767363">
                  <a:extLst>
                    <a:ext uri="{9D8B030D-6E8A-4147-A177-3AD203B41FA5}">
                      <a16:colId xmlns:a16="http://schemas.microsoft.com/office/drawing/2014/main" val="3948975544"/>
                    </a:ext>
                  </a:extLst>
                </a:gridCol>
                <a:gridCol w="767363">
                  <a:extLst>
                    <a:ext uri="{9D8B030D-6E8A-4147-A177-3AD203B41FA5}">
                      <a16:colId xmlns:a16="http://schemas.microsoft.com/office/drawing/2014/main" val="124718685"/>
                    </a:ext>
                  </a:extLst>
                </a:gridCol>
                <a:gridCol w="767363">
                  <a:extLst>
                    <a:ext uri="{9D8B030D-6E8A-4147-A177-3AD203B41FA5}">
                      <a16:colId xmlns:a16="http://schemas.microsoft.com/office/drawing/2014/main" val="3207752749"/>
                    </a:ext>
                  </a:extLst>
                </a:gridCol>
                <a:gridCol w="767363">
                  <a:extLst>
                    <a:ext uri="{9D8B030D-6E8A-4147-A177-3AD203B41FA5}">
                      <a16:colId xmlns:a16="http://schemas.microsoft.com/office/drawing/2014/main" val="1125162166"/>
                    </a:ext>
                  </a:extLst>
                </a:gridCol>
                <a:gridCol w="767363">
                  <a:extLst>
                    <a:ext uri="{9D8B030D-6E8A-4147-A177-3AD203B41FA5}">
                      <a16:colId xmlns:a16="http://schemas.microsoft.com/office/drawing/2014/main" val="1447111997"/>
                    </a:ext>
                  </a:extLst>
                </a:gridCol>
                <a:gridCol w="767363">
                  <a:extLst>
                    <a:ext uri="{9D8B030D-6E8A-4147-A177-3AD203B41FA5}">
                      <a16:colId xmlns:a16="http://schemas.microsoft.com/office/drawing/2014/main" val="3449497967"/>
                    </a:ext>
                  </a:extLst>
                </a:gridCol>
                <a:gridCol w="767363">
                  <a:extLst>
                    <a:ext uri="{9D8B030D-6E8A-4147-A177-3AD203B41FA5}">
                      <a16:colId xmlns:a16="http://schemas.microsoft.com/office/drawing/2014/main" val="1143779593"/>
                    </a:ext>
                  </a:extLst>
                </a:gridCol>
                <a:gridCol w="767363">
                  <a:extLst>
                    <a:ext uri="{9D8B030D-6E8A-4147-A177-3AD203B41FA5}">
                      <a16:colId xmlns:a16="http://schemas.microsoft.com/office/drawing/2014/main" val="2013046373"/>
                    </a:ext>
                  </a:extLst>
                </a:gridCol>
                <a:gridCol w="767363">
                  <a:extLst>
                    <a:ext uri="{9D8B030D-6E8A-4147-A177-3AD203B41FA5}">
                      <a16:colId xmlns:a16="http://schemas.microsoft.com/office/drawing/2014/main" val="323178479"/>
                    </a:ext>
                  </a:extLst>
                </a:gridCol>
              </a:tblGrid>
              <a:tr h="288766">
                <a:tc>
                  <a:txBody>
                    <a:bodyPr/>
                    <a:lstStyle/>
                    <a:p>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latin typeface="等线 Light" panose="02010600030101010101" pitchFamily="2" charset="-122"/>
                          <a:ea typeface="等线 Light" panose="02010600030101010101" pitchFamily="2" charset="-122"/>
                        </a:rPr>
                        <a:t>2019 Q1</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dirty="0">
                          <a:latin typeface="等线 Light" panose="02010600030101010101" pitchFamily="2" charset="-122"/>
                          <a:ea typeface="等线 Light" panose="02010600030101010101" pitchFamily="2" charset="-122"/>
                        </a:rPr>
                        <a:t>2019 Q2</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19 Q3</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19 Q4</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0 Q1</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0 Q2</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0 Q3</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0 Q4</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1 Q1</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1 Q2</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1 Q3</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altLang="zh-CN" sz="1200" b="1" dirty="0">
                          <a:latin typeface="等线 Light" panose="02010600030101010101" pitchFamily="2" charset="-122"/>
                          <a:ea typeface="等线 Light" panose="02010600030101010101" pitchFamily="2" charset="-122"/>
                        </a:rPr>
                        <a:t>2021 Q4</a:t>
                      </a:r>
                      <a:endParaRPr lang="zh-CN" altLang="en-US" sz="12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22277452"/>
                  </a:ext>
                </a:extLst>
              </a:tr>
              <a:tr h="296003">
                <a:tc>
                  <a:txBody>
                    <a:bodyPr/>
                    <a:lstStyle/>
                    <a:p>
                      <a:r>
                        <a:rPr lang="en-US" altLang="zh-CN" sz="1400" b="1" dirty="0">
                          <a:latin typeface="等线 Light" panose="02010600030101010101" pitchFamily="2" charset="-122"/>
                          <a:ea typeface="等线 Light" panose="02010600030101010101" pitchFamily="2" charset="-122"/>
                        </a:rPr>
                        <a:t>Nd Laser System</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8">
                  <a:txBody>
                    <a:bodyPr/>
                    <a:lstStyle/>
                    <a:p>
                      <a:pPr algn="ctr"/>
                      <a:r>
                        <a:rPr lang="en-US" altLang="zh-CN" sz="1400" b="1" dirty="0">
                          <a:latin typeface="等线 Light" panose="02010600030101010101" pitchFamily="2" charset="-122"/>
                          <a:ea typeface="等线 Light" panose="02010600030101010101" pitchFamily="2" charset="-122"/>
                        </a:rPr>
                        <a:t>Primary laser for RF gun and HER injection</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algn="ctr"/>
                      <a:r>
                        <a:rPr lang="en-US" altLang="zh-CN" sz="1400" b="1" dirty="0">
                          <a:latin typeface="等线 Light" panose="02010600030101010101" pitchFamily="2" charset="-122"/>
                          <a:ea typeface="等线 Light" panose="02010600030101010101" pitchFamily="2" charset="-122"/>
                        </a:rPr>
                        <a:t>Backup laser system for SuperKEKB</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6529553"/>
                  </a:ext>
                </a:extLst>
              </a:tr>
              <a:tr h="296003">
                <a:tc>
                  <a:txBody>
                    <a:bodyPr/>
                    <a:lstStyle/>
                    <a:p>
                      <a:r>
                        <a:rPr lang="en-US" altLang="zh-CN" sz="1400" b="1" dirty="0">
                          <a:latin typeface="等线 Light" panose="02010600030101010101" pitchFamily="2" charset="-122"/>
                          <a:ea typeface="等线 Light" panose="02010600030101010101" pitchFamily="2" charset="-122"/>
                        </a:rPr>
                        <a:t>Yb Laser System</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6">
                  <a:txBody>
                    <a:bodyPr/>
                    <a:lstStyle/>
                    <a:p>
                      <a:pPr algn="ctr"/>
                      <a:r>
                        <a:rPr lang="en-US" altLang="zh-CN" sz="1400" b="1" dirty="0">
                          <a:latin typeface="等线 Light" panose="02010600030101010101" pitchFamily="2" charset="-122"/>
                          <a:ea typeface="等线 Light" panose="02010600030101010101" pitchFamily="2" charset="-122"/>
                        </a:rPr>
                        <a:t>Laser &amp; monitoring system preparation with stacking</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en-US" altLang="zh-CN" sz="1400" b="1" dirty="0">
                          <a:latin typeface="等线 Light" panose="02010600030101010101" pitchFamily="2" charset="-122"/>
                          <a:ea typeface="等线 Light" panose="02010600030101010101" pitchFamily="2" charset="-122"/>
                        </a:rPr>
                        <a:t>e</a:t>
                      </a:r>
                      <a:r>
                        <a:rPr lang="en-US" altLang="zh-CN" sz="1400" b="1" baseline="30000" dirty="0">
                          <a:latin typeface="等线 Light" panose="02010600030101010101" pitchFamily="2" charset="-122"/>
                          <a:ea typeface="等线 Light" panose="02010600030101010101" pitchFamily="2" charset="-122"/>
                        </a:rPr>
                        <a:t>-</a:t>
                      </a:r>
                      <a:r>
                        <a:rPr lang="en-US" altLang="zh-CN" sz="1400" b="1" dirty="0">
                          <a:latin typeface="等线 Light" panose="02010600030101010101" pitchFamily="2" charset="-122"/>
                          <a:ea typeface="等线 Light" panose="02010600030101010101" pitchFamily="2" charset="-122"/>
                        </a:rPr>
                        <a:t> beam test</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4">
                  <a:txBody>
                    <a:bodyPr/>
                    <a:lstStyle/>
                    <a:p>
                      <a:pPr algn="ctr"/>
                      <a:r>
                        <a:rPr lang="en-US" altLang="zh-CN" sz="1400" b="1" dirty="0">
                          <a:latin typeface="等线 Light" panose="02010600030101010101" pitchFamily="2" charset="-122"/>
                          <a:ea typeface="等线 Light" panose="02010600030101010101" pitchFamily="2" charset="-122"/>
                        </a:rPr>
                        <a:t>For RF gun and HER injection</a:t>
                      </a:r>
                      <a:endParaRPr lang="zh-CN" altLang="en-US" sz="1400" b="1"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zh-CN" altLang="en-US" sz="1400" dirty="0">
                        <a:latin typeface="等线 Light" panose="02010600030101010101" pitchFamily="2" charset="-122"/>
                        <a:ea typeface="等线 Light" panose="02010600030101010101" pitchFamily="2"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9689178"/>
                  </a:ext>
                </a:extLst>
              </a:tr>
            </a:tbl>
          </a:graphicData>
        </a:graphic>
      </p:graphicFrame>
      <p:grpSp>
        <p:nvGrpSpPr>
          <p:cNvPr id="69" name="グループ化 111">
            <a:extLst>
              <a:ext uri="{FF2B5EF4-FFF2-40B4-BE49-F238E27FC236}">
                <a16:creationId xmlns:a16="http://schemas.microsoft.com/office/drawing/2014/main" id="{52A38C42-DFD5-42E9-90BD-B93B51D2C95D}"/>
              </a:ext>
            </a:extLst>
          </p:cNvPr>
          <p:cNvGrpSpPr/>
          <p:nvPr/>
        </p:nvGrpSpPr>
        <p:grpSpPr>
          <a:xfrm>
            <a:off x="1896822" y="3439677"/>
            <a:ext cx="1572866" cy="1715051"/>
            <a:chOff x="9230106" y="1853383"/>
            <a:chExt cx="1572866" cy="1715051"/>
          </a:xfrm>
        </p:grpSpPr>
        <p:cxnSp>
          <p:nvCxnSpPr>
            <p:cNvPr id="70" name="Straight Arrow Connector 6">
              <a:extLst>
                <a:ext uri="{FF2B5EF4-FFF2-40B4-BE49-F238E27FC236}">
                  <a16:creationId xmlns:a16="http://schemas.microsoft.com/office/drawing/2014/main" id="{97A804C9-01B0-4246-9E88-4B57717B2350}"/>
                </a:ext>
              </a:extLst>
            </p:cNvPr>
            <p:cNvCxnSpPr/>
            <p:nvPr/>
          </p:nvCxnSpPr>
          <p:spPr>
            <a:xfrm flipV="1">
              <a:off x="9230106" y="2658692"/>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6">
              <a:extLst>
                <a:ext uri="{FF2B5EF4-FFF2-40B4-BE49-F238E27FC236}">
                  <a16:creationId xmlns:a16="http://schemas.microsoft.com/office/drawing/2014/main" id="{B057DDEF-A542-4069-8E7C-4F0D1B3B840B}"/>
                </a:ext>
              </a:extLst>
            </p:cNvPr>
            <p:cNvCxnSpPr/>
            <p:nvPr/>
          </p:nvCxnSpPr>
          <p:spPr>
            <a:xfrm flipV="1">
              <a:off x="9525229" y="2054327"/>
              <a:ext cx="0" cy="115175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正方形/長方形 97">
              <a:extLst>
                <a:ext uri="{FF2B5EF4-FFF2-40B4-BE49-F238E27FC236}">
                  <a16:creationId xmlns:a16="http://schemas.microsoft.com/office/drawing/2014/main" id="{ECE2E42F-9DA5-464A-B794-B4863FE9F196}"/>
                </a:ext>
              </a:extLst>
            </p:cNvPr>
            <p:cNvSpPr/>
            <p:nvPr/>
          </p:nvSpPr>
          <p:spPr>
            <a:xfrm>
              <a:off x="10444744" y="2367966"/>
              <a:ext cx="26802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t</a:t>
              </a:r>
              <a:endParaRPr kumimoji="1" lang="ja-JP" altLang="en-US" sz="1800" b="0" i="1" u="none" strike="noStrike" kern="1200" cap="none" spc="0" normalizeH="0" baseline="0" noProof="0" dirty="0">
                <a:ln>
                  <a:noFill/>
                </a:ln>
                <a:solidFill>
                  <a:srgbClr val="FFFFFF"/>
                </a:solidFill>
                <a:effectLst/>
                <a:uLnTx/>
                <a:uFillTx/>
                <a:latin typeface="Segoe UI"/>
                <a:ea typeface="+mn-ea"/>
                <a:cs typeface="+mn-cs"/>
              </a:endParaRPr>
            </a:p>
          </p:txBody>
        </p:sp>
        <p:sp>
          <p:nvSpPr>
            <p:cNvPr id="73" name="正方形/長方形 98">
              <a:extLst>
                <a:ext uri="{FF2B5EF4-FFF2-40B4-BE49-F238E27FC236}">
                  <a16:creationId xmlns:a16="http://schemas.microsoft.com/office/drawing/2014/main" id="{6458059F-4C61-43CE-8383-2FEAD4077592}"/>
                </a:ext>
              </a:extLst>
            </p:cNvPr>
            <p:cNvSpPr/>
            <p:nvPr/>
          </p:nvSpPr>
          <p:spPr>
            <a:xfrm>
              <a:off x="9494688" y="1853383"/>
              <a:ext cx="304892"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1" u="none" strike="noStrike" kern="120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E</a:t>
              </a:r>
              <a:endParaRPr kumimoji="1" lang="ja-JP" altLang="en-US" sz="1800" b="1" i="1" u="none" strike="noStrike" kern="1200" cap="none" spc="0" normalizeH="0" baseline="0" noProof="0" dirty="0">
                <a:ln>
                  <a:noFill/>
                </a:ln>
                <a:solidFill>
                  <a:srgbClr val="FFFFFF"/>
                </a:solidFill>
                <a:effectLst/>
                <a:uLnTx/>
                <a:uFillTx/>
                <a:latin typeface="Segoe UI"/>
                <a:ea typeface="+mn-ea"/>
                <a:cs typeface="+mn-cs"/>
              </a:endParaRPr>
            </a:p>
          </p:txBody>
        </p:sp>
        <p:sp>
          <p:nvSpPr>
            <p:cNvPr id="77" name="正方形/長方形 107">
              <a:extLst>
                <a:ext uri="{FF2B5EF4-FFF2-40B4-BE49-F238E27FC236}">
                  <a16:creationId xmlns:a16="http://schemas.microsoft.com/office/drawing/2014/main" id="{1A4FCA62-4765-4461-9204-516E935B4B8B}"/>
                </a:ext>
              </a:extLst>
            </p:cNvPr>
            <p:cNvSpPr/>
            <p:nvPr/>
          </p:nvSpPr>
          <p:spPr>
            <a:xfrm>
              <a:off x="9230106" y="3199102"/>
              <a:ext cx="157286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Energy spread</a:t>
              </a:r>
              <a:endParaRPr kumimoji="1" lang="ja-JP" altLang="en-US" sz="1800" b="0"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grpSp>
      <p:sp>
        <p:nvSpPr>
          <p:cNvPr id="3" name="空心弧 2">
            <a:extLst>
              <a:ext uri="{FF2B5EF4-FFF2-40B4-BE49-F238E27FC236}">
                <a16:creationId xmlns:a16="http://schemas.microsoft.com/office/drawing/2014/main" id="{D6448064-06B0-4C80-847C-E7B4B2EE79FD}"/>
              </a:ext>
            </a:extLst>
          </p:cNvPr>
          <p:cNvSpPr/>
          <p:nvPr/>
        </p:nvSpPr>
        <p:spPr bwMode="auto">
          <a:xfrm>
            <a:off x="2460568" y="3804666"/>
            <a:ext cx="578257" cy="253434"/>
          </a:xfrm>
          <a:prstGeom prst="blockArc">
            <a:avLst>
              <a:gd name="adj1" fmla="val 10800000"/>
              <a:gd name="adj2" fmla="val 21406699"/>
              <a:gd name="adj3" fmla="val 29614"/>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p:cxnSp>
        <p:nvCxnSpPr>
          <p:cNvPr id="8" name="直接连接符 7">
            <a:extLst>
              <a:ext uri="{FF2B5EF4-FFF2-40B4-BE49-F238E27FC236}">
                <a16:creationId xmlns:a16="http://schemas.microsoft.com/office/drawing/2014/main" id="{598312CF-8983-4D84-93E3-D478DBF18512}"/>
              </a:ext>
            </a:extLst>
          </p:cNvPr>
          <p:cNvCxnSpPr>
            <a:cxnSpLocks/>
          </p:cNvCxnSpPr>
          <p:nvPr/>
        </p:nvCxnSpPr>
        <p:spPr>
          <a:xfrm>
            <a:off x="2460159" y="3890584"/>
            <a:ext cx="584499"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86129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31"/>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1" grpId="0"/>
      <p:bldP spid="65" grpId="0"/>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kern="0" dirty="0">
                <a:solidFill>
                  <a:srgbClr val="FFFFFF"/>
                </a:solidFill>
                <a:latin typeface="等线" panose="02010600030101010101" pitchFamily="2" charset="-122"/>
                <a:ea typeface="等线" panose="02010600030101010101" pitchFamily="2" charset="-122"/>
              </a:rPr>
              <a:t>17</a:t>
            </a: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7</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51811"/>
            <a:ext cx="11561274" cy="593487"/>
          </a:xfrm>
        </p:spPr>
        <p:txBody>
          <a:bodyPr/>
          <a:lstStyle/>
          <a:p>
            <a:r>
              <a:rPr lang="en-US" altLang="zh-CN" sz="4000" dirty="0"/>
              <a:t>Summery</a:t>
            </a:r>
            <a:endParaRPr lang="en-US" sz="4000" dirty="0"/>
          </a:p>
        </p:txBody>
      </p:sp>
      <p:sp>
        <p:nvSpPr>
          <p:cNvPr id="8" name="TextBox 7">
            <a:extLst>
              <a:ext uri="{FF2B5EF4-FFF2-40B4-BE49-F238E27FC236}">
                <a16:creationId xmlns:a16="http://schemas.microsoft.com/office/drawing/2014/main" id="{0B8C353D-16DD-42B0-B112-1EB2A8602241}"/>
              </a:ext>
            </a:extLst>
          </p:cNvPr>
          <p:cNvSpPr txBox="1"/>
          <p:nvPr/>
        </p:nvSpPr>
        <p:spPr>
          <a:xfrm>
            <a:off x="585651" y="1211839"/>
            <a:ext cx="10669891" cy="4434322"/>
          </a:xfrm>
          <a:prstGeom prst="rect">
            <a:avLst/>
          </a:prstGeom>
          <a:noFill/>
        </p:spPr>
        <p:txBody>
          <a:bodyPr wrap="square" lIns="91379" tIns="45690" rIns="91379" bIns="45690" rtlCol="0">
            <a:noAutofit/>
          </a:bodyPr>
          <a:lstStyle/>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Continuous and </a:t>
            </a: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stable full RF gun operation in this stage </a:t>
            </a:r>
            <a:endPar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Simple and precise laser </a:t>
            </a: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and electron beam </a:t>
            </a: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adjustment thanks to </a:t>
            </a: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the </a:t>
            </a: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available monitors and remote control components</a:t>
            </a:r>
          </a:p>
          <a:p>
            <a:pPr marR="0" lvl="0" algn="l" defTabSz="932213" rtl="0" eaLnBrk="1" fontAlgn="auto" latinLnBrk="0" hangingPunct="1">
              <a:lnSpc>
                <a:spcPct val="90000"/>
              </a:lnSpc>
              <a:spcBef>
                <a:spcPts val="0"/>
              </a:spcBef>
              <a:spcAft>
                <a:spcPts val="600"/>
              </a:spcAft>
              <a:buClrTx/>
              <a:buSzTx/>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Increase the stability of laser and electron beam</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457200" marR="0" lvl="0" indent="-457200"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Will focus on improving the quality of electron beam by the Yb laser system</a:t>
            </a:r>
            <a:endPar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342900" indent="-342900" defTabSz="932213">
              <a:lnSpc>
                <a:spcPct val="90000"/>
              </a:lnSpc>
              <a:spcAft>
                <a:spcPts val="600"/>
              </a:spcAft>
              <a:buFont typeface="Arial" panose="020B0604020202020204" pitchFamily="34" charset="0"/>
              <a:buChar char="•"/>
              <a:defRPr/>
            </a:pPr>
            <a:endParaRPr lang="en-US" sz="9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lvl="1" defTabSz="932213">
              <a:lnSpc>
                <a:spcPct val="90000"/>
              </a:lnSpc>
              <a:spcAft>
                <a:spcPts val="600"/>
              </a:spcAft>
              <a:defRPr/>
            </a:pPr>
            <a:endPar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cxnSp>
        <p:nvCxnSpPr>
          <p:cNvPr id="3" name="直接连接符 2">
            <a:extLst>
              <a:ext uri="{FF2B5EF4-FFF2-40B4-BE49-F238E27FC236}">
                <a16:creationId xmlns:a16="http://schemas.microsoft.com/office/drawing/2014/main" id="{431BC522-1FF3-4233-B9A8-4DCDFA405658}"/>
              </a:ext>
            </a:extLst>
          </p:cNvPr>
          <p:cNvCxnSpPr>
            <a:cxnSpLocks/>
          </p:cNvCxnSpPr>
          <p:nvPr/>
        </p:nvCxnSpPr>
        <p:spPr>
          <a:xfrm>
            <a:off x="9204159" y="5844682"/>
            <a:ext cx="1858879"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矩形 3">
            <a:extLst>
              <a:ext uri="{FF2B5EF4-FFF2-40B4-BE49-F238E27FC236}">
                <a16:creationId xmlns:a16="http://schemas.microsoft.com/office/drawing/2014/main" id="{44279D18-139D-4841-8CF7-A4C010891022}"/>
              </a:ext>
            </a:extLst>
          </p:cNvPr>
          <p:cNvSpPr/>
          <p:nvPr/>
        </p:nvSpPr>
        <p:spPr>
          <a:xfrm>
            <a:off x="9274168" y="5844682"/>
            <a:ext cx="1822935" cy="646331"/>
          </a:xfrm>
          <a:prstGeom prst="rect">
            <a:avLst/>
          </a:prstGeom>
        </p:spPr>
        <p:txBody>
          <a:bodyPr wrap="none">
            <a:spAutoFit/>
          </a:bodyPr>
          <a:lstStyle/>
          <a:p>
            <a:r>
              <a:rPr lang="en-US" altLang="zh-CN" sz="36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HANKS</a:t>
            </a:r>
          </a:p>
        </p:txBody>
      </p:sp>
    </p:spTree>
    <p:extLst>
      <p:ext uri="{BB962C8B-B14F-4D97-AF65-F5344CB8AC3E}">
        <p14:creationId xmlns:p14="http://schemas.microsoft.com/office/powerpoint/2010/main" val="27111753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arn(inVertical)">
                                      <p:cBhvr>
                                        <p:cTn id="7" dur="500"/>
                                        <p:tgtEl>
                                          <p:spTgt spid="3"/>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8D22B6-B11A-42BD-B78F-8CF8B3A3E2AF}"/>
              </a:ext>
            </a:extLst>
          </p:cNvPr>
          <p:cNvSpPr>
            <a:spLocks noGrp="1"/>
          </p:cNvSpPr>
          <p:nvPr>
            <p:ph type="title"/>
          </p:nvPr>
        </p:nvSpPr>
        <p:spPr>
          <a:xfrm>
            <a:off x="585651" y="251811"/>
            <a:ext cx="11561274" cy="593487"/>
          </a:xfrm>
        </p:spPr>
        <p:txBody>
          <a:bodyPr/>
          <a:lstStyle/>
          <a:p>
            <a:r>
              <a:rPr lang="en-US" altLang="zh-CN" sz="4000" dirty="0"/>
              <a:t>Backup</a:t>
            </a:r>
            <a:endParaRPr lang="en-US" sz="4000" dirty="0"/>
          </a:p>
        </p:txBody>
      </p:sp>
    </p:spTree>
    <p:extLst>
      <p:ext uri="{BB962C8B-B14F-4D97-AF65-F5344CB8AC3E}">
        <p14:creationId xmlns:p14="http://schemas.microsoft.com/office/powerpoint/2010/main" val="3923425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a:extLst>
              <a:ext uri="{FF2B5EF4-FFF2-40B4-BE49-F238E27FC236}">
                <a16:creationId xmlns:a16="http://schemas.microsoft.com/office/drawing/2014/main" id="{B7AEC094-40B7-42FA-8682-A5D1A477DA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538" y="1100534"/>
            <a:ext cx="11122449" cy="5311347"/>
          </a:xfrm>
          <a:prstGeom prst="rect">
            <a:avLst/>
          </a:prstGeom>
        </p:spPr>
      </p:pic>
      <p:sp>
        <p:nvSpPr>
          <p:cNvPr id="7" name="Title 3">
            <a:extLst>
              <a:ext uri="{FF2B5EF4-FFF2-40B4-BE49-F238E27FC236}">
                <a16:creationId xmlns:a16="http://schemas.microsoft.com/office/drawing/2014/main" id="{74CA715D-679F-4EA8-9E24-AB2D0A0FC0E5}"/>
              </a:ext>
            </a:extLst>
          </p:cNvPr>
          <p:cNvSpPr>
            <a:spLocks noGrp="1"/>
          </p:cNvSpPr>
          <p:nvPr>
            <p:ph type="title"/>
          </p:nvPr>
        </p:nvSpPr>
        <p:spPr>
          <a:xfrm>
            <a:off x="585651" y="251811"/>
            <a:ext cx="11561274" cy="593487"/>
          </a:xfrm>
        </p:spPr>
        <p:txBody>
          <a:bodyPr/>
          <a:lstStyle/>
          <a:p>
            <a:r>
              <a:rPr lang="en-US" altLang="zh-CN" sz="4000" dirty="0"/>
              <a:t>Recommendations of the 22nd Review</a:t>
            </a:r>
            <a:endParaRPr lang="en-US" sz="4000" dirty="0"/>
          </a:p>
        </p:txBody>
      </p:sp>
    </p:spTree>
    <p:extLst>
      <p:ext uri="{BB962C8B-B14F-4D97-AF65-F5344CB8AC3E}">
        <p14:creationId xmlns:p14="http://schemas.microsoft.com/office/powerpoint/2010/main" val="2850610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矩形 12">
            <a:extLst>
              <a:ext uri="{FF2B5EF4-FFF2-40B4-BE49-F238E27FC236}">
                <a16:creationId xmlns:a16="http://schemas.microsoft.com/office/drawing/2014/main" id="{EE6E46DA-3D09-4E62-B094-3886015BAC1B}"/>
              </a:ext>
            </a:extLst>
          </p:cNvPr>
          <p:cNvSpPr/>
          <p:nvPr/>
        </p:nvSpPr>
        <p:spPr>
          <a:xfrm>
            <a:off x="1295400" y="1109236"/>
            <a:ext cx="9601200" cy="4214604"/>
          </a:xfrm>
          <a:prstGeom prst="rect">
            <a:avLst/>
          </a:prstGeom>
          <a:solidFill>
            <a:sysClr val="windowText" lastClr="000000">
              <a:alpha val="60000"/>
            </a:sysClr>
          </a:solidFill>
          <a:ln w="9525" cap="flat" cmpd="sng" algn="ctr">
            <a:solidFill>
              <a:sysClr val="window" lastClr="FFFFFF">
                <a:lumMod val="50000"/>
                <a:alpha val="10000"/>
              </a:sysClr>
            </a:solid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等线" panose="020F0502020204030204"/>
              <a:ea typeface="等线" panose="02010600030101010101" pitchFamily="2" charset="-122"/>
              <a:cs typeface="+mn-cs"/>
            </a:endParaRPr>
          </a:p>
        </p:txBody>
      </p:sp>
      <p:sp>
        <p:nvSpPr>
          <p:cNvPr id="3" name="文本框 25">
            <a:extLst>
              <a:ext uri="{FF2B5EF4-FFF2-40B4-BE49-F238E27FC236}">
                <a16:creationId xmlns:a16="http://schemas.microsoft.com/office/drawing/2014/main" id="{82A3A650-FFE3-4053-ABBD-396B00CBD584}"/>
              </a:ext>
            </a:extLst>
          </p:cNvPr>
          <p:cNvSpPr txBox="1"/>
          <p:nvPr/>
        </p:nvSpPr>
        <p:spPr>
          <a:xfrm>
            <a:off x="1645919" y="1197419"/>
            <a:ext cx="890016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宋体" panose="02010600030101010101" pitchFamily="2" charset="-122"/>
                <a:cs typeface="+mn-cs"/>
              </a:rPr>
              <a:t>SuperKEKB REQUIREMENTS</a:t>
            </a:r>
          </a:p>
        </p:txBody>
      </p:sp>
      <p:graphicFrame>
        <p:nvGraphicFramePr>
          <p:cNvPr id="4" name="表 3"/>
          <p:cNvGraphicFramePr>
            <a:graphicFrameLocks noGrp="1"/>
          </p:cNvGraphicFramePr>
          <p:nvPr/>
        </p:nvGraphicFramePr>
        <p:xfrm>
          <a:off x="2031999" y="2414185"/>
          <a:ext cx="8127999" cy="2021840"/>
        </p:xfrm>
        <a:graphic>
          <a:graphicData uri="http://schemas.openxmlformats.org/drawingml/2006/table">
            <a:tbl>
              <a:tblPr firstRow="1" bandRow="1">
                <a:tableStyleId>{C083E6E3-FA7D-4D7B-A595-EF9225AFEA82}</a:tableStyleId>
              </a:tblPr>
              <a:tblGrid>
                <a:gridCol w="2709333">
                  <a:extLst>
                    <a:ext uri="{9D8B030D-6E8A-4147-A177-3AD203B41FA5}">
                      <a16:colId xmlns:a16="http://schemas.microsoft.com/office/drawing/2014/main" val="20000"/>
                    </a:ext>
                  </a:extLst>
                </a:gridCol>
                <a:gridCol w="2709333">
                  <a:extLst>
                    <a:ext uri="{9D8B030D-6E8A-4147-A177-3AD203B41FA5}">
                      <a16:colId xmlns:a16="http://schemas.microsoft.com/office/drawing/2014/main" val="20001"/>
                    </a:ext>
                  </a:extLst>
                </a:gridCol>
                <a:gridCol w="2709333">
                  <a:extLst>
                    <a:ext uri="{9D8B030D-6E8A-4147-A177-3AD203B41FA5}">
                      <a16:colId xmlns:a16="http://schemas.microsoft.com/office/drawing/2014/main" val="20002"/>
                    </a:ext>
                  </a:extLst>
                </a:gridCol>
              </a:tblGrid>
              <a:tr h="370840">
                <a:tc>
                  <a:txBody>
                    <a:bodyPr/>
                    <a:lstStyle/>
                    <a:p>
                      <a:pPr algn="ctr"/>
                      <a:endParaRPr kumimoji="1" lang="ja-JP" altLang="en-US" dirty="0">
                        <a:solidFill>
                          <a:schemeClr val="bg1"/>
                        </a:solidFill>
                        <a:latin typeface="+mn-lt"/>
                      </a:endParaRPr>
                    </a:p>
                  </a:txBody>
                  <a:tcPr/>
                </a:tc>
                <a:tc>
                  <a:txBody>
                    <a:bodyPr/>
                    <a:lstStyle/>
                    <a:p>
                      <a:pPr algn="ctr"/>
                      <a:r>
                        <a:rPr kumimoji="1" lang="en-US" altLang="ja-JP" dirty="0">
                          <a:solidFill>
                            <a:schemeClr val="bg1"/>
                          </a:solidFill>
                          <a:latin typeface="Arial Black" panose="020B0A04020102020204" pitchFamily="34" charset="0"/>
                        </a:rPr>
                        <a:t>Electron</a:t>
                      </a:r>
                    </a:p>
                    <a:p>
                      <a:pPr algn="ctr"/>
                      <a:r>
                        <a:rPr kumimoji="1" lang="en-US" altLang="ja-JP" dirty="0">
                          <a:solidFill>
                            <a:schemeClr val="bg1"/>
                          </a:solidFill>
                          <a:latin typeface="Arial Black" panose="020B0A04020102020204" pitchFamily="34" charset="0"/>
                        </a:rPr>
                        <a:t>HER 7 GeV</a:t>
                      </a:r>
                      <a:endParaRPr kumimoji="1" lang="ja-JP" altLang="en-US" dirty="0">
                        <a:solidFill>
                          <a:schemeClr val="bg1"/>
                        </a:solidFill>
                        <a:latin typeface="Arial Black" panose="020B0A04020102020204" pitchFamily="34" charset="0"/>
                      </a:endParaRPr>
                    </a:p>
                  </a:txBody>
                  <a:tcPr/>
                </a:tc>
                <a:tc>
                  <a:txBody>
                    <a:bodyPr/>
                    <a:lstStyle/>
                    <a:p>
                      <a:pPr algn="ctr"/>
                      <a:r>
                        <a:rPr kumimoji="1" lang="en-US" altLang="ja-JP" dirty="0">
                          <a:solidFill>
                            <a:schemeClr val="bg1"/>
                          </a:solidFill>
                          <a:latin typeface="Arial Black" panose="020B0A04020102020204" pitchFamily="34" charset="0"/>
                        </a:rPr>
                        <a:t>Positron</a:t>
                      </a:r>
                    </a:p>
                    <a:p>
                      <a:pPr algn="ctr"/>
                      <a:r>
                        <a:rPr kumimoji="1" lang="en-US" altLang="ja-JP" dirty="0">
                          <a:solidFill>
                            <a:schemeClr val="bg1"/>
                          </a:solidFill>
                          <a:latin typeface="Arial Black" panose="020B0A04020102020204" pitchFamily="34" charset="0"/>
                        </a:rPr>
                        <a:t>LER 4 GeV</a:t>
                      </a:r>
                      <a:endParaRPr kumimoji="1" lang="ja-JP" altLang="en-US" dirty="0">
                        <a:solidFill>
                          <a:schemeClr val="bg1"/>
                        </a:solidFill>
                        <a:latin typeface="Arial Black" panose="020B0A04020102020204" pitchFamily="34" charset="0"/>
                      </a:endParaRPr>
                    </a:p>
                  </a:txBody>
                  <a:tcPr/>
                </a:tc>
                <a:extLst>
                  <a:ext uri="{0D108BD9-81ED-4DB2-BD59-A6C34878D82A}">
                    <a16:rowId xmlns:a16="http://schemas.microsoft.com/office/drawing/2014/main" val="10000"/>
                  </a:ext>
                </a:extLst>
              </a:tr>
              <a:tr h="370840">
                <a:tc>
                  <a:txBody>
                    <a:bodyPr/>
                    <a:lstStyle/>
                    <a:p>
                      <a:pPr algn="ctr"/>
                      <a:r>
                        <a:rPr kumimoji="1" lang="en-US" altLang="ja-JP" b="1" dirty="0">
                          <a:solidFill>
                            <a:schemeClr val="bg1"/>
                          </a:solidFill>
                        </a:rPr>
                        <a:t>Normalized</a:t>
                      </a:r>
                      <a:r>
                        <a:rPr kumimoji="1" lang="en-US" altLang="ja-JP" b="1" baseline="0" dirty="0">
                          <a:solidFill>
                            <a:schemeClr val="bg1"/>
                          </a:solidFill>
                        </a:rPr>
                        <a:t> Emittance</a:t>
                      </a:r>
                      <a:endParaRPr kumimoji="1" lang="ja-JP" altLang="en-US" b="1" dirty="0">
                        <a:solidFill>
                          <a:schemeClr val="bg1"/>
                        </a:solidFill>
                        <a:latin typeface="+mn-lt"/>
                      </a:endParaRPr>
                    </a:p>
                  </a:txBody>
                  <a:tcPr/>
                </a:tc>
                <a:tc>
                  <a:txBody>
                    <a:bodyPr/>
                    <a:lstStyle/>
                    <a:p>
                      <a:pPr algn="ctr"/>
                      <a:r>
                        <a:rPr kumimoji="1" lang="en-US" altLang="ja-JP" b="1" dirty="0">
                          <a:solidFill>
                            <a:schemeClr val="bg1"/>
                          </a:solidFill>
                          <a:latin typeface="+mn-lt"/>
                        </a:rPr>
                        <a:t>40 / 20 [</a:t>
                      </a:r>
                      <a:r>
                        <a:rPr kumimoji="1" lang="el-GR" altLang="ja-JP" b="1" dirty="0">
                          <a:solidFill>
                            <a:schemeClr val="bg1"/>
                          </a:solidFill>
                          <a:latin typeface="+mn-lt"/>
                        </a:rPr>
                        <a:t>μ</a:t>
                      </a:r>
                      <a:r>
                        <a:rPr kumimoji="1" lang="en-US" altLang="ja-JP" b="1" dirty="0">
                          <a:solidFill>
                            <a:schemeClr val="bg1"/>
                          </a:solidFill>
                          <a:latin typeface="+mn-lt"/>
                        </a:rPr>
                        <a:t>m]</a:t>
                      </a:r>
                      <a:endParaRPr kumimoji="1" lang="ja-JP" altLang="en-US" b="1" dirty="0">
                        <a:solidFill>
                          <a:schemeClr val="bg1"/>
                        </a:solidFill>
                        <a:latin typeface="+mn-lt"/>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b="1" dirty="0">
                          <a:solidFill>
                            <a:schemeClr val="bg1"/>
                          </a:solidFill>
                          <a:latin typeface="+mn-lt"/>
                        </a:rPr>
                        <a:t>100 / 15 [</a:t>
                      </a:r>
                      <a:r>
                        <a:rPr kumimoji="1" lang="el-GR" altLang="ja-JP" b="1" dirty="0">
                          <a:solidFill>
                            <a:schemeClr val="bg1"/>
                          </a:solidFill>
                          <a:latin typeface="+mn-lt"/>
                        </a:rPr>
                        <a:t>μ</a:t>
                      </a:r>
                      <a:r>
                        <a:rPr kumimoji="1" lang="en-US" altLang="ja-JP" b="1" dirty="0">
                          <a:solidFill>
                            <a:schemeClr val="bg1"/>
                          </a:solidFill>
                          <a:latin typeface="+mn-lt"/>
                        </a:rPr>
                        <a:t>m]</a:t>
                      </a:r>
                      <a:endParaRPr kumimoji="1" lang="ja-JP" altLang="en-US" b="1" dirty="0">
                        <a:solidFill>
                          <a:schemeClr val="bg1"/>
                        </a:solidFill>
                        <a:latin typeface="+mn-lt"/>
                      </a:endParaRPr>
                    </a:p>
                  </a:txBody>
                  <a:tcPr anchor="ctr"/>
                </a:tc>
                <a:extLst>
                  <a:ext uri="{0D108BD9-81ED-4DB2-BD59-A6C34878D82A}">
                    <a16:rowId xmlns:a16="http://schemas.microsoft.com/office/drawing/2014/main" val="10001"/>
                  </a:ext>
                </a:extLst>
              </a:tr>
              <a:tr h="370840">
                <a:tc>
                  <a:txBody>
                    <a:bodyPr/>
                    <a:lstStyle/>
                    <a:p>
                      <a:pPr algn="ctr"/>
                      <a:r>
                        <a:rPr kumimoji="1" lang="en-US" altLang="ja-JP" b="1" dirty="0">
                          <a:solidFill>
                            <a:schemeClr val="bg1"/>
                          </a:solidFill>
                        </a:rPr>
                        <a:t>Energy Spread</a:t>
                      </a:r>
                      <a:endParaRPr kumimoji="1" lang="ja-JP" altLang="en-US" b="1" dirty="0">
                        <a:solidFill>
                          <a:schemeClr val="bg1"/>
                        </a:solidFill>
                        <a:latin typeface="+mn-lt"/>
                      </a:endParaRPr>
                    </a:p>
                  </a:txBody>
                  <a:tcPr/>
                </a:tc>
                <a:tc>
                  <a:txBody>
                    <a:bodyPr/>
                    <a:lstStyle/>
                    <a:p>
                      <a:pPr algn="ctr"/>
                      <a:r>
                        <a:rPr kumimoji="1" lang="en-US" altLang="ja-JP" b="1" dirty="0">
                          <a:solidFill>
                            <a:schemeClr val="bg1"/>
                          </a:solidFill>
                          <a:latin typeface="+mn-lt"/>
                        </a:rPr>
                        <a:t>0.07%</a:t>
                      </a:r>
                    </a:p>
                  </a:txBody>
                  <a:tcPr anchor="ctr"/>
                </a:tc>
                <a:tc>
                  <a:txBody>
                    <a:bodyPr/>
                    <a:lstStyle/>
                    <a:p>
                      <a:pPr algn="ctr"/>
                      <a:r>
                        <a:rPr kumimoji="1" lang="en-US" altLang="ja-JP" b="1" dirty="0">
                          <a:solidFill>
                            <a:schemeClr val="bg1"/>
                          </a:solidFill>
                          <a:latin typeface="+mn-lt"/>
                        </a:rPr>
                        <a:t>0.16%</a:t>
                      </a:r>
                      <a:endParaRPr kumimoji="1" lang="ja-JP" altLang="en-US" b="1" dirty="0">
                        <a:solidFill>
                          <a:schemeClr val="bg1"/>
                        </a:solidFill>
                        <a:latin typeface="+mn-lt"/>
                      </a:endParaRPr>
                    </a:p>
                  </a:txBody>
                  <a:tcPr anchor="ctr"/>
                </a:tc>
                <a:extLst>
                  <a:ext uri="{0D108BD9-81ED-4DB2-BD59-A6C34878D82A}">
                    <a16:rowId xmlns:a16="http://schemas.microsoft.com/office/drawing/2014/main" val="10002"/>
                  </a:ext>
                </a:extLst>
              </a:tr>
              <a:tr h="370840">
                <a:tc>
                  <a:txBody>
                    <a:bodyPr/>
                    <a:lstStyle/>
                    <a:p>
                      <a:pPr algn="ctr"/>
                      <a:r>
                        <a:rPr kumimoji="1" lang="en-US" altLang="ja-JP" b="1" dirty="0">
                          <a:solidFill>
                            <a:schemeClr val="bg1"/>
                          </a:solidFill>
                        </a:rPr>
                        <a:t>Bunch Charge at Injection Point</a:t>
                      </a:r>
                      <a:endParaRPr kumimoji="1" lang="ja-JP" altLang="en-US" b="1" dirty="0">
                        <a:solidFill>
                          <a:schemeClr val="bg1"/>
                        </a:solidFill>
                      </a:endParaRPr>
                    </a:p>
                  </a:txBody>
                  <a:tcPr/>
                </a:tc>
                <a:tc>
                  <a:txBody>
                    <a:bodyPr/>
                    <a:lstStyle/>
                    <a:p>
                      <a:pPr algn="ctr"/>
                      <a:r>
                        <a:rPr kumimoji="1" lang="en-US" altLang="ja-JP" b="1" dirty="0">
                          <a:solidFill>
                            <a:schemeClr val="bg1"/>
                          </a:solidFill>
                          <a:latin typeface="+mn-lt"/>
                        </a:rPr>
                        <a:t>4.0</a:t>
                      </a:r>
                      <a:r>
                        <a:rPr kumimoji="1" lang="en-US" altLang="ja-JP" b="1" baseline="0" dirty="0">
                          <a:solidFill>
                            <a:schemeClr val="bg1"/>
                          </a:solidFill>
                          <a:latin typeface="+mn-lt"/>
                        </a:rPr>
                        <a:t> nC</a:t>
                      </a:r>
                      <a:endParaRPr kumimoji="1" lang="ja-JP" altLang="en-US" b="1" dirty="0">
                        <a:solidFill>
                          <a:schemeClr val="bg1"/>
                        </a:solidFill>
                        <a:latin typeface="+mn-lt"/>
                      </a:endParaRPr>
                    </a:p>
                  </a:txBody>
                  <a:tcPr anchor="ctr"/>
                </a:tc>
                <a:tc>
                  <a:txBody>
                    <a:bodyPr/>
                    <a:lstStyle/>
                    <a:p>
                      <a:pPr algn="ctr"/>
                      <a:r>
                        <a:rPr kumimoji="1" lang="en-US" altLang="ja-JP" b="1" dirty="0">
                          <a:solidFill>
                            <a:schemeClr val="bg1"/>
                          </a:solidFill>
                          <a:latin typeface="+mn-lt"/>
                        </a:rPr>
                        <a:t>4.0 nC</a:t>
                      </a:r>
                      <a:endParaRPr kumimoji="1" lang="ja-JP" altLang="en-US" b="1" dirty="0">
                        <a:solidFill>
                          <a:schemeClr val="bg1"/>
                        </a:solidFill>
                        <a:latin typeface="+mn-lt"/>
                      </a:endParaRPr>
                    </a:p>
                  </a:txBody>
                  <a:tcPr anchor="ctr"/>
                </a:tc>
                <a:extLst>
                  <a:ext uri="{0D108BD9-81ED-4DB2-BD59-A6C34878D82A}">
                    <a16:rowId xmlns:a16="http://schemas.microsoft.com/office/drawing/2014/main" val="10003"/>
                  </a:ext>
                </a:extLst>
              </a:tr>
            </a:tbl>
          </a:graphicData>
        </a:graphic>
      </p:graphicFrame>
      <p:sp>
        <p:nvSpPr>
          <p:cNvPr id="5" name="正方形/長方形 4"/>
          <p:cNvSpPr/>
          <p:nvPr/>
        </p:nvSpPr>
        <p:spPr>
          <a:xfrm>
            <a:off x="2254984" y="4642943"/>
            <a:ext cx="8291095"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prstClr val="white"/>
                </a:solidFill>
                <a:effectLst/>
                <a:uLnTx/>
                <a:uFillTx/>
                <a:latin typeface="Arial Black" panose="020B0A04020102020204" pitchFamily="34" charset="0"/>
                <a:ea typeface="等线" panose="02010600030101010101" pitchFamily="2" charset="-122"/>
                <a:cs typeface="+mn-cs"/>
              </a:rPr>
              <a:t>Stable electron beam with high charge and low emittance is required for SuperKEK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800" b="1" i="0" u="none" strike="noStrike" kern="1200" cap="none" spc="0" normalizeH="0" baseline="0" noProof="0" dirty="0">
              <a:ln>
                <a:noFill/>
              </a:ln>
              <a:solidFill>
                <a:prstClr val="white"/>
              </a:solidFill>
              <a:effectLst/>
              <a:uLnTx/>
              <a:uFillTx/>
              <a:latin typeface="Arial Black" panose="020B0A04020102020204" pitchFamily="34" charset="0"/>
              <a:ea typeface="等线" panose="02010600030101010101" pitchFamily="2" charset="-122"/>
              <a:cs typeface="+mn-cs"/>
            </a:endParaRPr>
          </a:p>
        </p:txBody>
      </p:sp>
    </p:spTree>
    <p:extLst>
      <p:ext uri="{BB962C8B-B14F-4D97-AF65-F5344CB8AC3E}">
        <p14:creationId xmlns:p14="http://schemas.microsoft.com/office/powerpoint/2010/main" val="11337344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5-20</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51811"/>
            <a:ext cx="11561274" cy="593487"/>
          </a:xfrm>
        </p:spPr>
        <p:txBody>
          <a:bodyPr/>
          <a:lstStyle/>
          <a:p>
            <a:r>
              <a:rPr lang="en-US" sz="4000" dirty="0"/>
              <a:t>Plan</a:t>
            </a:r>
            <a:br>
              <a:rPr lang="en-US" sz="4000" dirty="0"/>
            </a:br>
            <a:endParaRPr lang="en-US" sz="4000" dirty="0"/>
          </a:p>
        </p:txBody>
      </p:sp>
      <p:sp>
        <p:nvSpPr>
          <p:cNvPr id="8" name="TextBox 7">
            <a:extLst>
              <a:ext uri="{FF2B5EF4-FFF2-40B4-BE49-F238E27FC236}">
                <a16:creationId xmlns:a16="http://schemas.microsoft.com/office/drawing/2014/main" id="{0B8C353D-16DD-42B0-B112-1EB2A8602241}"/>
              </a:ext>
            </a:extLst>
          </p:cNvPr>
          <p:cNvSpPr txBox="1"/>
          <p:nvPr/>
        </p:nvSpPr>
        <p:spPr>
          <a:xfrm>
            <a:off x="585651" y="1211839"/>
            <a:ext cx="10669891" cy="4434322"/>
          </a:xfrm>
          <a:prstGeom prst="rect">
            <a:avLst/>
          </a:prstGeom>
          <a:noFill/>
        </p:spPr>
        <p:txBody>
          <a:bodyPr wrap="square" lIns="91379" tIns="45690" rIns="91379" bIns="45690" rtlCol="0">
            <a:noAutofit/>
          </a:bodyPr>
          <a:lstStyle/>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2019 summer: Improve stability of laser system and performance of photocathode</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2020 summer (2019 winter): Improve the quality of electron beam</a:t>
            </a:r>
          </a:p>
          <a:p>
            <a:pPr marL="800100" lvl="1" indent="-342900" defTabSz="932213">
              <a:lnSpc>
                <a:spcPct val="90000"/>
              </a:lnSpc>
              <a:spcAft>
                <a:spcPts val="600"/>
              </a:spcAft>
              <a:buFont typeface="等线 Light" panose="02010600030101010101" pitchFamily="2" charset="-122"/>
              <a:buChar char="–"/>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aser pulse temporal reshape: rectangular pulse shape</a:t>
            </a:r>
          </a:p>
          <a:p>
            <a:pPr marL="800100" lvl="1" indent="-342900" defTabSz="932213">
              <a:lnSpc>
                <a:spcPct val="90000"/>
              </a:lnSpc>
              <a:spcAft>
                <a:spcPts val="600"/>
              </a:spcAft>
              <a:buFont typeface="等线 Light" panose="02010600030101010101" pitchFamily="2" charset="-122"/>
              <a:buChar char="–"/>
              <a:defRP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aser pulse spatial reshape: flat-top beam pattern</a:t>
            </a:r>
            <a:endPar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p:txBody>
      </p:sp>
      <mc:AlternateContent xmlns:mc="http://schemas.openxmlformats.org/markup-compatibility/2006" xmlns:psez="http://schemas.microsoft.com/office/powerpoint/2016/sectionzoom">
        <mc:Choice Requires="psez">
          <p:graphicFrame>
            <p:nvGraphicFramePr>
              <p:cNvPr id="7" name="节缩放定位 6">
                <a:extLst>
                  <a:ext uri="{FF2B5EF4-FFF2-40B4-BE49-F238E27FC236}">
                    <a16:creationId xmlns:a16="http://schemas.microsoft.com/office/drawing/2014/main" id="{4A4B2DE9-4E9D-418F-BA85-6C57C99BB490}"/>
                  </a:ext>
                </a:extLst>
              </p:cNvPr>
              <p:cNvGraphicFramePr>
                <a:graphicFrameLocks noChangeAspect="1"/>
              </p:cNvGraphicFramePr>
              <p:nvPr>
                <p:extLst>
                  <p:ext uri="{D42A27DB-BD31-4B8C-83A1-F6EECF244321}">
                    <p14:modId xmlns:p14="http://schemas.microsoft.com/office/powerpoint/2010/main" val="4184473868"/>
                  </p:ext>
                </p:extLst>
              </p:nvPr>
            </p:nvGraphicFramePr>
            <p:xfrm>
              <a:off x="2690027" y="5314204"/>
              <a:ext cx="774566" cy="663914"/>
            </p:xfrm>
            <a:graphic>
              <a:graphicData uri="http://schemas.microsoft.com/office/powerpoint/2016/sectionzoom">
                <psez:sectionZm>
                  <psez:sectionZmObj sectionId="{939EFA42-AB79-45B9-820B-1B995D986AB9}">
                    <psez:zmPr id="{5851EC41-7B2D-4C77-BC41-AA41B8696458}" imageType="cover" transitionDur="1000">
                      <p166:blipFill xmlns:p166="http://schemas.microsoft.com/office/powerpoint/2016/6/main">
                        <a:blip r:embed="rId3">
                          <a:extLst>
                            <a:ext uri="{28A0092B-C50C-407E-A947-70E740481C1C}">
                              <a14:useLocalDpi xmlns:a14="http://schemas.microsoft.com/office/drawing/2010/main" val="0"/>
                            </a:ext>
                          </a:extLst>
                        </a:blip>
                        <a:stretch>
                          <a:fillRect/>
                        </a:stretch>
                      </p166:blipFill>
                      <p166:spPr xmlns:p166="http://schemas.microsoft.com/office/powerpoint/2016/6/main">
                        <a:xfrm>
                          <a:off x="0" y="0"/>
                          <a:ext cx="774566" cy="663914"/>
                        </a:xfrm>
                        <a:prstGeom prst="rect">
                          <a:avLst/>
                        </a:prstGeom>
                        <a:noFill/>
                        <a:ln w="3175">
                          <a:noFill/>
                        </a:ln>
                      </p166:spPr>
                    </psez:zmPr>
                  </psez:sectionZmObj>
                </psez:sectionZm>
              </a:graphicData>
            </a:graphic>
          </p:graphicFrame>
        </mc:Choice>
        <mc:Fallback xmlns="">
          <p:pic>
            <p:nvPicPr>
              <p:cNvPr id="7" name="节缩放定位 6">
                <a:hlinkClick r:id="rId4" action="ppaction://hlinksldjump"/>
                <a:extLst>
                  <a:ext uri="{FF2B5EF4-FFF2-40B4-BE49-F238E27FC236}">
                    <a16:creationId xmlns:a16="http://schemas.microsoft.com/office/drawing/2014/main" id="{4A4B2DE9-4E9D-418F-BA85-6C57C99BB490}"/>
                  </a:ext>
                </a:extLst>
              </p:cNvPr>
              <p:cNvPicPr>
                <a:picLocks noGrp="1" noRot="1" noChangeAspect="1" noMove="1" noResize="1" noEditPoints="1" noAdjustHandles="1" noChangeArrowheads="1" noChangeShapeType="1"/>
              </p:cNvPicPr>
              <p:nvPr/>
            </p:nvPicPr>
            <p:blipFill>
              <a:blip r:embed="rId5">
                <a:extLst>
                  <a:ext uri="{28A0092B-C50C-407E-A947-70E740481C1C}">
                    <a14:useLocalDpi xmlns:a14="http://schemas.microsoft.com/office/drawing/2010/main" val="0"/>
                  </a:ext>
                </a:extLst>
              </a:blip>
              <a:stretch>
                <a:fillRect/>
              </a:stretch>
            </p:blipFill>
            <p:spPr>
              <a:xfrm>
                <a:off x="2690027" y="5314204"/>
                <a:ext cx="774566" cy="663914"/>
              </a:xfrm>
              <a:prstGeom prst="rect">
                <a:avLst/>
              </a:prstGeom>
              <a:noFill/>
              <a:ln w="3175">
                <a:noFill/>
              </a:ln>
            </p:spPr>
          </p:pic>
        </mc:Fallback>
      </mc:AlternateContent>
      <mc:AlternateContent xmlns:mc="http://schemas.openxmlformats.org/markup-compatibility/2006" xmlns:psez="http://schemas.microsoft.com/office/powerpoint/2016/sectionzoom">
        <mc:Choice Requires="psez">
          <p:graphicFrame>
            <p:nvGraphicFramePr>
              <p:cNvPr id="11" name="节缩放定位 10">
                <a:extLst>
                  <a:ext uri="{FF2B5EF4-FFF2-40B4-BE49-F238E27FC236}">
                    <a16:creationId xmlns:a16="http://schemas.microsoft.com/office/drawing/2014/main" id="{69A45776-04AF-424B-97B8-A24BCB354030}"/>
                  </a:ext>
                </a:extLst>
              </p:cNvPr>
              <p:cNvGraphicFramePr>
                <a:graphicFrameLocks noChangeAspect="1"/>
              </p:cNvGraphicFramePr>
              <p:nvPr>
                <p:extLst>
                  <p:ext uri="{D42A27DB-BD31-4B8C-83A1-F6EECF244321}">
                    <p14:modId xmlns:p14="http://schemas.microsoft.com/office/powerpoint/2010/main" val="2750081787"/>
                  </p:ext>
                </p:extLst>
              </p:nvPr>
            </p:nvGraphicFramePr>
            <p:xfrm>
              <a:off x="9036483" y="5088181"/>
              <a:ext cx="774567" cy="663915"/>
            </p:xfrm>
            <a:graphic>
              <a:graphicData uri="http://schemas.microsoft.com/office/powerpoint/2016/sectionzoom">
                <psez:sectionZm>
                  <psez:sectionZmObj sectionId="{A915BA43-FBFF-4B32-8498-F203F4638556}">
                    <psez:zmPr id="{4BC46046-A9AA-4176-9D43-AE3F28974820}" imageType="cover" transitionDur="1000">
                      <p166:blipFill xmlns:p166="http://schemas.microsoft.com/office/powerpoint/2016/6/main">
                        <a:blip r:embed="rId5">
                          <a:extLst>
                            <a:ext uri="{28A0092B-C50C-407E-A947-70E740481C1C}">
                              <a14:useLocalDpi xmlns:a14="http://schemas.microsoft.com/office/drawing/2010/main" val="0"/>
                            </a:ext>
                          </a:extLst>
                        </a:blip>
                        <a:stretch>
                          <a:fillRect/>
                        </a:stretch>
                      </p166:blipFill>
                      <p166:spPr xmlns:p166="http://schemas.microsoft.com/office/powerpoint/2016/6/main">
                        <a:xfrm>
                          <a:off x="0" y="0"/>
                          <a:ext cx="774567" cy="663915"/>
                        </a:xfrm>
                        <a:prstGeom prst="rect">
                          <a:avLst/>
                        </a:prstGeom>
                        <a:ln w="3175">
                          <a:noFill/>
                        </a:ln>
                      </p166:spPr>
                    </psez:zmPr>
                  </psez:sectionZmObj>
                </psez:sectionZm>
              </a:graphicData>
            </a:graphic>
          </p:graphicFrame>
        </mc:Choice>
        <mc:Fallback xmlns="">
          <p:pic>
            <p:nvPicPr>
              <p:cNvPr id="11" name="节缩放定位 10">
                <a:hlinkClick r:id="rId6" action="ppaction://hlinksldjump"/>
                <a:extLst>
                  <a:ext uri="{FF2B5EF4-FFF2-40B4-BE49-F238E27FC236}">
                    <a16:creationId xmlns:a16="http://schemas.microsoft.com/office/drawing/2014/main" id="{69A45776-04AF-424B-97B8-A24BCB354030}"/>
                  </a:ext>
                </a:extLst>
              </p:cNvPr>
              <p:cNvPicPr>
                <a:picLocks noGrp="1" noRot="1" noChangeAspect="1" noMove="1" noResize="1" noEditPoints="1" noAdjustHandles="1" noChangeArrowheads="1" noChangeShapeType="1"/>
              </p:cNvPicPr>
              <p:nvPr/>
            </p:nvPicPr>
            <p:blipFill>
              <a:blip r:embed="rId5">
                <a:extLst>
                  <a:ext uri="{28A0092B-C50C-407E-A947-70E740481C1C}">
                    <a14:useLocalDpi xmlns:a14="http://schemas.microsoft.com/office/drawing/2010/main" val="0"/>
                  </a:ext>
                </a:extLst>
              </a:blip>
              <a:stretch>
                <a:fillRect/>
              </a:stretch>
            </p:blipFill>
            <p:spPr>
              <a:xfrm>
                <a:off x="9036483" y="5088181"/>
                <a:ext cx="774567" cy="663915"/>
              </a:xfrm>
              <a:prstGeom prst="rect">
                <a:avLst/>
              </a:prstGeom>
              <a:ln w="3175">
                <a:noFill/>
              </a:ln>
            </p:spPr>
          </p:pic>
        </mc:Fallback>
      </mc:AlternateContent>
    </p:spTree>
    <p:extLst>
      <p:ext uri="{BB962C8B-B14F-4D97-AF65-F5344CB8AC3E}">
        <p14:creationId xmlns:p14="http://schemas.microsoft.com/office/powerpoint/2010/main" val="3008402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51811"/>
            <a:ext cx="11561274" cy="593487"/>
          </a:xfrm>
        </p:spPr>
        <p:txBody>
          <a:bodyPr/>
          <a:lstStyle/>
          <a:p>
            <a:r>
              <a:rPr lang="en-US" altLang="zh-CN" sz="4000" dirty="0"/>
              <a:t>Updates in 2019 Summer</a:t>
            </a:r>
            <a:endParaRPr lang="en-US" sz="4000" dirty="0"/>
          </a:p>
        </p:txBody>
      </p:sp>
      <p:sp>
        <p:nvSpPr>
          <p:cNvPr id="8" name="TextBox 7">
            <a:extLst>
              <a:ext uri="{FF2B5EF4-FFF2-40B4-BE49-F238E27FC236}">
                <a16:creationId xmlns:a16="http://schemas.microsoft.com/office/drawing/2014/main" id="{0B8C353D-16DD-42B0-B112-1EB2A8602241}"/>
              </a:ext>
            </a:extLst>
          </p:cNvPr>
          <p:cNvSpPr txBox="1"/>
          <p:nvPr/>
        </p:nvSpPr>
        <p:spPr>
          <a:xfrm>
            <a:off x="585651" y="1211839"/>
            <a:ext cx="10669891" cy="4434322"/>
          </a:xfrm>
          <a:prstGeom prst="rect">
            <a:avLst/>
          </a:prstGeom>
          <a:noFill/>
        </p:spPr>
        <p:txBody>
          <a:bodyPr wrap="square" lIns="91379" tIns="45690" rIns="91379" bIns="45690" rtlCol="0">
            <a:noAutofit/>
          </a:bodyPr>
          <a:lstStyle/>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Install new Menlo fiber oscillator </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Rebuild transporting line by use of relay imaging system</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9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Improve temperature stability in the laser hut</a:t>
            </a:r>
          </a:p>
          <a:p>
            <a:pPr marL="800100" lvl="1" indent="-342900" defTabSz="932213">
              <a:lnSpc>
                <a:spcPct val="90000"/>
              </a:lnSpc>
              <a:spcAft>
                <a:spcPts val="600"/>
              </a:spcAft>
              <a:buFont typeface="等线 Light" panose="02010600030101010101" pitchFamily="2" charset="-122"/>
              <a:buChar char="–"/>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Water cooling for optics table</a:t>
            </a:r>
          </a:p>
          <a:p>
            <a:pPr marL="800100" lvl="1" indent="-342900" defTabSz="932213">
              <a:lnSpc>
                <a:spcPct val="90000"/>
              </a:lnSpc>
              <a:spcAft>
                <a:spcPts val="600"/>
              </a:spcAft>
              <a:buFont typeface="等线 Light" panose="02010600030101010101" pitchFamily="2" charset="-122"/>
              <a:buChar char="–"/>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Exchange powerful air-conditioner</a:t>
            </a:r>
          </a:p>
          <a:p>
            <a:pPr marL="800100" lvl="1" indent="-342900" defTabSz="932213">
              <a:lnSpc>
                <a:spcPct val="90000"/>
              </a:lnSpc>
              <a:spcAft>
                <a:spcPts val="600"/>
              </a:spcAft>
              <a:buFont typeface="等线 Light" panose="02010600030101010101" pitchFamily="2" charset="-122"/>
              <a:buChar char="–"/>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dd insulation layer for the west wall of laser hut</a:t>
            </a:r>
          </a:p>
          <a:p>
            <a:pPr marL="342900" indent="-342900" defTabSz="932213">
              <a:lnSpc>
                <a:spcPct val="90000"/>
              </a:lnSpc>
              <a:spcAft>
                <a:spcPts val="600"/>
              </a:spcAft>
              <a:buFont typeface="Arial" panose="020B0604020202020204" pitchFamily="34" charset="0"/>
              <a:buChar char="•"/>
              <a:defRPr/>
            </a:pPr>
            <a:endParaRPr lang="en-US" sz="9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342900" indent="-342900" defTabSz="932213">
              <a:lnSpc>
                <a:spcPct val="90000"/>
              </a:lnSpc>
              <a:spcAft>
                <a:spcPts val="600"/>
              </a:spcAft>
              <a:buFont typeface="Arial" panose="020B0604020202020204" pitchFamily="34" charset="0"/>
              <a:buChar char="•"/>
              <a:defRPr/>
            </a:pPr>
            <a:r>
              <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Realize real time UV laser beam profile monitor</a:t>
            </a:r>
          </a:p>
          <a:p>
            <a:pPr marL="914400" lvl="1" indent="-457200" defTabSz="932213">
              <a:lnSpc>
                <a:spcPct val="90000"/>
              </a:lnSpc>
              <a:spcAft>
                <a:spcPts val="600"/>
              </a:spcAft>
              <a:buFont typeface="等线 Light" panose="02010600030101010101" pitchFamily="2" charset="-122"/>
              <a:buChar char="–"/>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vailable during continuous injection</a:t>
            </a:r>
          </a:p>
          <a:p>
            <a:pPr marL="628552" lvl="1" indent="-171352" defTabSz="932213">
              <a:lnSpc>
                <a:spcPct val="90000"/>
              </a:lnSpc>
              <a:spcAft>
                <a:spcPts val="600"/>
              </a:spcAft>
              <a:buFont typeface="Arial" panose="020B0604020202020204" pitchFamily="34" charset="0"/>
              <a:buChar char="•"/>
              <a:defRPr/>
            </a:pPr>
            <a:endPar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sp>
        <p:nvSpPr>
          <p:cNvPr id="4" name="Rectangle 118">
            <a:extLst>
              <a:ext uri="{FF2B5EF4-FFF2-40B4-BE49-F238E27FC236}">
                <a16:creationId xmlns:a16="http://schemas.microsoft.com/office/drawing/2014/main" id="{D14C601C-1618-49CE-ADA0-1B18EF579794}"/>
              </a:ext>
            </a:extLst>
          </p:cNvPr>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6-20</a:t>
            </a:r>
          </a:p>
        </p:txBody>
      </p:sp>
    </p:spTree>
    <p:extLst>
      <p:ext uri="{BB962C8B-B14F-4D97-AF65-F5344CB8AC3E}">
        <p14:creationId xmlns:p14="http://schemas.microsoft.com/office/powerpoint/2010/main" val="2235297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287906"/>
            <a:ext cx="11561274" cy="593487"/>
          </a:xfrm>
        </p:spPr>
        <p:txBody>
          <a:bodyPr/>
          <a:lstStyle/>
          <a:p>
            <a:r>
              <a:rPr lang="en-US" altLang="zh-CN" sz="4000" dirty="0"/>
              <a:t>Updates in 2020</a:t>
            </a:r>
            <a:endParaRPr lang="en-US" sz="4000" dirty="0"/>
          </a:p>
        </p:txBody>
      </p:sp>
      <p:sp>
        <p:nvSpPr>
          <p:cNvPr id="5" name="TextBox 7">
            <a:extLst>
              <a:ext uri="{FF2B5EF4-FFF2-40B4-BE49-F238E27FC236}">
                <a16:creationId xmlns:a16="http://schemas.microsoft.com/office/drawing/2014/main" id="{EC78BF07-8DD8-46F0-99DA-7F7E267552C5}"/>
              </a:ext>
            </a:extLst>
          </p:cNvPr>
          <p:cNvSpPr txBox="1"/>
          <p:nvPr/>
        </p:nvSpPr>
        <p:spPr>
          <a:xfrm>
            <a:off x="578614" y="1083111"/>
            <a:ext cx="10669891" cy="5733197"/>
          </a:xfrm>
          <a:prstGeom prst="rect">
            <a:avLst/>
          </a:prstGeom>
          <a:noFill/>
        </p:spPr>
        <p:txBody>
          <a:bodyPr wrap="square" lIns="91379" tIns="45690" rIns="91379" bIns="45690" rtlCol="0">
            <a:noAutofit/>
          </a:bodyPr>
          <a:lstStyle/>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emporal reshape: Pulse stacking for low energy spread </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lang="en-US"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cxnSp>
        <p:nvCxnSpPr>
          <p:cNvPr id="11" name="直線矢印コネクタ 8">
            <a:extLst>
              <a:ext uri="{FF2B5EF4-FFF2-40B4-BE49-F238E27FC236}">
                <a16:creationId xmlns:a16="http://schemas.microsoft.com/office/drawing/2014/main" id="{A821E658-C353-4EC7-AAFF-02EA23782F2C}"/>
              </a:ext>
            </a:extLst>
          </p:cNvPr>
          <p:cNvCxnSpPr/>
          <p:nvPr/>
        </p:nvCxnSpPr>
        <p:spPr>
          <a:xfrm flipV="1">
            <a:off x="8832498" y="2047423"/>
            <a:ext cx="332318" cy="4364"/>
          </a:xfrm>
          <a:prstGeom prst="straightConnector1">
            <a:avLst/>
          </a:prstGeom>
          <a:noFill/>
          <a:ln w="38100" cap="flat" cmpd="sng" algn="ctr">
            <a:solidFill>
              <a:schemeClr val="tx1"/>
            </a:solidFill>
            <a:prstDash val="solid"/>
            <a:headEnd type="none" w="med" len="med"/>
            <a:tailEnd type="triangle" w="med" len="med"/>
          </a:ln>
          <a:effectLst/>
        </p:spPr>
      </p:cxnSp>
      <p:sp>
        <p:nvSpPr>
          <p:cNvPr id="13" name="テキスト ボックス 3">
            <a:extLst>
              <a:ext uri="{FF2B5EF4-FFF2-40B4-BE49-F238E27FC236}">
                <a16:creationId xmlns:a16="http://schemas.microsoft.com/office/drawing/2014/main" id="{033D6614-23A6-4903-AF6D-A676B47F8C5F}"/>
              </a:ext>
            </a:extLst>
          </p:cNvPr>
          <p:cNvSpPr txBox="1"/>
          <p:nvPr/>
        </p:nvSpPr>
        <p:spPr>
          <a:xfrm>
            <a:off x="3247835" y="1736730"/>
            <a:ext cx="5499123" cy="646331"/>
          </a:xfrm>
          <a:prstGeom prst="rect">
            <a:avLst/>
          </a:prstGeom>
          <a:solidFill>
            <a:schemeClr val="accent6"/>
          </a:solidFill>
          <a:ln w="9525" cap="flat" cmpd="sng" algn="ctr">
            <a:noFill/>
            <a:prstDash val="solid"/>
          </a:ln>
          <a:effectLst>
            <a:outerShdw blurRad="40000" dist="20000" dir="5400000" rotWithShape="0">
              <a:srgbClr val="000000">
                <a:alpha val="38000"/>
              </a:srgbClr>
            </a:outerShdw>
          </a:effectLst>
        </p:spPr>
        <p:txBody>
          <a:bodyPr wrap="square" rtlCol="0">
            <a:spAutoFit/>
          </a:bodyPr>
          <a:lstStyle>
            <a:defPPr>
              <a:defRPr lang="ja-JP"/>
            </a:defPPr>
            <a:lvl1pPr marL="0" algn="l" defTabSz="914400" rtl="0" eaLnBrk="1" latinLnBrk="0" hangingPunct="1">
              <a:defRPr kumimoji="1" sz="1800" kern="1200">
                <a:solidFill>
                  <a:schemeClr val="dk1"/>
                </a:solidFill>
                <a:latin typeface="+mn-lt"/>
                <a:ea typeface="+mn-ea"/>
                <a:cs typeface="+mn-cs"/>
              </a:defRPr>
            </a:lvl1pPr>
            <a:lvl2pPr marL="457200" algn="l" defTabSz="914400" rtl="0" eaLnBrk="1" latinLnBrk="0" hangingPunct="1">
              <a:defRPr kumimoji="1" sz="1800" kern="1200">
                <a:solidFill>
                  <a:schemeClr val="dk1"/>
                </a:solidFill>
                <a:latin typeface="+mn-lt"/>
                <a:ea typeface="+mn-ea"/>
                <a:cs typeface="+mn-cs"/>
              </a:defRPr>
            </a:lvl2pPr>
            <a:lvl3pPr marL="914400" algn="l" defTabSz="914400" rtl="0" eaLnBrk="1" latinLnBrk="0" hangingPunct="1">
              <a:defRPr kumimoji="1" sz="1800" kern="1200">
                <a:solidFill>
                  <a:schemeClr val="dk1"/>
                </a:solidFill>
                <a:latin typeface="+mn-lt"/>
                <a:ea typeface="+mn-ea"/>
                <a:cs typeface="+mn-cs"/>
              </a:defRPr>
            </a:lvl3pPr>
            <a:lvl4pPr marL="1371600" algn="l" defTabSz="914400" rtl="0" eaLnBrk="1" latinLnBrk="0" hangingPunct="1">
              <a:defRPr kumimoji="1" sz="1800" kern="1200">
                <a:solidFill>
                  <a:schemeClr val="dk1"/>
                </a:solidFill>
                <a:latin typeface="+mn-lt"/>
                <a:ea typeface="+mn-ea"/>
                <a:cs typeface="+mn-cs"/>
              </a:defRPr>
            </a:lvl4pPr>
            <a:lvl5pPr marL="1828800" algn="l" defTabSz="914400" rtl="0" eaLnBrk="1" latinLnBrk="0" hangingPunct="1">
              <a:defRPr kumimoji="1" sz="1800" kern="1200">
                <a:solidFill>
                  <a:schemeClr val="dk1"/>
                </a:solidFill>
                <a:latin typeface="+mn-lt"/>
                <a:ea typeface="+mn-ea"/>
                <a:cs typeface="+mn-cs"/>
              </a:defRPr>
            </a:lvl5pPr>
            <a:lvl6pPr marL="2286000" algn="l" defTabSz="914400" rtl="0" eaLnBrk="1" latinLnBrk="0" hangingPunct="1">
              <a:defRPr kumimoji="1" sz="1800" kern="1200">
                <a:solidFill>
                  <a:schemeClr val="dk1"/>
                </a:solidFill>
                <a:latin typeface="+mn-lt"/>
                <a:ea typeface="+mn-ea"/>
                <a:cs typeface="+mn-cs"/>
              </a:defRPr>
            </a:lvl6pPr>
            <a:lvl7pPr marL="2743200" algn="l" defTabSz="914400" rtl="0" eaLnBrk="1" latinLnBrk="0" hangingPunct="1">
              <a:defRPr kumimoji="1" sz="1800" kern="1200">
                <a:solidFill>
                  <a:schemeClr val="dk1"/>
                </a:solidFill>
                <a:latin typeface="+mn-lt"/>
                <a:ea typeface="+mn-ea"/>
                <a:cs typeface="+mn-cs"/>
              </a:defRPr>
            </a:lvl7pPr>
            <a:lvl8pPr marL="3200400" algn="l" defTabSz="914400" rtl="0" eaLnBrk="1" latinLnBrk="0" hangingPunct="1">
              <a:defRPr kumimoji="1" sz="1800" kern="1200">
                <a:solidFill>
                  <a:schemeClr val="dk1"/>
                </a:solidFill>
                <a:latin typeface="+mn-lt"/>
                <a:ea typeface="+mn-ea"/>
                <a:cs typeface="+mn-cs"/>
              </a:defRPr>
            </a:lvl8pPr>
            <a:lvl9pPr marL="3657600" algn="l" defTabSz="914400" rtl="0" eaLnBrk="1" latinLnBrk="0" hangingPunct="1">
              <a:defRPr kumimoji="1" sz="1800" kern="1200">
                <a:solidFill>
                  <a:schemeClr val="dk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schemeClr val="tx1"/>
                </a:solidFill>
                <a:effectLst/>
                <a:uLnTx/>
                <a:uFillTx/>
                <a:latin typeface="等线 Light" panose="02010600030101010101" pitchFamily="2" charset="-122"/>
                <a:ea typeface="等线 Light" panose="02010600030101010101" pitchFamily="2" charset="-122"/>
                <a:cs typeface="Times New Roman" panose="02020603050405020304" pitchFamily="18" charset="0"/>
              </a:rPr>
              <a:t>Pulse stacking setup made by a crystal arra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zh-CN" sz="1800" b="1" i="0" u="none" strike="noStrike" kern="1200" cap="none" spc="0" normalizeH="0" baseline="0" noProof="0" dirty="0">
                <a:ln>
                  <a:noFill/>
                </a:ln>
                <a:solidFill>
                  <a:schemeClr val="tx1"/>
                </a:solidFill>
                <a:effectLst/>
                <a:uLnTx/>
                <a:uFillTx/>
                <a:latin typeface="等线 Light" panose="02010600030101010101" pitchFamily="2" charset="-122"/>
                <a:ea typeface="等线 Light" panose="02010600030101010101" pitchFamily="2" charset="-122"/>
                <a:cs typeface="Times New Roman" panose="02020603050405020304" pitchFamily="18" charset="0"/>
              </a:rPr>
              <a:t>(birefringent effect of crystal)</a:t>
            </a:r>
            <a:endParaRPr kumimoji="1" lang="ja-JP" altLang="en-US" sz="1800" b="1" i="0" u="none" strike="noStrike" kern="1200" cap="none" spc="0" normalizeH="0" baseline="0" noProof="0" dirty="0">
              <a:ln>
                <a:noFill/>
              </a:ln>
              <a:solidFill>
                <a:schemeClr val="tx1"/>
              </a:solidFill>
              <a:effectLst/>
              <a:uLnTx/>
              <a:uFillTx/>
              <a:latin typeface="等线 Light" panose="02010600030101010101" pitchFamily="2" charset="-122"/>
              <a:ea typeface="等线 Light" panose="02010600030101010101" pitchFamily="2" charset="-122"/>
              <a:cs typeface="Times New Roman" panose="02020603050405020304" pitchFamily="18" charset="0"/>
            </a:endParaRPr>
          </a:p>
        </p:txBody>
      </p:sp>
      <p:pic>
        <p:nvPicPr>
          <p:cNvPr id="15" name="図 13">
            <a:extLst>
              <a:ext uri="{FF2B5EF4-FFF2-40B4-BE49-F238E27FC236}">
                <a16:creationId xmlns:a16="http://schemas.microsoft.com/office/drawing/2014/main" id="{1B5EDD2B-063F-46DE-B238-B707DDB763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9052" y="4480578"/>
            <a:ext cx="3298487" cy="1693224"/>
          </a:xfrm>
          <a:prstGeom prst="rect">
            <a:avLst/>
          </a:prstGeom>
        </p:spPr>
      </p:pic>
      <p:pic>
        <p:nvPicPr>
          <p:cNvPr id="16" name="図 14">
            <a:extLst>
              <a:ext uri="{FF2B5EF4-FFF2-40B4-BE49-F238E27FC236}">
                <a16:creationId xmlns:a16="http://schemas.microsoft.com/office/drawing/2014/main" id="{D2BCEB31-2FD8-48AB-9603-C2F4620EF3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0836" y="4310313"/>
            <a:ext cx="3453259" cy="2078146"/>
          </a:xfrm>
          <a:prstGeom prst="rect">
            <a:avLst/>
          </a:prstGeom>
        </p:spPr>
      </p:pic>
      <p:pic>
        <p:nvPicPr>
          <p:cNvPr id="17" name="図 15">
            <a:extLst>
              <a:ext uri="{FF2B5EF4-FFF2-40B4-BE49-F238E27FC236}">
                <a16:creationId xmlns:a16="http://schemas.microsoft.com/office/drawing/2014/main" id="{96B1330A-0AEE-466C-ACEB-849287BD225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23496" y="4342005"/>
            <a:ext cx="3281149" cy="1970370"/>
          </a:xfrm>
          <a:prstGeom prst="rect">
            <a:avLst/>
          </a:prstGeom>
        </p:spPr>
      </p:pic>
      <p:sp>
        <p:nvSpPr>
          <p:cNvPr id="18" name="正方形/長方形 19">
            <a:extLst>
              <a:ext uri="{FF2B5EF4-FFF2-40B4-BE49-F238E27FC236}">
                <a16:creationId xmlns:a16="http://schemas.microsoft.com/office/drawing/2014/main" id="{DD48D2D8-E5CA-4806-8DEE-62B184CBED73}"/>
              </a:ext>
            </a:extLst>
          </p:cNvPr>
          <p:cNvSpPr/>
          <p:nvPr/>
        </p:nvSpPr>
        <p:spPr>
          <a:xfrm>
            <a:off x="3724095" y="4086189"/>
            <a:ext cx="4555393" cy="338554"/>
          </a:xfrm>
          <a:prstGeom prst="rect">
            <a:avLst/>
          </a:prstGeom>
        </p:spPr>
        <p:txBody>
          <a:bodyPr wrap="square">
            <a:spAutoFit/>
          </a:bodyPr>
          <a:lstStyle/>
          <a:p>
            <a:pPr algn="ctr" defTabSz="457200"/>
            <a:r>
              <a:rPr kumimoji="0" lang="en-US" altLang="ja-JP" sz="1600" b="1" dirty="0">
                <a:latin typeface="等线 Light" panose="02010600030101010101" pitchFamily="2" charset="-122"/>
                <a:ea typeface="等线 Light" panose="02010600030101010101" pitchFamily="2" charset="-122"/>
              </a:rPr>
              <a:t>Two stages stacking system made by YVO</a:t>
            </a:r>
            <a:r>
              <a:rPr kumimoji="0" lang="en-US" altLang="ja-JP" sz="1100" b="1" dirty="0">
                <a:latin typeface="等线 Light" panose="02010600030101010101" pitchFamily="2" charset="-122"/>
                <a:ea typeface="等线 Light" panose="02010600030101010101" pitchFamily="2" charset="-122"/>
              </a:rPr>
              <a:t>4</a:t>
            </a:r>
            <a:r>
              <a:rPr kumimoji="0" lang="en-US" altLang="ja-JP" sz="1600" b="1" dirty="0">
                <a:latin typeface="等线 Light" panose="02010600030101010101" pitchFamily="2" charset="-122"/>
                <a:ea typeface="等线 Light" panose="02010600030101010101" pitchFamily="2" charset="-122"/>
              </a:rPr>
              <a:t> crystals</a:t>
            </a:r>
          </a:p>
        </p:txBody>
      </p:sp>
      <p:pic>
        <p:nvPicPr>
          <p:cNvPr id="19" name="Picture 5">
            <a:extLst>
              <a:ext uri="{FF2B5EF4-FFF2-40B4-BE49-F238E27FC236}">
                <a16:creationId xmlns:a16="http://schemas.microsoft.com/office/drawing/2014/main" id="{819EEC2D-4E0B-4722-B341-4A58488B741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290975" y="2403203"/>
            <a:ext cx="3421634" cy="1482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直線矢印コネクタ 8">
            <a:extLst>
              <a:ext uri="{FF2B5EF4-FFF2-40B4-BE49-F238E27FC236}">
                <a16:creationId xmlns:a16="http://schemas.microsoft.com/office/drawing/2014/main" id="{3607DB70-33A1-497B-B5F1-65A1FB775B69}"/>
              </a:ext>
            </a:extLst>
          </p:cNvPr>
          <p:cNvCxnSpPr/>
          <p:nvPr/>
        </p:nvCxnSpPr>
        <p:spPr>
          <a:xfrm flipV="1">
            <a:off x="2871760" y="2059675"/>
            <a:ext cx="332318" cy="4364"/>
          </a:xfrm>
          <a:prstGeom prst="straightConnector1">
            <a:avLst/>
          </a:prstGeom>
          <a:noFill/>
          <a:ln w="38100" cap="flat" cmpd="sng" algn="ctr">
            <a:solidFill>
              <a:schemeClr val="tx1"/>
            </a:solidFill>
            <a:prstDash val="solid"/>
            <a:headEnd type="none" w="med" len="med"/>
            <a:tailEnd type="triangle" w="med" len="med"/>
          </a:ln>
          <a:effectLst/>
        </p:spPr>
      </p:cxnSp>
      <p:sp>
        <p:nvSpPr>
          <p:cNvPr id="21" name="Rectangle 23">
            <a:extLst>
              <a:ext uri="{FF2B5EF4-FFF2-40B4-BE49-F238E27FC236}">
                <a16:creationId xmlns:a16="http://schemas.microsoft.com/office/drawing/2014/main" id="{0EBA0DD8-3CA7-4C53-8159-B280321BBA65}"/>
              </a:ext>
            </a:extLst>
          </p:cNvPr>
          <p:cNvSpPr/>
          <p:nvPr/>
        </p:nvSpPr>
        <p:spPr bwMode="auto">
          <a:xfrm>
            <a:off x="306812" y="1736730"/>
            <a:ext cx="2515997" cy="1581215"/>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lvl="0" algn="ctr" defTabSz="932121" fontAlgn="base">
              <a:lnSpc>
                <a:spcPct val="90000"/>
              </a:lnSpc>
              <a:spcBef>
                <a:spcPct val="0"/>
              </a:spcBef>
              <a:spcAft>
                <a:spcPct val="0"/>
              </a:spcAft>
              <a:defRPr/>
            </a:pPr>
            <a:r>
              <a:rPr kumimoji="0" lang="en-US" sz="2200" b="1" kern="0" dirty="0">
                <a:solidFill>
                  <a:srgbClr val="FFFFFF"/>
                </a:solidFill>
                <a:latin typeface="等线 Light" panose="02010600030101010101" pitchFamily="2" charset="-122"/>
                <a:ea typeface="等线 Light" panose="02010600030101010101" pitchFamily="2" charset="-122"/>
                <a:cs typeface="Segoe UI" pitchFamily="34" charset="0"/>
              </a:rPr>
              <a:t>Input laser pulse with temporal Gaussian shape (FWHM~10 ps)</a:t>
            </a:r>
          </a:p>
        </p:txBody>
      </p:sp>
      <p:sp>
        <p:nvSpPr>
          <p:cNvPr id="22" name="Rectangle 23">
            <a:extLst>
              <a:ext uri="{FF2B5EF4-FFF2-40B4-BE49-F238E27FC236}">
                <a16:creationId xmlns:a16="http://schemas.microsoft.com/office/drawing/2014/main" id="{3E072707-EE8A-4E10-A09C-3F7BC03E6C3C}"/>
              </a:ext>
            </a:extLst>
          </p:cNvPr>
          <p:cNvSpPr/>
          <p:nvPr/>
        </p:nvSpPr>
        <p:spPr bwMode="auto">
          <a:xfrm>
            <a:off x="9242678" y="1736842"/>
            <a:ext cx="2663211" cy="1581103"/>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lvl="0" algn="ctr" defTabSz="932121" fontAlgn="base">
              <a:lnSpc>
                <a:spcPct val="90000"/>
              </a:lnSpc>
              <a:spcBef>
                <a:spcPct val="0"/>
              </a:spcBef>
              <a:spcAft>
                <a:spcPct val="0"/>
              </a:spcAft>
              <a:defRPr/>
            </a:pPr>
            <a:r>
              <a:rPr kumimoji="0" lang="en-US" sz="2200" b="1" kern="0" dirty="0">
                <a:solidFill>
                  <a:srgbClr val="FFFFFF"/>
                </a:solidFill>
                <a:latin typeface="等线 Light" panose="02010600030101010101" pitchFamily="2" charset="-122"/>
                <a:ea typeface="等线 Light" panose="02010600030101010101" pitchFamily="2" charset="-122"/>
                <a:cs typeface="Segoe UI" pitchFamily="34" charset="0"/>
              </a:rPr>
              <a:t>Output laser pulse with temporal rectangular shape (FWHM~40 ps)</a:t>
            </a:r>
          </a:p>
        </p:txBody>
      </p:sp>
      <p:sp>
        <p:nvSpPr>
          <p:cNvPr id="4" name="矩形 3">
            <a:extLst>
              <a:ext uri="{FF2B5EF4-FFF2-40B4-BE49-F238E27FC236}">
                <a16:creationId xmlns:a16="http://schemas.microsoft.com/office/drawing/2014/main" id="{70440A63-C35C-4516-BA82-6F5AB6B58F46}"/>
              </a:ext>
            </a:extLst>
          </p:cNvPr>
          <p:cNvSpPr/>
          <p:nvPr/>
        </p:nvSpPr>
        <p:spPr>
          <a:xfrm>
            <a:off x="455004" y="4418089"/>
            <a:ext cx="3000603" cy="584775"/>
          </a:xfrm>
          <a:prstGeom prst="rect">
            <a:avLst/>
          </a:prstGeom>
        </p:spPr>
        <p:txBody>
          <a:bodyPr wrap="square">
            <a:spAutoFit/>
          </a:bodyPr>
          <a:lstStyle/>
          <a:p>
            <a:r>
              <a:rPr lang="en-US" altLang="ja-JP" sz="1600" b="1" dirty="0">
                <a:solidFill>
                  <a:prstClr val="white"/>
                </a:solidFill>
                <a:latin typeface="等线 Light" panose="02010600030101010101" pitchFamily="2" charset="-122"/>
                <a:ea typeface="等线 Light" panose="02010600030101010101" pitchFamily="2" charset="-122"/>
              </a:rPr>
              <a:t>Input </a:t>
            </a:r>
            <a:r>
              <a:rPr lang="en-US" altLang="ja-JP" sz="1600" b="1" dirty="0" err="1">
                <a:solidFill>
                  <a:prstClr val="white"/>
                </a:solidFill>
                <a:latin typeface="等线 Light" panose="02010600030101010101" pitchFamily="2" charset="-122"/>
                <a:ea typeface="等线 Light" panose="02010600030101010101" pitchFamily="2" charset="-122"/>
              </a:rPr>
              <a:t>Nd:YLF</a:t>
            </a:r>
            <a:r>
              <a:rPr lang="en-US" altLang="ja-JP" sz="1600" b="1" dirty="0">
                <a:solidFill>
                  <a:prstClr val="white"/>
                </a:solidFill>
                <a:latin typeface="等线 Light" panose="02010600030101010101" pitchFamily="2" charset="-122"/>
                <a:ea typeface="等线 Light" panose="02010600030101010101" pitchFamily="2" charset="-122"/>
              </a:rPr>
              <a:t> mode lock laser pulse with 9.4 ps FWHM width</a:t>
            </a:r>
          </a:p>
        </p:txBody>
      </p:sp>
      <p:sp>
        <p:nvSpPr>
          <p:cNvPr id="23" name="正方形/長方形 18">
            <a:extLst>
              <a:ext uri="{FF2B5EF4-FFF2-40B4-BE49-F238E27FC236}">
                <a16:creationId xmlns:a16="http://schemas.microsoft.com/office/drawing/2014/main" id="{DB7629C3-8FA1-443A-8413-0C398227A33B}"/>
              </a:ext>
            </a:extLst>
          </p:cNvPr>
          <p:cNvSpPr/>
          <p:nvPr/>
        </p:nvSpPr>
        <p:spPr>
          <a:xfrm>
            <a:off x="8645545" y="4833587"/>
            <a:ext cx="3059100" cy="338554"/>
          </a:xfrm>
          <a:prstGeom prst="rect">
            <a:avLst/>
          </a:prstGeom>
        </p:spPr>
        <p:txBody>
          <a:bodyPr wrap="square">
            <a:spAutoFit/>
          </a:bodyPr>
          <a:lstStyle/>
          <a:p>
            <a:r>
              <a:rPr lang="en-US" altLang="ja-JP" sz="1600" b="1" dirty="0">
                <a:solidFill>
                  <a:prstClr val="white"/>
                </a:solidFill>
                <a:latin typeface="等线 Light" panose="02010600030101010101" pitchFamily="2" charset="-122"/>
                <a:ea typeface="等线 Light" panose="02010600030101010101" pitchFamily="2" charset="-122"/>
              </a:rPr>
              <a:t>Achieved laser pulse by stacking</a:t>
            </a:r>
          </a:p>
        </p:txBody>
      </p:sp>
      <p:sp>
        <p:nvSpPr>
          <p:cNvPr id="24" name="正方形/長方形 19">
            <a:extLst>
              <a:ext uri="{FF2B5EF4-FFF2-40B4-BE49-F238E27FC236}">
                <a16:creationId xmlns:a16="http://schemas.microsoft.com/office/drawing/2014/main" id="{6BFB2ECA-DDDB-4973-A99D-BB470D8F9B8B}"/>
              </a:ext>
            </a:extLst>
          </p:cNvPr>
          <p:cNvSpPr/>
          <p:nvPr/>
        </p:nvSpPr>
        <p:spPr>
          <a:xfrm>
            <a:off x="545112" y="6482897"/>
            <a:ext cx="4555393" cy="338554"/>
          </a:xfrm>
          <a:prstGeom prst="rect">
            <a:avLst/>
          </a:prstGeom>
        </p:spPr>
        <p:txBody>
          <a:bodyPr wrap="square">
            <a:spAutoFit/>
          </a:bodyPr>
          <a:lstStyle/>
          <a:p>
            <a:pPr defTabSz="457200"/>
            <a:r>
              <a:rPr kumimoji="0" lang="en-US" altLang="ja-JP" sz="1600" b="1" dirty="0">
                <a:latin typeface="等线 Light" panose="02010600030101010101" pitchFamily="2" charset="-122"/>
                <a:ea typeface="等线 Light" panose="02010600030101010101" pitchFamily="2" charset="-122"/>
              </a:rPr>
              <a:t>* Supported by Dr. Yosuke Honda</a:t>
            </a:r>
          </a:p>
        </p:txBody>
      </p:sp>
      <p:sp>
        <p:nvSpPr>
          <p:cNvPr id="25" name="Rectangle 118">
            <a:extLst>
              <a:ext uri="{FF2B5EF4-FFF2-40B4-BE49-F238E27FC236}">
                <a16:creationId xmlns:a16="http://schemas.microsoft.com/office/drawing/2014/main" id="{CCE25186-C637-4A82-A043-FC29F0689551}"/>
              </a:ext>
            </a:extLst>
          </p:cNvPr>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7-20</a:t>
            </a:r>
          </a:p>
        </p:txBody>
      </p:sp>
    </p:spTree>
    <p:extLst>
      <p:ext uri="{BB962C8B-B14F-4D97-AF65-F5344CB8AC3E}">
        <p14:creationId xmlns:p14="http://schemas.microsoft.com/office/powerpoint/2010/main" val="3371571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8-20</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185638"/>
            <a:ext cx="11561274" cy="593487"/>
          </a:xfrm>
        </p:spPr>
        <p:txBody>
          <a:bodyPr/>
          <a:lstStyle/>
          <a:p>
            <a:r>
              <a:rPr lang="en-US" altLang="zh-CN" sz="4000" dirty="0"/>
              <a:t>Updates in 2020</a:t>
            </a:r>
            <a:endParaRPr lang="en-US" sz="4000" dirty="0"/>
          </a:p>
        </p:txBody>
      </p:sp>
      <p:sp>
        <p:nvSpPr>
          <p:cNvPr id="5" name="TextBox 7">
            <a:extLst>
              <a:ext uri="{FF2B5EF4-FFF2-40B4-BE49-F238E27FC236}">
                <a16:creationId xmlns:a16="http://schemas.microsoft.com/office/drawing/2014/main" id="{EC78BF07-8DD8-46F0-99DA-7F7E267552C5}"/>
              </a:ext>
            </a:extLst>
          </p:cNvPr>
          <p:cNvSpPr txBox="1"/>
          <p:nvPr/>
        </p:nvSpPr>
        <p:spPr>
          <a:xfrm>
            <a:off x="585651" y="931362"/>
            <a:ext cx="11344201" cy="4434322"/>
          </a:xfrm>
          <a:prstGeom prst="rect">
            <a:avLst/>
          </a:prstGeom>
          <a:noFill/>
        </p:spPr>
        <p:txBody>
          <a:bodyPr wrap="square" lIns="91379" tIns="45690" rIns="91379" bIns="45690" rtlCol="0">
            <a:noAutofit/>
          </a:bodyPr>
          <a:lstStyle/>
          <a:p>
            <a:pPr marL="171352" lvl="0" indent="-171352" defTabSz="932213">
              <a:lnSpc>
                <a:spcPct val="90000"/>
              </a:lnSpc>
              <a:spcAft>
                <a:spcPts val="600"/>
              </a:spcAft>
              <a:buFont typeface="Arial" panose="020B0604020202020204" pitchFamily="34" charset="0"/>
              <a:buChar char="•"/>
            </a:pPr>
            <a:r>
              <a:rPr lang="en-US" altLang="zh-CN" sz="28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Spatial reshape: Diffractive optics element (DOE) for low energy spread and emittance</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pic>
        <p:nvPicPr>
          <p:cNvPr id="6" name="图片 5">
            <a:extLst>
              <a:ext uri="{FF2B5EF4-FFF2-40B4-BE49-F238E27FC236}">
                <a16:creationId xmlns:a16="http://schemas.microsoft.com/office/drawing/2014/main" id="{A7C9B2ED-798F-49BB-8BB9-6F81A2732E8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0430" y="1787060"/>
            <a:ext cx="3142396" cy="1296745"/>
          </a:xfrm>
          <a:prstGeom prst="rect">
            <a:avLst/>
          </a:prstGeom>
        </p:spPr>
      </p:pic>
      <p:sp>
        <p:nvSpPr>
          <p:cNvPr id="2" name="矩形 1">
            <a:extLst>
              <a:ext uri="{FF2B5EF4-FFF2-40B4-BE49-F238E27FC236}">
                <a16:creationId xmlns:a16="http://schemas.microsoft.com/office/drawing/2014/main" id="{5645149B-2858-4031-B438-70AF7D843404}"/>
              </a:ext>
            </a:extLst>
          </p:cNvPr>
          <p:cNvSpPr/>
          <p:nvPr/>
        </p:nvSpPr>
        <p:spPr>
          <a:xfrm>
            <a:off x="747748" y="3112176"/>
            <a:ext cx="4687502" cy="341632"/>
          </a:xfrm>
          <a:prstGeom prst="rect">
            <a:avLst/>
          </a:prstGeom>
        </p:spPr>
        <p:txBody>
          <a:bodyPr wrap="none">
            <a:spAutoFit/>
          </a:bodyPr>
          <a:lstStyle/>
          <a:p>
            <a:pPr defTabSz="932213">
              <a:lnSpc>
                <a:spcPct val="90000"/>
              </a:lnSpc>
              <a:spcAft>
                <a:spcPts val="600"/>
              </a:spcAft>
            </a:pPr>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DOE with micro configuration as homogenizer</a:t>
            </a:r>
          </a:p>
        </p:txBody>
      </p:sp>
      <p:pic>
        <p:nvPicPr>
          <p:cNvPr id="7" name="图片 6">
            <a:extLst>
              <a:ext uri="{FF2B5EF4-FFF2-40B4-BE49-F238E27FC236}">
                <a16:creationId xmlns:a16="http://schemas.microsoft.com/office/drawing/2014/main" id="{21E955B4-71CF-4EF7-9475-AD189CE220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3591" y="1956046"/>
            <a:ext cx="3743239" cy="2125331"/>
          </a:xfrm>
          <a:prstGeom prst="rect">
            <a:avLst/>
          </a:prstGeom>
        </p:spPr>
      </p:pic>
      <p:pic>
        <p:nvPicPr>
          <p:cNvPr id="16" name="图片 15">
            <a:extLst>
              <a:ext uri="{FF2B5EF4-FFF2-40B4-BE49-F238E27FC236}">
                <a16:creationId xmlns:a16="http://schemas.microsoft.com/office/drawing/2014/main" id="{03D326F1-B3C8-4C04-817D-C8166E668B1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51785" y="3678762"/>
            <a:ext cx="3785701" cy="2424663"/>
          </a:xfrm>
          <a:prstGeom prst="rect">
            <a:avLst/>
          </a:prstGeom>
        </p:spPr>
      </p:pic>
      <p:pic>
        <p:nvPicPr>
          <p:cNvPr id="18" name="图片 17">
            <a:extLst>
              <a:ext uri="{FF2B5EF4-FFF2-40B4-BE49-F238E27FC236}">
                <a16:creationId xmlns:a16="http://schemas.microsoft.com/office/drawing/2014/main" id="{26CA36AC-91E9-42A4-A5D8-E8674F025F3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51785" y="3550563"/>
            <a:ext cx="3785701" cy="2549338"/>
          </a:xfrm>
          <a:prstGeom prst="rect">
            <a:avLst/>
          </a:prstGeom>
        </p:spPr>
      </p:pic>
      <p:pic>
        <p:nvPicPr>
          <p:cNvPr id="20" name="图片 19">
            <a:extLst>
              <a:ext uri="{FF2B5EF4-FFF2-40B4-BE49-F238E27FC236}">
                <a16:creationId xmlns:a16="http://schemas.microsoft.com/office/drawing/2014/main" id="{10111349-C9DB-4B40-8089-FD71877172E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96428" y="4241926"/>
            <a:ext cx="3743239" cy="2127262"/>
          </a:xfrm>
          <a:prstGeom prst="rect">
            <a:avLst/>
          </a:prstGeom>
        </p:spPr>
      </p:pic>
      <p:sp>
        <p:nvSpPr>
          <p:cNvPr id="21" name="矩形 20">
            <a:extLst>
              <a:ext uri="{FF2B5EF4-FFF2-40B4-BE49-F238E27FC236}">
                <a16:creationId xmlns:a16="http://schemas.microsoft.com/office/drawing/2014/main" id="{D68DEF58-7581-4650-8F00-F5A65805EDBC}"/>
              </a:ext>
            </a:extLst>
          </p:cNvPr>
          <p:cNvSpPr/>
          <p:nvPr/>
        </p:nvSpPr>
        <p:spPr>
          <a:xfrm>
            <a:off x="607599" y="6178923"/>
            <a:ext cx="5067413" cy="667875"/>
          </a:xfrm>
          <a:prstGeom prst="rect">
            <a:avLst/>
          </a:prstGeom>
        </p:spPr>
        <p:txBody>
          <a:bodyPr wrap="none">
            <a:spAutoFit/>
          </a:bodyPr>
          <a:lstStyle/>
          <a:p>
            <a:pPr defTabSz="932213">
              <a:lnSpc>
                <a:spcPct val="90000"/>
              </a:lnSpc>
              <a:spcAft>
                <a:spcPts val="600"/>
              </a:spcAft>
            </a:pPr>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he homogenization is obtain with the sum of the </a:t>
            </a:r>
          </a:p>
          <a:p>
            <a:pPr algn="ctr" defTabSz="932213">
              <a:lnSpc>
                <a:spcPct val="90000"/>
              </a:lnSpc>
              <a:spcAft>
                <a:spcPts val="600"/>
              </a:spcAft>
            </a:pPr>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N*N sub-elements contributions</a:t>
            </a:r>
          </a:p>
        </p:txBody>
      </p:sp>
      <p:sp>
        <p:nvSpPr>
          <p:cNvPr id="22" name="正方形/長方形 19">
            <a:extLst>
              <a:ext uri="{FF2B5EF4-FFF2-40B4-BE49-F238E27FC236}">
                <a16:creationId xmlns:a16="http://schemas.microsoft.com/office/drawing/2014/main" id="{646544DF-2238-4D04-B880-100FF321DB12}"/>
              </a:ext>
            </a:extLst>
          </p:cNvPr>
          <p:cNvSpPr/>
          <p:nvPr/>
        </p:nvSpPr>
        <p:spPr>
          <a:xfrm>
            <a:off x="6237830" y="1492316"/>
            <a:ext cx="4860433" cy="400110"/>
          </a:xfrm>
          <a:prstGeom prst="rect">
            <a:avLst/>
          </a:prstGeom>
        </p:spPr>
        <p:txBody>
          <a:bodyPr wrap="square">
            <a:spAutoFit/>
          </a:bodyPr>
          <a:lstStyle/>
          <a:p>
            <a:pPr algn="ctr" defTabSz="457200"/>
            <a:r>
              <a:rPr kumimoji="0" lang="en-US" altLang="ja-JP" sz="2000" b="1" dirty="0">
                <a:latin typeface="等线 Light" panose="02010600030101010101" pitchFamily="2" charset="-122"/>
                <a:ea typeface="等线 Light" panose="02010600030101010101" pitchFamily="2" charset="-122"/>
              </a:rPr>
              <a:t>Simulation results: elliptical beam pattern</a:t>
            </a:r>
          </a:p>
        </p:txBody>
      </p:sp>
      <p:cxnSp>
        <p:nvCxnSpPr>
          <p:cNvPr id="24" name="直接箭头连接符 23">
            <a:extLst>
              <a:ext uri="{FF2B5EF4-FFF2-40B4-BE49-F238E27FC236}">
                <a16:creationId xmlns:a16="http://schemas.microsoft.com/office/drawing/2014/main" id="{23113FC4-8ACA-4C20-95FB-44FDC7C01455}"/>
              </a:ext>
            </a:extLst>
          </p:cNvPr>
          <p:cNvCxnSpPr>
            <a:cxnSpLocks/>
          </p:cNvCxnSpPr>
          <p:nvPr/>
        </p:nvCxnSpPr>
        <p:spPr>
          <a:xfrm>
            <a:off x="7423488" y="3795963"/>
            <a:ext cx="2797342" cy="0"/>
          </a:xfrm>
          <a:prstGeom prst="straightConnector1">
            <a:avLst/>
          </a:prstGeom>
          <a:ln w="127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18">
            <a:extLst>
              <a:ext uri="{FF2B5EF4-FFF2-40B4-BE49-F238E27FC236}">
                <a16:creationId xmlns:a16="http://schemas.microsoft.com/office/drawing/2014/main" id="{40FE2675-9B5A-4191-BA62-DB0FAFA81BAB}"/>
              </a:ext>
            </a:extLst>
          </p:cNvPr>
          <p:cNvSpPr/>
          <p:nvPr/>
        </p:nvSpPr>
        <p:spPr>
          <a:xfrm>
            <a:off x="8507799" y="3467637"/>
            <a:ext cx="3059100" cy="338554"/>
          </a:xfrm>
          <a:prstGeom prst="rect">
            <a:avLst/>
          </a:prstGeom>
        </p:spPr>
        <p:txBody>
          <a:bodyPr wrap="square">
            <a:spAutoFit/>
          </a:bodyPr>
          <a:lstStyle/>
          <a:p>
            <a:r>
              <a:rPr lang="en-US" altLang="ja-JP" sz="1600" b="1" dirty="0">
                <a:solidFill>
                  <a:srgbClr val="FF0000"/>
                </a:solidFill>
                <a:latin typeface="等线 Light" panose="02010600030101010101" pitchFamily="2" charset="-122"/>
                <a:ea typeface="等线 Light" panose="02010600030101010101" pitchFamily="2" charset="-122"/>
              </a:rPr>
              <a:t>6 mm</a:t>
            </a:r>
          </a:p>
        </p:txBody>
      </p:sp>
      <p:cxnSp>
        <p:nvCxnSpPr>
          <p:cNvPr id="27" name="直接箭头连接符 26">
            <a:extLst>
              <a:ext uri="{FF2B5EF4-FFF2-40B4-BE49-F238E27FC236}">
                <a16:creationId xmlns:a16="http://schemas.microsoft.com/office/drawing/2014/main" id="{F9826498-DE72-4F11-B37C-B765C0C4428C}"/>
              </a:ext>
            </a:extLst>
          </p:cNvPr>
          <p:cNvCxnSpPr>
            <a:cxnSpLocks/>
          </p:cNvCxnSpPr>
          <p:nvPr/>
        </p:nvCxnSpPr>
        <p:spPr>
          <a:xfrm>
            <a:off x="8752977" y="6047874"/>
            <a:ext cx="914400" cy="0"/>
          </a:xfrm>
          <a:prstGeom prst="straightConnector1">
            <a:avLst/>
          </a:prstGeom>
          <a:ln w="127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正方形/長方形 18">
            <a:extLst>
              <a:ext uri="{FF2B5EF4-FFF2-40B4-BE49-F238E27FC236}">
                <a16:creationId xmlns:a16="http://schemas.microsoft.com/office/drawing/2014/main" id="{42F5EEAD-4044-4B4C-A86B-436F5F9E6F87}"/>
              </a:ext>
            </a:extLst>
          </p:cNvPr>
          <p:cNvSpPr/>
          <p:nvPr/>
        </p:nvSpPr>
        <p:spPr>
          <a:xfrm>
            <a:off x="8870752" y="5752017"/>
            <a:ext cx="3059100" cy="338554"/>
          </a:xfrm>
          <a:prstGeom prst="rect">
            <a:avLst/>
          </a:prstGeom>
        </p:spPr>
        <p:txBody>
          <a:bodyPr wrap="square">
            <a:spAutoFit/>
          </a:bodyPr>
          <a:lstStyle/>
          <a:p>
            <a:r>
              <a:rPr lang="en-US" altLang="ja-JP" sz="1600" b="1" dirty="0">
                <a:solidFill>
                  <a:srgbClr val="FF0000"/>
                </a:solidFill>
                <a:latin typeface="等线 Light" panose="02010600030101010101" pitchFamily="2" charset="-122"/>
                <a:ea typeface="等线 Light" panose="02010600030101010101" pitchFamily="2" charset="-122"/>
              </a:rPr>
              <a:t>3 mm</a:t>
            </a:r>
          </a:p>
        </p:txBody>
      </p:sp>
    </p:spTree>
    <p:extLst>
      <p:ext uri="{BB962C8B-B14F-4D97-AF65-F5344CB8AC3E}">
        <p14:creationId xmlns:p14="http://schemas.microsoft.com/office/powerpoint/2010/main" val="159342514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arn(inVertical)">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19-20</a:t>
            </a:r>
          </a:p>
        </p:txBody>
      </p:sp>
      <p:sp>
        <p:nvSpPr>
          <p:cNvPr id="12" name="Title 3">
            <a:extLst>
              <a:ext uri="{FF2B5EF4-FFF2-40B4-BE49-F238E27FC236}">
                <a16:creationId xmlns:a16="http://schemas.microsoft.com/office/drawing/2014/main" id="{3BC9DCB5-98ED-44D4-8A6B-64069D732623}"/>
              </a:ext>
            </a:extLst>
          </p:cNvPr>
          <p:cNvSpPr>
            <a:spLocks noGrp="1"/>
          </p:cNvSpPr>
          <p:nvPr>
            <p:ph type="title"/>
          </p:nvPr>
        </p:nvSpPr>
        <p:spPr>
          <a:xfrm>
            <a:off x="585651" y="185638"/>
            <a:ext cx="11561274" cy="593487"/>
          </a:xfrm>
        </p:spPr>
        <p:txBody>
          <a:bodyPr/>
          <a:lstStyle/>
          <a:p>
            <a:r>
              <a:rPr lang="en-US" altLang="zh-CN" sz="4000" dirty="0"/>
              <a:t>Updates in 2020</a:t>
            </a:r>
            <a:endParaRPr lang="en-US" sz="4000" dirty="0"/>
          </a:p>
        </p:txBody>
      </p:sp>
      <p:sp>
        <p:nvSpPr>
          <p:cNvPr id="5" name="TextBox 7">
            <a:extLst>
              <a:ext uri="{FF2B5EF4-FFF2-40B4-BE49-F238E27FC236}">
                <a16:creationId xmlns:a16="http://schemas.microsoft.com/office/drawing/2014/main" id="{EC78BF07-8DD8-46F0-99DA-7F7E267552C5}"/>
              </a:ext>
            </a:extLst>
          </p:cNvPr>
          <p:cNvSpPr txBox="1"/>
          <p:nvPr/>
        </p:nvSpPr>
        <p:spPr>
          <a:xfrm>
            <a:off x="585651" y="929097"/>
            <a:ext cx="10669891" cy="4434322"/>
          </a:xfrm>
          <a:prstGeom prst="rect">
            <a:avLst/>
          </a:prstGeom>
          <a:noFill/>
        </p:spPr>
        <p:txBody>
          <a:bodyPr wrap="square" lIns="91379" tIns="45690" rIns="91379" bIns="45690" rtlCol="0">
            <a:noAutofit/>
          </a:bodyPr>
          <a:lstStyle/>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Transverse reshape (spatial domain): Diffractive optics element (DOE)</a:t>
            </a:r>
          </a:p>
          <a:p>
            <a:pPr marL="914400" lvl="1" indent="-457200" defTabSz="932213">
              <a:lnSpc>
                <a:spcPct val="90000"/>
              </a:lnSpc>
              <a:spcAft>
                <a:spcPts val="600"/>
              </a:spcAft>
              <a:buFont typeface="等线 Light" panose="02010600030101010101" pitchFamily="2" charset="-122"/>
              <a:buChar char="–"/>
            </a:pP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wo pieces of DOE are purchased (delivery date is September )</a:t>
            </a:r>
          </a:p>
          <a:p>
            <a:pPr marL="914400" lvl="1" indent="-457200" defTabSz="932213">
              <a:lnSpc>
                <a:spcPct val="90000"/>
              </a:lnSpc>
              <a:spcAft>
                <a:spcPts val="600"/>
              </a:spcAft>
              <a:buFont typeface="等线 Light" panose="02010600030101010101" pitchFamily="2" charset="-122"/>
              <a:buChar char="–"/>
            </a:pPr>
            <a:r>
              <a:rPr kumimoji="1" lang="en-US" altLang="zh-CN"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On</a:t>
            </a:r>
            <a:r>
              <a:rPr lang="en-US" altLang="zh-CN"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e will be used for testing in 2020</a:t>
            </a:r>
            <a:endParaRPr kumimoji="1" lang="en-US" altLang="zh-CN"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2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p:txBody>
      </p:sp>
      <p:pic>
        <p:nvPicPr>
          <p:cNvPr id="11" name="図 5">
            <a:extLst>
              <a:ext uri="{FF2B5EF4-FFF2-40B4-BE49-F238E27FC236}">
                <a16:creationId xmlns:a16="http://schemas.microsoft.com/office/drawing/2014/main" id="{B4CC10C5-77E7-4E23-81FC-F75A2A335D9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782" y="2425351"/>
            <a:ext cx="3790290" cy="2192347"/>
          </a:xfrm>
          <a:prstGeom prst="rect">
            <a:avLst/>
          </a:prstGeom>
        </p:spPr>
      </p:pic>
      <p:pic>
        <p:nvPicPr>
          <p:cNvPr id="13" name="図 5">
            <a:extLst>
              <a:ext uri="{FF2B5EF4-FFF2-40B4-BE49-F238E27FC236}">
                <a16:creationId xmlns:a16="http://schemas.microsoft.com/office/drawing/2014/main" id="{3CF77928-2809-439B-91CE-CA4F2A8A1FA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5651" y="4470685"/>
            <a:ext cx="3806421" cy="2201677"/>
          </a:xfrm>
          <a:prstGeom prst="rect">
            <a:avLst/>
          </a:prstGeom>
        </p:spPr>
      </p:pic>
      <p:pic>
        <p:nvPicPr>
          <p:cNvPr id="4" name="图片 3">
            <a:extLst>
              <a:ext uri="{FF2B5EF4-FFF2-40B4-BE49-F238E27FC236}">
                <a16:creationId xmlns:a16="http://schemas.microsoft.com/office/drawing/2014/main" id="{8441A1D7-8C70-4E58-B91F-8CBC2EB934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56106" y="2425350"/>
            <a:ext cx="6752782" cy="4247011"/>
          </a:xfrm>
          <a:prstGeom prst="rect">
            <a:avLst/>
          </a:prstGeom>
        </p:spPr>
      </p:pic>
    </p:spTree>
    <p:extLst>
      <p:ext uri="{BB962C8B-B14F-4D97-AF65-F5344CB8AC3E}">
        <p14:creationId xmlns:p14="http://schemas.microsoft.com/office/powerpoint/2010/main" val="2701517302"/>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8D22B6-B11A-42BD-B78F-8CF8B3A3E2AF}"/>
              </a:ext>
            </a:extLst>
          </p:cNvPr>
          <p:cNvSpPr>
            <a:spLocks noGrp="1"/>
          </p:cNvSpPr>
          <p:nvPr>
            <p:ph type="title"/>
          </p:nvPr>
        </p:nvSpPr>
        <p:spPr>
          <a:xfrm>
            <a:off x="585651" y="251811"/>
            <a:ext cx="11561274" cy="593487"/>
          </a:xfrm>
        </p:spPr>
        <p:txBody>
          <a:bodyPr/>
          <a:lstStyle/>
          <a:p>
            <a:r>
              <a:rPr lang="en-US" altLang="zh-CN" sz="4000" dirty="0"/>
              <a:t>Wire Scanner Result @ 5 Sector</a:t>
            </a:r>
            <a:endParaRPr lang="en-US" sz="4000" dirty="0"/>
          </a:p>
        </p:txBody>
      </p:sp>
      <p:pic>
        <p:nvPicPr>
          <p:cNvPr id="8" name="图片 7">
            <a:extLst>
              <a:ext uri="{FF2B5EF4-FFF2-40B4-BE49-F238E27FC236}">
                <a16:creationId xmlns:a16="http://schemas.microsoft.com/office/drawing/2014/main" id="{560E6358-DB26-4DE0-8BB1-7DAE99B57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484" y="1106902"/>
            <a:ext cx="5295421" cy="4676536"/>
          </a:xfrm>
          <a:prstGeom prst="rect">
            <a:avLst/>
          </a:prstGeom>
        </p:spPr>
      </p:pic>
      <p:pic>
        <p:nvPicPr>
          <p:cNvPr id="10" name="图片 9">
            <a:extLst>
              <a:ext uri="{FF2B5EF4-FFF2-40B4-BE49-F238E27FC236}">
                <a16:creationId xmlns:a16="http://schemas.microsoft.com/office/drawing/2014/main" id="{32290B57-A02A-41B4-BF9A-636AF74DAC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97965" y="1106902"/>
            <a:ext cx="5389924" cy="4698423"/>
          </a:xfrm>
          <a:prstGeom prst="rect">
            <a:avLst/>
          </a:prstGeom>
        </p:spPr>
      </p:pic>
    </p:spTree>
    <p:extLst>
      <p:ext uri="{BB962C8B-B14F-4D97-AF65-F5344CB8AC3E}">
        <p14:creationId xmlns:p14="http://schemas.microsoft.com/office/powerpoint/2010/main" val="20148147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8D22B6-B11A-42BD-B78F-8CF8B3A3E2AF}"/>
              </a:ext>
            </a:extLst>
          </p:cNvPr>
          <p:cNvSpPr>
            <a:spLocks noGrp="1"/>
          </p:cNvSpPr>
          <p:nvPr>
            <p:ph type="title"/>
          </p:nvPr>
        </p:nvSpPr>
        <p:spPr>
          <a:xfrm>
            <a:off x="585651" y="251811"/>
            <a:ext cx="11561274" cy="593487"/>
          </a:xfrm>
        </p:spPr>
        <p:txBody>
          <a:bodyPr/>
          <a:lstStyle/>
          <a:p>
            <a:r>
              <a:rPr lang="en-US" sz="4000" dirty="0"/>
              <a:t>Streak Camera Test Data by 2 Lasers</a:t>
            </a:r>
          </a:p>
        </p:txBody>
      </p:sp>
      <p:pic>
        <p:nvPicPr>
          <p:cNvPr id="5" name="Picture 2" descr="../../opelog2/php/upload/uploadfile/2019-04/23/20190423_KBE_A1Streak_1st+2nd_range1.png">
            <a:extLst>
              <a:ext uri="{FF2B5EF4-FFF2-40B4-BE49-F238E27FC236}">
                <a16:creationId xmlns:a16="http://schemas.microsoft.com/office/drawing/2014/main" id="{F93A4E10-E0E4-4655-9E3D-3FE018E61238}"/>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141546" y="1179190"/>
            <a:ext cx="3694868" cy="35191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opelog2/php/upload/uploadfile/2019-04/23/20190423_KBE_A1Streak_2nd_range1.png">
            <a:extLst>
              <a:ext uri="{FF2B5EF4-FFF2-40B4-BE49-F238E27FC236}">
                <a16:creationId xmlns:a16="http://schemas.microsoft.com/office/drawing/2014/main" id="{8D83E338-271F-4AC7-B09A-69B1980AB8EA}"/>
              </a:ext>
            </a:extLst>
          </p:cNvPr>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119829" y="1179188"/>
            <a:ext cx="3694869" cy="35191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opelog2/php/upload/uploadfile/2019-04/23/20190423_KBE_A1Streak_1st_range1.png">
            <a:extLst>
              <a:ext uri="{FF2B5EF4-FFF2-40B4-BE49-F238E27FC236}">
                <a16:creationId xmlns:a16="http://schemas.microsoft.com/office/drawing/2014/main" id="{479F7B3F-F2C1-4A77-B6A2-906EC8E141CB}"/>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098113" y="1179188"/>
            <a:ext cx="3694868" cy="3519143"/>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a:extLst>
              <a:ext uri="{FF2B5EF4-FFF2-40B4-BE49-F238E27FC236}">
                <a16:creationId xmlns:a16="http://schemas.microsoft.com/office/drawing/2014/main" id="{9988BF2C-5EA2-4D9D-9948-C57F0B4B3ED6}"/>
              </a:ext>
            </a:extLst>
          </p:cNvPr>
          <p:cNvSpPr/>
          <p:nvPr/>
        </p:nvSpPr>
        <p:spPr>
          <a:xfrm>
            <a:off x="1290883" y="4802424"/>
            <a:ext cx="1532792" cy="369332"/>
          </a:xfrm>
          <a:prstGeom prst="rect">
            <a:avLst/>
          </a:prstGeom>
        </p:spPr>
        <p:txBody>
          <a:bodyPr wrap="none">
            <a:spAutoFit/>
          </a:bodyPr>
          <a:lstStyle/>
          <a:p>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2 lasers mode</a:t>
            </a:r>
            <a:endParaRPr lang="zh-CN" altLang="en-US" dirty="0"/>
          </a:p>
        </p:txBody>
      </p:sp>
      <p:sp>
        <p:nvSpPr>
          <p:cNvPr id="7" name="矩形 6">
            <a:extLst>
              <a:ext uri="{FF2B5EF4-FFF2-40B4-BE49-F238E27FC236}">
                <a16:creationId xmlns:a16="http://schemas.microsoft.com/office/drawing/2014/main" id="{C74427CD-B738-437B-B371-87D7E3E05265}"/>
              </a:ext>
            </a:extLst>
          </p:cNvPr>
          <p:cNvSpPr/>
          <p:nvPr/>
        </p:nvSpPr>
        <p:spPr>
          <a:xfrm>
            <a:off x="5610129" y="4802424"/>
            <a:ext cx="971741" cy="369332"/>
          </a:xfrm>
          <a:prstGeom prst="rect">
            <a:avLst/>
          </a:prstGeom>
        </p:spPr>
        <p:txBody>
          <a:bodyPr wrap="none">
            <a:spAutoFit/>
          </a:bodyPr>
          <a:lstStyle/>
          <a:p>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1st laser</a:t>
            </a:r>
            <a:endParaRPr lang="zh-CN" altLang="en-US" dirty="0"/>
          </a:p>
        </p:txBody>
      </p:sp>
      <p:sp>
        <p:nvSpPr>
          <p:cNvPr id="8" name="矩形 7">
            <a:extLst>
              <a:ext uri="{FF2B5EF4-FFF2-40B4-BE49-F238E27FC236}">
                <a16:creationId xmlns:a16="http://schemas.microsoft.com/office/drawing/2014/main" id="{E0D60040-5513-4246-90FD-7F3E2B653FFA}"/>
              </a:ext>
            </a:extLst>
          </p:cNvPr>
          <p:cNvSpPr/>
          <p:nvPr/>
        </p:nvSpPr>
        <p:spPr>
          <a:xfrm>
            <a:off x="9929376" y="4802424"/>
            <a:ext cx="1066318" cy="369332"/>
          </a:xfrm>
          <a:prstGeom prst="rect">
            <a:avLst/>
          </a:prstGeom>
        </p:spPr>
        <p:txBody>
          <a:bodyPr wrap="none">
            <a:spAutoFit/>
          </a:bodyPr>
          <a:lstStyle/>
          <a:p>
            <a:r>
              <a:rPr lang="en-US" altLang="zh-CN"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2nd laser</a:t>
            </a:r>
            <a:endParaRPr lang="zh-CN" altLang="en-US" dirty="0"/>
          </a:p>
        </p:txBody>
      </p:sp>
    </p:spTree>
    <p:extLst>
      <p:ext uri="{BB962C8B-B14F-4D97-AF65-F5344CB8AC3E}">
        <p14:creationId xmlns:p14="http://schemas.microsoft.com/office/powerpoint/2010/main" val="32495032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8D22B6-B11A-42BD-B78F-8CF8B3A3E2AF}"/>
              </a:ext>
            </a:extLst>
          </p:cNvPr>
          <p:cNvSpPr>
            <a:spLocks noGrp="1"/>
          </p:cNvSpPr>
          <p:nvPr>
            <p:ph type="title"/>
          </p:nvPr>
        </p:nvSpPr>
        <p:spPr>
          <a:xfrm>
            <a:off x="585651" y="251811"/>
            <a:ext cx="11561274" cy="593487"/>
          </a:xfrm>
        </p:spPr>
        <p:txBody>
          <a:bodyPr/>
          <a:lstStyle/>
          <a:p>
            <a:r>
              <a:rPr lang="en-US" altLang="zh-CN" sz="4000" dirty="0"/>
              <a:t>Statistics</a:t>
            </a:r>
            <a:endParaRPr lang="en-US" sz="4000" dirty="0"/>
          </a:p>
        </p:txBody>
      </p:sp>
      <p:pic>
        <p:nvPicPr>
          <p:cNvPr id="4" name="图片 3">
            <a:extLst>
              <a:ext uri="{FF2B5EF4-FFF2-40B4-BE49-F238E27FC236}">
                <a16:creationId xmlns:a16="http://schemas.microsoft.com/office/drawing/2014/main" id="{76BD89F5-B73A-4BD2-A355-18D88E9230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974960"/>
            <a:ext cx="12192000" cy="3247719"/>
          </a:xfrm>
          <a:prstGeom prst="rect">
            <a:avLst/>
          </a:prstGeom>
        </p:spPr>
      </p:pic>
      <p:pic>
        <p:nvPicPr>
          <p:cNvPr id="6" name="图片 5">
            <a:extLst>
              <a:ext uri="{FF2B5EF4-FFF2-40B4-BE49-F238E27FC236}">
                <a16:creationId xmlns:a16="http://schemas.microsoft.com/office/drawing/2014/main" id="{C9687820-4601-47F7-A8DA-0DDF7711AE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352341"/>
            <a:ext cx="12192000" cy="1752207"/>
          </a:xfrm>
          <a:prstGeom prst="rect">
            <a:avLst/>
          </a:prstGeom>
        </p:spPr>
      </p:pic>
      <p:sp>
        <p:nvSpPr>
          <p:cNvPr id="7" name="矩形 6">
            <a:extLst>
              <a:ext uri="{FF2B5EF4-FFF2-40B4-BE49-F238E27FC236}">
                <a16:creationId xmlns:a16="http://schemas.microsoft.com/office/drawing/2014/main" id="{60BC510C-459A-4BD5-B445-C50CFFFA31E7}"/>
              </a:ext>
            </a:extLst>
          </p:cNvPr>
          <p:cNvSpPr/>
          <p:nvPr/>
        </p:nvSpPr>
        <p:spPr>
          <a:xfrm>
            <a:off x="0" y="6165751"/>
            <a:ext cx="8456546" cy="830997"/>
          </a:xfrm>
          <a:prstGeom prst="rect">
            <a:avLst/>
          </a:prstGeom>
        </p:spPr>
        <p:txBody>
          <a:bodyPr wrap="none">
            <a:spAutoFit/>
          </a:bodyPr>
          <a:lstStyle/>
          <a:p>
            <a:pPr>
              <a:defRPr sz="1000"/>
            </a:pPr>
            <a:r>
              <a:rPr lang="en-US" altLang="ja-JP" sz="1600" dirty="0">
                <a:latin typeface="Calibri"/>
              </a:rPr>
              <a:t>MTBF</a:t>
            </a:r>
            <a:r>
              <a:rPr lang="en-US" altLang="ja-JP" sz="1600" dirty="0">
                <a:latin typeface="ＭＳ Ｐゴシック"/>
                <a:ea typeface="ＭＳ Ｐゴシック"/>
              </a:rPr>
              <a:t> </a:t>
            </a:r>
            <a:r>
              <a:rPr lang="en-US" altLang="ja-JP" sz="1600" dirty="0">
                <a:latin typeface="Calibri"/>
              </a:rPr>
              <a:t>(Mean Time Between Failure</a:t>
            </a:r>
            <a:r>
              <a:rPr lang="ja-JP" altLang="en-US" sz="1600" dirty="0">
                <a:latin typeface="ＭＳ Ｐゴシック"/>
                <a:ea typeface="ＭＳ Ｐゴシック"/>
              </a:rPr>
              <a:t>、平均故障間隔</a:t>
            </a:r>
            <a:r>
              <a:rPr lang="en-US" altLang="ja-JP" sz="1600" dirty="0">
                <a:latin typeface="Calibri"/>
              </a:rPr>
              <a:t>) MTTR (Mean Time To Repair</a:t>
            </a:r>
            <a:r>
              <a:rPr lang="ja-JP" altLang="en-US" sz="1600" dirty="0">
                <a:latin typeface="Calibri"/>
              </a:rPr>
              <a:t>、</a:t>
            </a:r>
            <a:r>
              <a:rPr lang="zh-CN" altLang="en-US" sz="1600" dirty="0">
                <a:latin typeface="Calibri"/>
              </a:rPr>
              <a:t>平均修理時間</a:t>
            </a:r>
            <a:r>
              <a:rPr lang="en-US" altLang="zh-CN" sz="1600" dirty="0">
                <a:latin typeface="Calibri"/>
              </a:rPr>
              <a:t>)</a:t>
            </a:r>
          </a:p>
          <a:p>
            <a:pPr>
              <a:defRPr sz="1000"/>
            </a:pPr>
            <a:r>
              <a:rPr lang="zh-CN" altLang="en-US" sz="1600" dirty="0">
                <a:latin typeface="Calibri"/>
              </a:rPr>
              <a:t>稼働率＝</a:t>
            </a:r>
            <a:r>
              <a:rPr lang="en-US" altLang="ja-JP" sz="1600" dirty="0">
                <a:latin typeface="Calibri"/>
              </a:rPr>
              <a:t>MTBF ÷ (MTBF+MTTR)</a:t>
            </a:r>
          </a:p>
          <a:p>
            <a:pPr>
              <a:defRPr sz="1000"/>
            </a:pPr>
            <a:endParaRPr lang="en-US" altLang="ja-JP" sz="1600" dirty="0">
              <a:latin typeface="Calibri"/>
            </a:endParaRPr>
          </a:p>
        </p:txBody>
      </p:sp>
    </p:spTree>
    <p:extLst>
      <p:ext uri="{BB962C8B-B14F-4D97-AF65-F5344CB8AC3E}">
        <p14:creationId xmlns:p14="http://schemas.microsoft.com/office/powerpoint/2010/main" val="3740210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DA8D22B6-B11A-42BD-B78F-8CF8B3A3E2AF}"/>
              </a:ext>
            </a:extLst>
          </p:cNvPr>
          <p:cNvSpPr>
            <a:spLocks noGrp="1"/>
          </p:cNvSpPr>
          <p:nvPr>
            <p:ph type="title"/>
          </p:nvPr>
        </p:nvSpPr>
        <p:spPr>
          <a:xfrm>
            <a:off x="585651" y="251811"/>
            <a:ext cx="11561274" cy="593487"/>
          </a:xfrm>
        </p:spPr>
        <p:txBody>
          <a:bodyPr/>
          <a:lstStyle/>
          <a:p>
            <a:r>
              <a:rPr lang="en-US" altLang="zh-CN" sz="4000" dirty="0"/>
              <a:t>Ir</a:t>
            </a:r>
            <a:r>
              <a:rPr lang="en-US" altLang="zh-CN" sz="2000" dirty="0"/>
              <a:t>2</a:t>
            </a:r>
            <a:r>
              <a:rPr lang="en-US" altLang="zh-CN" sz="4000" dirty="0"/>
              <a:t>Ce: Simple Test Result</a:t>
            </a:r>
            <a:endParaRPr lang="en-US" sz="4000" dirty="0"/>
          </a:p>
        </p:txBody>
      </p:sp>
      <p:pic>
        <p:nvPicPr>
          <p:cNvPr id="4" name="图片 3">
            <a:extLst>
              <a:ext uri="{FF2B5EF4-FFF2-40B4-BE49-F238E27FC236}">
                <a16:creationId xmlns:a16="http://schemas.microsoft.com/office/drawing/2014/main" id="{35AC429C-7287-4E52-9DB0-2ABACB68069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3337" y="969303"/>
            <a:ext cx="7490868" cy="5732285"/>
          </a:xfrm>
          <a:prstGeom prst="rect">
            <a:avLst/>
          </a:prstGeom>
        </p:spPr>
      </p:pic>
    </p:spTree>
    <p:extLst>
      <p:ext uri="{BB962C8B-B14F-4D97-AF65-F5344CB8AC3E}">
        <p14:creationId xmlns:p14="http://schemas.microsoft.com/office/powerpoint/2010/main" val="1487653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3"/>
          <p:cNvSpPr/>
          <p:nvPr/>
        </p:nvSpPr>
        <p:spPr bwMode="auto">
          <a:xfrm>
            <a:off x="4488266" y="4393129"/>
            <a:ext cx="4414608" cy="1253561"/>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93224" numCol="1" spcCol="0" rtlCol="0" fromWordArt="0" anchor="b" anchorCtr="0" forceAA="0" compatLnSpc="1">
            <a:prstTxWarp prst="textNoShape">
              <a:avLst/>
            </a:prstTxWarp>
            <a:noAutofit/>
          </a:bodyPr>
          <a:lstStyle/>
          <a:p>
            <a:pPr defTabSz="950671" fontAlgn="base">
              <a:spcBef>
                <a:spcPct val="0"/>
              </a:spcBef>
              <a:spcAft>
                <a:spcPct val="0"/>
              </a:spcAft>
            </a:pPr>
            <a:endParaRPr lang="en-IN" sz="29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endParaRPr>
          </a:p>
        </p:txBody>
      </p:sp>
      <p:sp>
        <p:nvSpPr>
          <p:cNvPr id="57" name="Rectangle 3"/>
          <p:cNvSpPr/>
          <p:nvPr/>
        </p:nvSpPr>
        <p:spPr bwMode="auto">
          <a:xfrm>
            <a:off x="205465" y="4468442"/>
            <a:ext cx="2234941" cy="973375"/>
          </a:xfrm>
          <a:prstGeom prst="rect">
            <a:avLst/>
          </a:prstGeom>
          <a:solidFill>
            <a:srgbClr val="DC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93224" numCol="1" spcCol="0" rtlCol="0" fromWordArt="0" anchor="b" anchorCtr="0" forceAA="0" compatLnSpc="1">
            <a:prstTxWarp prst="textNoShape">
              <a:avLst/>
            </a:prstTxWarp>
            <a:noAutofit/>
          </a:bodyPr>
          <a:lstStyle/>
          <a:p>
            <a:pPr defTabSz="950671" fontAlgn="base">
              <a:spcBef>
                <a:spcPct val="0"/>
              </a:spcBef>
              <a:spcAft>
                <a:spcPct val="0"/>
              </a:spcAft>
            </a:pPr>
            <a:endParaRPr lang="en-IN" sz="29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endParaRPr>
          </a:p>
        </p:txBody>
      </p:sp>
      <p:sp>
        <p:nvSpPr>
          <p:cNvPr id="3" name="矩形 14"/>
          <p:cNvSpPr/>
          <p:nvPr/>
        </p:nvSpPr>
        <p:spPr>
          <a:xfrm>
            <a:off x="369465" y="376395"/>
            <a:ext cx="7011856" cy="646331"/>
          </a:xfrm>
          <a:prstGeom prst="rect">
            <a:avLst/>
          </a:prstGeom>
        </p:spPr>
        <p:txBody>
          <a:bodyPr wrap="none">
            <a:spAutoFit/>
          </a:bodyPr>
          <a:lstStyle/>
          <a:p>
            <a:r>
              <a:rPr kumimoji="0" lang="en-US" altLang="ja-JP" sz="3600" b="1" dirty="0" err="1">
                <a:solidFill>
                  <a:srgbClr val="FFFFFF"/>
                </a:solidFill>
                <a:latin typeface="等线" panose="020F0502020204030204"/>
                <a:ea typeface="游ゴシック" panose="020B0400000000000000" pitchFamily="34" charset="-128"/>
              </a:rPr>
              <a:t>Yb:fiber</a:t>
            </a:r>
            <a:r>
              <a:rPr kumimoji="0" lang="en-US" altLang="ja-JP" sz="3600" b="1" dirty="0">
                <a:solidFill>
                  <a:srgbClr val="FFFFFF"/>
                </a:solidFill>
                <a:latin typeface="等线" panose="020F0502020204030204"/>
                <a:ea typeface="游ゴシック" panose="020B0400000000000000" pitchFamily="34" charset="-128"/>
              </a:rPr>
              <a:t>/Nd:YAG laser in Phase II</a:t>
            </a:r>
            <a:endParaRPr kumimoji="0" lang="zh-CN" altLang="en-US" sz="3600" b="1" dirty="0">
              <a:solidFill>
                <a:srgbClr val="FFFFFF"/>
              </a:solidFill>
              <a:latin typeface="等线" panose="020F0502020204030204"/>
              <a:ea typeface="等线" panose="02010600030101010101" pitchFamily="2" charset="-122"/>
            </a:endParaRPr>
          </a:p>
        </p:txBody>
      </p:sp>
      <p:grpSp>
        <p:nvGrpSpPr>
          <p:cNvPr id="4" name="Group 31"/>
          <p:cNvGrpSpPr/>
          <p:nvPr/>
        </p:nvGrpSpPr>
        <p:grpSpPr>
          <a:xfrm>
            <a:off x="369466" y="1799428"/>
            <a:ext cx="1825577" cy="510093"/>
            <a:chOff x="-6991771" y="628523"/>
            <a:chExt cx="6779776" cy="881575"/>
          </a:xfrm>
          <a:solidFill>
            <a:schemeClr val="tx2"/>
          </a:solidFill>
        </p:grpSpPr>
        <p:sp>
          <p:nvSpPr>
            <p:cNvPr id="5" name="Rectangle 14"/>
            <p:cNvSpPr/>
            <p:nvPr/>
          </p:nvSpPr>
          <p:spPr>
            <a:xfrm rot="16200000">
              <a:off x="-4042671" y="-2320577"/>
              <a:ext cx="881575"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6" name="TextBox 15"/>
            <p:cNvSpPr txBox="1"/>
            <p:nvPr/>
          </p:nvSpPr>
          <p:spPr>
            <a:xfrm>
              <a:off x="-6440941" y="763469"/>
              <a:ext cx="5749487" cy="611682"/>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Oscillator 1</a:t>
              </a:r>
            </a:p>
          </p:txBody>
        </p:sp>
      </p:grpSp>
      <p:grpSp>
        <p:nvGrpSpPr>
          <p:cNvPr id="7" name="Group 31"/>
          <p:cNvGrpSpPr/>
          <p:nvPr/>
        </p:nvGrpSpPr>
        <p:grpSpPr>
          <a:xfrm>
            <a:off x="369465" y="2733882"/>
            <a:ext cx="1825577" cy="510093"/>
            <a:chOff x="-6991771" y="628523"/>
            <a:chExt cx="6779776" cy="881575"/>
          </a:xfrm>
          <a:solidFill>
            <a:schemeClr val="tx2"/>
          </a:solidFill>
        </p:grpSpPr>
        <p:sp>
          <p:nvSpPr>
            <p:cNvPr id="8" name="Rectangle 14"/>
            <p:cNvSpPr/>
            <p:nvPr/>
          </p:nvSpPr>
          <p:spPr>
            <a:xfrm rot="16200000">
              <a:off x="-4042671" y="-2320577"/>
              <a:ext cx="881575"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9" name="TextBox 15"/>
            <p:cNvSpPr txBox="1"/>
            <p:nvPr/>
          </p:nvSpPr>
          <p:spPr>
            <a:xfrm>
              <a:off x="-6390133" y="795385"/>
              <a:ext cx="5576503" cy="611682"/>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Oscillator 2</a:t>
              </a:r>
            </a:p>
          </p:txBody>
        </p:sp>
      </p:grpSp>
      <p:grpSp>
        <p:nvGrpSpPr>
          <p:cNvPr id="10" name="Group 31"/>
          <p:cNvGrpSpPr/>
          <p:nvPr/>
        </p:nvGrpSpPr>
        <p:grpSpPr>
          <a:xfrm>
            <a:off x="379886" y="3668337"/>
            <a:ext cx="1825577" cy="510093"/>
            <a:chOff x="-6991771" y="628523"/>
            <a:chExt cx="6779776" cy="881575"/>
          </a:xfrm>
          <a:solidFill>
            <a:schemeClr val="tx2"/>
          </a:solidFill>
        </p:grpSpPr>
        <p:sp>
          <p:nvSpPr>
            <p:cNvPr id="11" name="Rectangle 14"/>
            <p:cNvSpPr/>
            <p:nvPr/>
          </p:nvSpPr>
          <p:spPr>
            <a:xfrm rot="16200000">
              <a:off x="-4042671" y="-2320577"/>
              <a:ext cx="881575"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12" name="TextBox 15"/>
            <p:cNvSpPr txBox="1"/>
            <p:nvPr/>
          </p:nvSpPr>
          <p:spPr>
            <a:xfrm>
              <a:off x="-6510875" y="789054"/>
              <a:ext cx="5740581" cy="611682"/>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Oscillator 3</a:t>
              </a:r>
            </a:p>
          </p:txBody>
        </p:sp>
      </p:grpSp>
      <p:cxnSp>
        <p:nvCxnSpPr>
          <p:cNvPr id="13" name="Straight Arrow Connector 6"/>
          <p:cNvCxnSpPr/>
          <p:nvPr/>
        </p:nvCxnSpPr>
        <p:spPr>
          <a:xfrm flipV="1">
            <a:off x="2544679" y="2992704"/>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6"/>
          <p:cNvCxnSpPr/>
          <p:nvPr/>
        </p:nvCxnSpPr>
        <p:spPr>
          <a:xfrm>
            <a:off x="2544679" y="2054473"/>
            <a:ext cx="0" cy="1940012"/>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6"/>
          <p:cNvCxnSpPr/>
          <p:nvPr/>
        </p:nvCxnSpPr>
        <p:spPr>
          <a:xfrm>
            <a:off x="2318085" y="2054473"/>
            <a:ext cx="244642" cy="184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6"/>
          <p:cNvCxnSpPr/>
          <p:nvPr/>
        </p:nvCxnSpPr>
        <p:spPr>
          <a:xfrm>
            <a:off x="2289617" y="2992704"/>
            <a:ext cx="244642" cy="184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6"/>
          <p:cNvCxnSpPr/>
          <p:nvPr/>
        </p:nvCxnSpPr>
        <p:spPr>
          <a:xfrm>
            <a:off x="2312069" y="3992642"/>
            <a:ext cx="244642" cy="184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5" name="Group 31"/>
          <p:cNvGrpSpPr/>
          <p:nvPr/>
        </p:nvGrpSpPr>
        <p:grpSpPr>
          <a:xfrm>
            <a:off x="2891983" y="2586792"/>
            <a:ext cx="1399169" cy="913858"/>
            <a:chOff x="-6991771" y="833736"/>
            <a:chExt cx="6779776" cy="676362"/>
          </a:xfrm>
          <a:solidFill>
            <a:schemeClr val="tx2"/>
          </a:solidFill>
        </p:grpSpPr>
        <p:sp>
          <p:nvSpPr>
            <p:cNvPr id="26" name="Rectangle 14"/>
            <p:cNvSpPr/>
            <p:nvPr/>
          </p:nvSpPr>
          <p:spPr>
            <a:xfrm rot="16200000">
              <a:off x="-3940064" y="-2217971"/>
              <a:ext cx="676362"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27" name="TextBox 15"/>
            <p:cNvSpPr txBox="1"/>
            <p:nvPr/>
          </p:nvSpPr>
          <p:spPr>
            <a:xfrm>
              <a:off x="-6629870" y="958936"/>
              <a:ext cx="6055964" cy="466961"/>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err="1">
                  <a:solidFill>
                    <a:schemeClr val="bg2"/>
                  </a:solidFill>
                  <a:latin typeface="等线" panose="02010600030101010101" pitchFamily="2" charset="-122"/>
                  <a:ea typeface="等线" panose="02010600030101010101" pitchFamily="2" charset="-122"/>
                  <a:cs typeface="Segoe UI" pitchFamily="34" charset="0"/>
                </a:rPr>
                <a:t>Yb:fiber</a:t>
              </a:r>
              <a:r>
                <a:rPr lang="en-US" sz="2000" b="1" dirty="0">
                  <a:solidFill>
                    <a:schemeClr val="bg2"/>
                  </a:solidFill>
                  <a:latin typeface="等线" panose="02010600030101010101" pitchFamily="2" charset="-122"/>
                  <a:ea typeface="等线" panose="02010600030101010101" pitchFamily="2" charset="-122"/>
                  <a:cs typeface="Segoe UI" pitchFamily="34" charset="0"/>
                </a:rPr>
                <a:t> Amplifier</a:t>
              </a:r>
            </a:p>
          </p:txBody>
        </p:sp>
      </p:grpSp>
      <p:cxnSp>
        <p:nvCxnSpPr>
          <p:cNvPr id="29" name="Straight Arrow Connector 6"/>
          <p:cNvCxnSpPr/>
          <p:nvPr/>
        </p:nvCxnSpPr>
        <p:spPr>
          <a:xfrm flipV="1">
            <a:off x="4295269" y="3025672"/>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6"/>
          <p:cNvCxnSpPr/>
          <p:nvPr/>
        </p:nvCxnSpPr>
        <p:spPr>
          <a:xfrm>
            <a:off x="4628143" y="2253564"/>
            <a:ext cx="2005" cy="1544215"/>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6"/>
          <p:cNvCxnSpPr/>
          <p:nvPr/>
        </p:nvCxnSpPr>
        <p:spPr>
          <a:xfrm flipV="1">
            <a:off x="4616111" y="2265596"/>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6"/>
          <p:cNvCxnSpPr/>
          <p:nvPr/>
        </p:nvCxnSpPr>
        <p:spPr>
          <a:xfrm flipV="1">
            <a:off x="4622127" y="3785025"/>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1"/>
          <p:cNvGrpSpPr/>
          <p:nvPr/>
        </p:nvGrpSpPr>
        <p:grpSpPr>
          <a:xfrm>
            <a:off x="4963021" y="1906937"/>
            <a:ext cx="1564107" cy="717317"/>
            <a:chOff x="-6991770" y="628521"/>
            <a:chExt cx="6779776" cy="1239713"/>
          </a:xfrm>
          <a:solidFill>
            <a:schemeClr val="tx2"/>
          </a:solidFill>
        </p:grpSpPr>
        <p:sp>
          <p:nvSpPr>
            <p:cNvPr id="35" name="Rectangle 14"/>
            <p:cNvSpPr/>
            <p:nvPr/>
          </p:nvSpPr>
          <p:spPr>
            <a:xfrm rot="16200000">
              <a:off x="-4221739" y="-2141510"/>
              <a:ext cx="1239713"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36" name="TextBox 15"/>
            <p:cNvSpPr txBox="1"/>
            <p:nvPr/>
          </p:nvSpPr>
          <p:spPr>
            <a:xfrm>
              <a:off x="-6741703" y="751045"/>
              <a:ext cx="6276187" cy="1090410"/>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Nd:YAG 1st line</a:t>
              </a:r>
            </a:p>
          </p:txBody>
        </p:sp>
      </p:grpSp>
      <p:grpSp>
        <p:nvGrpSpPr>
          <p:cNvPr id="37" name="Group 31"/>
          <p:cNvGrpSpPr/>
          <p:nvPr/>
        </p:nvGrpSpPr>
        <p:grpSpPr>
          <a:xfrm>
            <a:off x="4971043" y="3439120"/>
            <a:ext cx="1564107" cy="717317"/>
            <a:chOff x="-6991770" y="628521"/>
            <a:chExt cx="6779776" cy="1239713"/>
          </a:xfrm>
          <a:solidFill>
            <a:schemeClr val="tx2"/>
          </a:solidFill>
        </p:grpSpPr>
        <p:sp>
          <p:nvSpPr>
            <p:cNvPr id="38" name="Rectangle 14"/>
            <p:cNvSpPr/>
            <p:nvPr/>
          </p:nvSpPr>
          <p:spPr>
            <a:xfrm rot="16200000">
              <a:off x="-4221739" y="-2141510"/>
              <a:ext cx="1239713"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39" name="TextBox 15"/>
            <p:cNvSpPr txBox="1"/>
            <p:nvPr/>
          </p:nvSpPr>
          <p:spPr>
            <a:xfrm>
              <a:off x="-6415498" y="751045"/>
              <a:ext cx="5582070" cy="1090410"/>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Nd:YAG 2nd line</a:t>
              </a:r>
            </a:p>
          </p:txBody>
        </p:sp>
      </p:grpSp>
      <p:cxnSp>
        <p:nvCxnSpPr>
          <p:cNvPr id="40" name="Straight Arrow Connector 6"/>
          <p:cNvCxnSpPr/>
          <p:nvPr/>
        </p:nvCxnSpPr>
        <p:spPr>
          <a:xfrm flipV="1">
            <a:off x="6527128" y="3797778"/>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31"/>
          <p:cNvGrpSpPr/>
          <p:nvPr/>
        </p:nvGrpSpPr>
        <p:grpSpPr>
          <a:xfrm>
            <a:off x="6874651" y="3542731"/>
            <a:ext cx="1529403" cy="510093"/>
            <a:chOff x="-6997956" y="628523"/>
            <a:chExt cx="6785961" cy="881575"/>
          </a:xfrm>
          <a:solidFill>
            <a:schemeClr val="tx2"/>
          </a:solidFill>
        </p:grpSpPr>
        <p:sp>
          <p:nvSpPr>
            <p:cNvPr id="42" name="Rectangle 14"/>
            <p:cNvSpPr/>
            <p:nvPr/>
          </p:nvSpPr>
          <p:spPr>
            <a:xfrm rot="16200000">
              <a:off x="-4042671" y="-2320577"/>
              <a:ext cx="881575"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43" name="TextBox 15"/>
            <p:cNvSpPr txBox="1"/>
            <p:nvPr/>
          </p:nvSpPr>
          <p:spPr>
            <a:xfrm>
              <a:off x="-6997956" y="787404"/>
              <a:ext cx="6670284" cy="611682"/>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Delay line</a:t>
              </a:r>
            </a:p>
          </p:txBody>
        </p:sp>
      </p:grpSp>
      <p:cxnSp>
        <p:nvCxnSpPr>
          <p:cNvPr id="44" name="Straight Arrow Connector 6"/>
          <p:cNvCxnSpPr/>
          <p:nvPr/>
        </p:nvCxnSpPr>
        <p:spPr>
          <a:xfrm flipV="1">
            <a:off x="6527127" y="2291473"/>
            <a:ext cx="2107531" cy="557"/>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6"/>
          <p:cNvCxnSpPr/>
          <p:nvPr/>
        </p:nvCxnSpPr>
        <p:spPr>
          <a:xfrm>
            <a:off x="8390016" y="3803225"/>
            <a:ext cx="244642" cy="1843"/>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6"/>
          <p:cNvCxnSpPr/>
          <p:nvPr/>
        </p:nvCxnSpPr>
        <p:spPr>
          <a:xfrm>
            <a:off x="8631259" y="2271611"/>
            <a:ext cx="2005" cy="1544215"/>
          </a:xfrm>
          <a:prstGeom prst="straightConnector1">
            <a:avLst/>
          </a:pr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6"/>
          <p:cNvCxnSpPr/>
          <p:nvPr/>
        </p:nvCxnSpPr>
        <p:spPr>
          <a:xfrm flipV="1">
            <a:off x="8643290" y="3025670"/>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15"/>
          <p:cNvSpPr txBox="1"/>
          <p:nvPr/>
        </p:nvSpPr>
        <p:spPr>
          <a:xfrm>
            <a:off x="8990200" y="2755954"/>
            <a:ext cx="1646672" cy="630928"/>
          </a:xfrm>
          <a:prstGeom prst="rect">
            <a:avLst/>
          </a:prstGeom>
          <a:solidFill>
            <a:schemeClr val="tx2"/>
          </a:solid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Transporting line</a:t>
            </a:r>
          </a:p>
        </p:txBody>
      </p:sp>
      <p:cxnSp>
        <p:nvCxnSpPr>
          <p:cNvPr id="52" name="Straight Arrow Connector 6"/>
          <p:cNvCxnSpPr/>
          <p:nvPr/>
        </p:nvCxnSpPr>
        <p:spPr>
          <a:xfrm flipV="1">
            <a:off x="10548900" y="3043718"/>
            <a:ext cx="336884" cy="49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3" name="Group 31"/>
          <p:cNvGrpSpPr/>
          <p:nvPr/>
        </p:nvGrpSpPr>
        <p:grpSpPr>
          <a:xfrm>
            <a:off x="10885769" y="2788671"/>
            <a:ext cx="1211593" cy="510093"/>
            <a:chOff x="-6991771" y="628523"/>
            <a:chExt cx="6779776" cy="881575"/>
          </a:xfrm>
          <a:solidFill>
            <a:schemeClr val="tx2"/>
          </a:solidFill>
        </p:grpSpPr>
        <p:sp>
          <p:nvSpPr>
            <p:cNvPr id="54" name="Rectangle 14"/>
            <p:cNvSpPr/>
            <p:nvPr/>
          </p:nvSpPr>
          <p:spPr>
            <a:xfrm rot="16200000">
              <a:off x="-4042671" y="-2320577"/>
              <a:ext cx="881575" cy="677977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2"/>
                </a:solidFill>
              </a:endParaRPr>
            </a:p>
          </p:txBody>
        </p:sp>
        <p:sp>
          <p:nvSpPr>
            <p:cNvPr id="55" name="TextBox 15"/>
            <p:cNvSpPr txBox="1"/>
            <p:nvPr/>
          </p:nvSpPr>
          <p:spPr>
            <a:xfrm>
              <a:off x="-6991771" y="775057"/>
              <a:ext cx="6691375" cy="611682"/>
            </a:xfrm>
            <a:prstGeom prst="rect">
              <a:avLst/>
            </a:prstGeom>
            <a:grpFill/>
          </p:spPr>
          <p:txBody>
            <a:bodyPr wrap="square" lIns="76188" tIns="38093" rIns="76188" bIns="38093" rtlCol="0">
              <a:spAutoFit/>
            </a:bodyPr>
            <a:lstStyle/>
            <a:p>
              <a:pPr algn="ctr" defTabSz="912321" eaLnBrk="0" hangingPunct="0">
                <a:lnSpc>
                  <a:spcPct val="90000"/>
                </a:lnSpc>
                <a:spcBef>
                  <a:spcPct val="30000"/>
                </a:spcBef>
                <a:buClr>
                  <a:srgbClr val="1F497D"/>
                </a:buClr>
                <a:buSzPct val="95000"/>
                <a:defRPr/>
              </a:pPr>
              <a:r>
                <a:rPr lang="en-US" sz="2000" b="1" dirty="0">
                  <a:solidFill>
                    <a:schemeClr val="bg2"/>
                  </a:solidFill>
                  <a:latin typeface="等线" panose="02010600030101010101" pitchFamily="2" charset="-122"/>
                  <a:ea typeface="等线" panose="02010600030101010101" pitchFamily="2" charset="-122"/>
                  <a:cs typeface="Segoe UI" pitchFamily="34" charset="0"/>
                </a:rPr>
                <a:t>RF gun</a:t>
              </a:r>
            </a:p>
          </p:txBody>
        </p:sp>
      </p:grpSp>
      <p:sp>
        <p:nvSpPr>
          <p:cNvPr id="60" name="正方形/長方形 59"/>
          <p:cNvSpPr/>
          <p:nvPr/>
        </p:nvSpPr>
        <p:spPr>
          <a:xfrm>
            <a:off x="4628143" y="4506996"/>
            <a:ext cx="5015723" cy="984885"/>
          </a:xfrm>
          <a:prstGeom prst="rect">
            <a:avLst/>
          </a:prstGeom>
        </p:spPr>
        <p:txBody>
          <a:bodyPr wrap="square">
            <a:spAutoFit/>
          </a:bodyPr>
          <a:lstStyle/>
          <a:p>
            <a:pPr marL="342900" indent="-342900" defTabSz="950671" fontAlgn="base">
              <a:spcBef>
                <a:spcPts val="1224"/>
              </a:spcBef>
              <a:spcAft>
                <a:spcPct val="0"/>
              </a:spcAft>
              <a:buFont typeface="Arial" panose="020B0604020202020204" pitchFamily="34" charset="0"/>
              <a:buChar char="•"/>
            </a:pPr>
            <a:r>
              <a:rPr lang="en-IN" altLang="ja-JP" sz="24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High charge</a:t>
            </a:r>
          </a:p>
          <a:p>
            <a:pPr marL="342900" indent="-342900" defTabSz="950671" fontAlgn="base">
              <a:spcBef>
                <a:spcPts val="1224"/>
              </a:spcBef>
              <a:spcAft>
                <a:spcPct val="0"/>
              </a:spcAft>
              <a:buFont typeface="Arial" panose="020B0604020202020204" pitchFamily="34" charset="0"/>
              <a:buChar char="•"/>
            </a:pPr>
            <a:r>
              <a:rPr lang="en-IN" altLang="ja-JP" sz="24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Stable long time operation</a:t>
            </a:r>
            <a:endParaRPr lang="en-IN" altLang="ja-JP" sz="2400" b="1" baseline="30000" dirty="0">
              <a:ln>
                <a:solidFill>
                  <a:schemeClr val="bg1">
                    <a:alpha val="0"/>
                  </a:schemeClr>
                </a:solidFill>
              </a:ln>
              <a:latin typeface="等线" panose="02010600030101010101" pitchFamily="2" charset="-122"/>
              <a:ea typeface="等线" panose="02010600030101010101" pitchFamily="2" charset="-122"/>
              <a:cs typeface="Segoe UI" pitchFamily="34" charset="0"/>
            </a:endParaRPr>
          </a:p>
        </p:txBody>
      </p:sp>
      <p:sp>
        <p:nvSpPr>
          <p:cNvPr id="61" name="正方形/長方形 60"/>
          <p:cNvSpPr/>
          <p:nvPr/>
        </p:nvSpPr>
        <p:spPr>
          <a:xfrm>
            <a:off x="2145120" y="1700149"/>
            <a:ext cx="2227411" cy="400110"/>
          </a:xfrm>
          <a:prstGeom prst="rect">
            <a:avLst/>
          </a:prstGeom>
        </p:spPr>
        <p:txBody>
          <a:bodyPr wrap="square">
            <a:spAutoFit/>
          </a:bodyPr>
          <a:lstStyle/>
          <a:p>
            <a:pPr defTabSz="950671" fontAlgn="base">
              <a:spcBef>
                <a:spcPts val="1224"/>
              </a:spcBef>
              <a:spcAft>
                <a:spcPct val="0"/>
              </a:spcAft>
            </a:pPr>
            <a:r>
              <a:rPr lang="en-IN" altLang="ja-JP" sz="20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0.1 </a:t>
            </a:r>
            <a:r>
              <a:rPr lang="en-IN" altLang="ja-JP" sz="2000" b="1" dirty="0" err="1">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nJ</a:t>
            </a:r>
            <a:endParaRPr lang="en-IN" altLang="ja-JP" sz="2000" b="1" baseline="30000"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endParaRPr>
          </a:p>
        </p:txBody>
      </p:sp>
      <p:sp>
        <p:nvSpPr>
          <p:cNvPr id="62" name="正方形/長方形 61"/>
          <p:cNvSpPr/>
          <p:nvPr/>
        </p:nvSpPr>
        <p:spPr>
          <a:xfrm>
            <a:off x="6586704" y="1793744"/>
            <a:ext cx="3634699" cy="400110"/>
          </a:xfrm>
          <a:prstGeom prst="rect">
            <a:avLst/>
          </a:prstGeom>
        </p:spPr>
        <p:txBody>
          <a:bodyPr wrap="square">
            <a:spAutoFit/>
          </a:bodyPr>
          <a:lstStyle/>
          <a:p>
            <a:pPr defTabSz="950671" fontAlgn="base">
              <a:spcBef>
                <a:spcPts val="1224"/>
              </a:spcBef>
              <a:spcAft>
                <a:spcPct val="0"/>
              </a:spcAft>
            </a:pPr>
            <a:r>
              <a:rPr lang="en-IN" altLang="ja-JP" sz="20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10 mJ (Amp factor: ~ 10</a:t>
            </a:r>
            <a:r>
              <a:rPr lang="en-IN" altLang="ja-JP" sz="2000" b="1" baseline="30000"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8</a:t>
            </a:r>
            <a:r>
              <a:rPr lang="en-IN" altLang="ja-JP" sz="20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 )</a:t>
            </a:r>
            <a:endParaRPr lang="en-IN" altLang="ja-JP" sz="2000" b="1" baseline="30000"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endParaRPr>
          </a:p>
        </p:txBody>
      </p:sp>
      <p:sp>
        <p:nvSpPr>
          <p:cNvPr id="49" name="Rectangle 118"/>
          <p:cNvSpPr/>
          <p:nvPr/>
        </p:nvSpPr>
        <p:spPr>
          <a:xfrm>
            <a:off x="11359530" y="6442502"/>
            <a:ext cx="787395" cy="415498"/>
          </a:xfrm>
          <a:prstGeom prst="rect">
            <a:avLst/>
          </a:prstGeom>
        </p:spPr>
        <p:txBody>
          <a:bodyPr wrap="none" tIns="91440">
            <a:spAutoFit/>
          </a:bodyPr>
          <a:lstStyle/>
          <a:p>
            <a:pPr marL="0" marR="0" lvl="0" indent="0" algn="ctr" defTabSz="930457" eaLnBrk="1" fontAlgn="auto" latinLnBrk="0" hangingPunct="1">
              <a:lnSpc>
                <a:spcPct val="100000"/>
              </a:lnSpc>
              <a:spcBef>
                <a:spcPct val="20000"/>
              </a:spcBef>
              <a:spcAft>
                <a:spcPts val="0"/>
              </a:spcAft>
              <a:buClrTx/>
              <a:buSzPct val="90000"/>
              <a:buFontTx/>
              <a:buNone/>
              <a:tabLst/>
              <a:defRPr/>
            </a:pPr>
            <a:r>
              <a:rPr kumimoji="0" lang="en-US" kern="0" dirty="0">
                <a:solidFill>
                  <a:srgbClr val="FFFFFF"/>
                </a:solidFill>
                <a:latin typeface="等线" panose="02010600030101010101" pitchFamily="2" charset="-122"/>
                <a:ea typeface="等线" panose="02010600030101010101" pitchFamily="2" charset="-122"/>
              </a:rPr>
              <a:t>12-26</a:t>
            </a:r>
            <a:endParaRPr kumimoji="0" lang="en-US"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endParaRPr>
          </a:p>
        </p:txBody>
      </p:sp>
      <p:sp>
        <p:nvSpPr>
          <p:cNvPr id="50" name="正方形/長方形 49"/>
          <p:cNvSpPr/>
          <p:nvPr/>
        </p:nvSpPr>
        <p:spPr>
          <a:xfrm>
            <a:off x="220068" y="4522304"/>
            <a:ext cx="2388332" cy="830997"/>
          </a:xfrm>
          <a:prstGeom prst="rect">
            <a:avLst/>
          </a:prstGeom>
        </p:spPr>
        <p:txBody>
          <a:bodyPr wrap="square">
            <a:spAutoFit/>
          </a:bodyPr>
          <a:lstStyle/>
          <a:p>
            <a:pPr defTabSz="950671" fontAlgn="base">
              <a:spcBef>
                <a:spcPts val="1224"/>
              </a:spcBef>
              <a:spcAft>
                <a:spcPct val="0"/>
              </a:spcAft>
            </a:pPr>
            <a:r>
              <a:rPr lang="en-IN" altLang="ja-JP" sz="2400" b="1"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rPr>
              <a:t>Stable long time operation</a:t>
            </a:r>
            <a:endParaRPr lang="en-IN" altLang="ja-JP" sz="2400" b="1" baseline="30000" dirty="0">
              <a:ln>
                <a:solidFill>
                  <a:schemeClr val="bg1">
                    <a:alpha val="0"/>
                  </a:schemeClr>
                </a:solidFill>
              </a:ln>
              <a:solidFill>
                <a:schemeClr val="tx1"/>
              </a:solidFill>
              <a:latin typeface="等线" panose="02010600030101010101" pitchFamily="2" charset="-122"/>
              <a:ea typeface="等线" panose="02010600030101010101" pitchFamily="2" charset="-122"/>
              <a:cs typeface="Segoe UI" pitchFamily="34" charset="0"/>
            </a:endParaRPr>
          </a:p>
        </p:txBody>
      </p:sp>
      <p:pic>
        <p:nvPicPr>
          <p:cNvPr id="63" name="図 6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018" y="4404770"/>
            <a:ext cx="2918873" cy="1897061"/>
          </a:xfrm>
          <a:prstGeom prst="rect">
            <a:avLst/>
          </a:prstGeom>
        </p:spPr>
      </p:pic>
      <p:pic>
        <p:nvPicPr>
          <p:cNvPr id="64" name="図 63"/>
          <p:cNvPicPr>
            <a:picLocks noChangeAspect="1"/>
          </p:cNvPicPr>
          <p:nvPr/>
        </p:nvPicPr>
        <p:blipFill>
          <a:blip r:embed="rId4" cstate="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3712959" y="4236659"/>
            <a:ext cx="3416142" cy="2562106"/>
          </a:xfrm>
          <a:prstGeom prst="rect">
            <a:avLst/>
          </a:prstGeom>
        </p:spPr>
      </p:pic>
      <p:pic>
        <p:nvPicPr>
          <p:cNvPr id="65" name="図 64"/>
          <p:cNvPicPr>
            <a:picLocks noChangeAspect="1"/>
          </p:cNvPicPr>
          <p:nvPr/>
        </p:nvPicPr>
        <p:blipFill>
          <a:blip r:embed="rId6" cstate="print">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7588616" y="1231894"/>
            <a:ext cx="4102810" cy="5470414"/>
          </a:xfrm>
          <a:prstGeom prst="rect">
            <a:avLst/>
          </a:prstGeom>
        </p:spPr>
      </p:pic>
    </p:spTree>
    <p:extLst>
      <p:ext uri="{BB962C8B-B14F-4D97-AF65-F5344CB8AC3E}">
        <p14:creationId xmlns:p14="http://schemas.microsoft.com/office/powerpoint/2010/main" val="23804710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fade">
                                      <p:cBhvr>
                                        <p:cTn id="7" dur="500"/>
                                        <p:tgtEl>
                                          <p:spTgt spid="6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4"/>
                                        </p:tgtEl>
                                        <p:attrNameLst>
                                          <p:attrName>style.visibility</p:attrName>
                                        </p:attrNameLst>
                                      </p:cBhvr>
                                      <p:to>
                                        <p:strVal val="visible"/>
                                      </p:to>
                                    </p:set>
                                    <p:animEffect transition="in" filter="fade">
                                      <p:cBhvr>
                                        <p:cTn id="12" dur="500"/>
                                        <p:tgtEl>
                                          <p:spTgt spid="64"/>
                                        </p:tgtEl>
                                      </p:cBhvr>
                                    </p:animEffect>
                                  </p:childTnLst>
                                </p:cTn>
                              </p:par>
                              <p:par>
                                <p:cTn id="13" presetID="10"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fade">
                                      <p:cBhvr>
                                        <p:cTn id="15"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9" name="矩形 8">
            <a:extLst>
              <a:ext uri="{FF2B5EF4-FFF2-40B4-BE49-F238E27FC236}">
                <a16:creationId xmlns:a16="http://schemas.microsoft.com/office/drawing/2014/main" id="{7D1D68BE-03C9-4580-A50D-1BDC7492BA43}"/>
              </a:ext>
            </a:extLst>
          </p:cNvPr>
          <p:cNvSpPr/>
          <p:nvPr/>
        </p:nvSpPr>
        <p:spPr>
          <a:xfrm>
            <a:off x="0" y="0"/>
            <a:ext cx="12192000" cy="6439404"/>
          </a:xfrm>
          <a:prstGeom prst="rect">
            <a:avLst/>
          </a:prstGeom>
          <a:solidFill>
            <a:schemeClr val="tx1">
              <a:alpha val="15000"/>
            </a:schemeClr>
          </a:solidFill>
          <a:ln>
            <a:noFill/>
          </a:ln>
          <a:effectLst>
            <a:outerShdw blurRad="165100" sx="103000" sy="103000" algn="c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dirty="0">
              <a:ln>
                <a:noFill/>
              </a:ln>
              <a:solidFill>
                <a:prstClr val="white"/>
              </a:solidFill>
              <a:effectLst/>
              <a:uLnTx/>
              <a:uFillTx/>
              <a:latin typeface="Calibri" panose="020F0502020204030204"/>
              <a:ea typeface="宋体" panose="02010600030101010101" pitchFamily="2" charset="-122"/>
              <a:cs typeface="+mn-cs"/>
            </a:endParaRPr>
          </a:p>
        </p:txBody>
      </p:sp>
      <p:sp>
        <p:nvSpPr>
          <p:cNvPr id="13" name="任意多边形: 形状 12">
            <a:extLst>
              <a:ext uri="{FF2B5EF4-FFF2-40B4-BE49-F238E27FC236}">
                <a16:creationId xmlns:a16="http://schemas.microsoft.com/office/drawing/2014/main" id="{5963ED91-A4A5-4241-83A3-8D783A4934CE}"/>
              </a:ext>
            </a:extLst>
          </p:cNvPr>
          <p:cNvSpPr/>
          <p:nvPr/>
        </p:nvSpPr>
        <p:spPr>
          <a:xfrm>
            <a:off x="0" y="684941"/>
            <a:ext cx="12192000" cy="5840991"/>
          </a:xfrm>
          <a:custGeom>
            <a:avLst/>
            <a:gdLst>
              <a:gd name="connsiteX0" fmla="*/ 11286328 w 12192000"/>
              <a:gd name="connsiteY0" fmla="*/ 0 h 4110874"/>
              <a:gd name="connsiteX1" fmla="*/ 12192000 w 12192000"/>
              <a:gd name="connsiteY1" fmla="*/ 0 h 4110874"/>
              <a:gd name="connsiteX2" fmla="*/ 12192000 w 12192000"/>
              <a:gd name="connsiteY2" fmla="*/ 4110874 h 4110874"/>
              <a:gd name="connsiteX3" fmla="*/ 10111648 w 12192000"/>
              <a:gd name="connsiteY3" fmla="*/ 4110874 h 4110874"/>
              <a:gd name="connsiteX4" fmla="*/ 0 w 12192000"/>
              <a:gd name="connsiteY4" fmla="*/ 0 h 4110874"/>
              <a:gd name="connsiteX5" fmla="*/ 8788987 w 12192000"/>
              <a:gd name="connsiteY5" fmla="*/ 0 h 4110874"/>
              <a:gd name="connsiteX6" fmla="*/ 7614307 w 12192000"/>
              <a:gd name="connsiteY6" fmla="*/ 4110874 h 4110874"/>
              <a:gd name="connsiteX7" fmla="*/ 0 w 12192000"/>
              <a:gd name="connsiteY7" fmla="*/ 4110874 h 411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110874">
                <a:moveTo>
                  <a:pt x="11286328" y="0"/>
                </a:moveTo>
                <a:lnTo>
                  <a:pt x="12192000" y="0"/>
                </a:lnTo>
                <a:lnTo>
                  <a:pt x="12192000" y="4110874"/>
                </a:lnTo>
                <a:lnTo>
                  <a:pt x="10111648" y="4110874"/>
                </a:lnTo>
                <a:close/>
                <a:moveTo>
                  <a:pt x="0" y="0"/>
                </a:moveTo>
                <a:lnTo>
                  <a:pt x="8788987" y="0"/>
                </a:lnTo>
                <a:lnTo>
                  <a:pt x="7614307" y="4110874"/>
                </a:lnTo>
                <a:lnTo>
                  <a:pt x="0" y="4110874"/>
                </a:lnTo>
                <a:close/>
              </a:path>
            </a:pathLst>
          </a:custGeom>
          <a:solidFill>
            <a:schemeClr val="tx1">
              <a:alpha val="60000"/>
            </a:schemeClr>
          </a:solidFill>
          <a:ln>
            <a:noFill/>
          </a:ln>
          <a:effectLst>
            <a:outerShdw blurRad="165100" dist="38100" dir="15600000" sx="102000" sy="102000" algn="tl" rotWithShape="0">
              <a:prstClr val="black">
                <a:alpha val="4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cs typeface="+mn-cs"/>
            </a:endParaRPr>
          </a:p>
        </p:txBody>
      </p:sp>
      <p:sp>
        <p:nvSpPr>
          <p:cNvPr id="16" name="文本框 15">
            <a:extLst>
              <a:ext uri="{FF2B5EF4-FFF2-40B4-BE49-F238E27FC236}">
                <a16:creationId xmlns:a16="http://schemas.microsoft.com/office/drawing/2014/main" id="{8B03C36B-91C4-4E90-99C9-CAD7EA4A4906}"/>
              </a:ext>
            </a:extLst>
          </p:cNvPr>
          <p:cNvSpPr txBox="1"/>
          <p:nvPr/>
        </p:nvSpPr>
        <p:spPr>
          <a:xfrm>
            <a:off x="670559" y="1829808"/>
            <a:ext cx="7762240" cy="480131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Requirement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dirty="0">
                <a:solidFill>
                  <a:prstClr val="white"/>
                </a:solidFill>
                <a:latin typeface="等线" panose="020F0502020204030204"/>
                <a:ea typeface="等线" panose="02010600030101010101" pitchFamily="2" charset="-122"/>
              </a:rPr>
              <a:t>4</a:t>
            </a: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 nC electron charge gener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dirty="0">
                <a:solidFill>
                  <a:prstClr val="white"/>
                </a:solidFill>
                <a:latin typeface="等线" panose="020F0502020204030204"/>
                <a:ea typeface="等线" panose="02010600030101010101" pitchFamily="2" charset="-122"/>
              </a:rPr>
              <a:t>10 </a:t>
            </a:r>
            <a:r>
              <a:rPr kumimoji="0" lang="el-GR" altLang="zh-CN" sz="2400" b="1" dirty="0">
                <a:solidFill>
                  <a:prstClr val="white"/>
                </a:solidFill>
                <a:latin typeface="等线" panose="020F0502020204030204"/>
                <a:ea typeface="等线" panose="02010600030101010101" pitchFamily="2" charset="-122"/>
              </a:rPr>
              <a:t>μ</a:t>
            </a:r>
            <a:r>
              <a:rPr kumimoji="0" lang="en-US" altLang="zh-CN" sz="2400" b="1" dirty="0">
                <a:solidFill>
                  <a:prstClr val="white"/>
                </a:solidFill>
                <a:latin typeface="等线" panose="020F0502020204030204"/>
                <a:ea typeface="等线" panose="02010600030101010101" pitchFamily="2" charset="-122"/>
              </a:rPr>
              <a:t>m emittance preservatio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Long term oper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2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Operating at 4 n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Less space charge effect</a:t>
            </a:r>
          </a:p>
          <a:p>
            <a:pPr marL="742950" lvl="1" indent="-285750">
              <a:buFont typeface="Arial" panose="020B0604020202020204" pitchFamily="34" charset="0"/>
              <a:buChar char="•"/>
              <a:defRPr/>
            </a:pPr>
            <a:r>
              <a:rPr kumimoji="0" lang="en-US" altLang="zh-CN" sz="2000" b="1" dirty="0">
                <a:solidFill>
                  <a:prstClr val="white"/>
                </a:solidFill>
                <a:latin typeface="等线" panose="020F0502020204030204"/>
                <a:ea typeface="等线" panose="02010600030101010101" pitchFamily="2" charset="-122"/>
              </a:rPr>
              <a:t>Longer pulse: 20-30 ps</a:t>
            </a:r>
            <a:endParaRPr kumimoji="0" lang="en-US" altLang="zh-CN" sz="20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Necessary strong focusing field</a:t>
            </a:r>
          </a:p>
          <a:p>
            <a:pPr marL="742950" lvl="1" indent="-285750">
              <a:buFont typeface="Arial" panose="020B0604020202020204" pitchFamily="34" charset="0"/>
              <a:buChar char="•"/>
              <a:defRPr/>
            </a:pPr>
            <a:r>
              <a:rPr kumimoji="0" lang="en-US" altLang="zh-CN" sz="2000" b="1" dirty="0">
                <a:solidFill>
                  <a:prstClr val="white"/>
                </a:solidFill>
                <a:latin typeface="等线" panose="020F0502020204030204"/>
                <a:ea typeface="等线" panose="02010600030101010101" pitchFamily="2" charset="-122"/>
              </a:rPr>
              <a:t>Preserves the emittance</a:t>
            </a:r>
          </a:p>
          <a:p>
            <a:pPr marL="285750" lvl="0" indent="-285750">
              <a:buFont typeface="Arial" panose="020B0604020202020204" pitchFamily="34" charset="0"/>
              <a:buChar char="•"/>
              <a:defRPr/>
            </a:pPr>
            <a:r>
              <a:rPr kumimoji="0" lang="en-US" altLang="zh-CN" sz="2400" b="1" dirty="0">
                <a:solidFill>
                  <a:prstClr val="white"/>
                </a:solidFill>
                <a:latin typeface="等线" panose="020F0502020204030204"/>
                <a:ea typeface="等线" panose="02010600030101010101" pitchFamily="2" charset="-122"/>
              </a:rPr>
              <a:t>Stable long time operation</a:t>
            </a:r>
          </a:p>
          <a:p>
            <a:pPr marL="742950" lvl="1" indent="-285750">
              <a:buFont typeface="Arial" panose="020B0604020202020204" pitchFamily="34" charset="0"/>
              <a:buChar char="•"/>
              <a:defRPr/>
            </a:pPr>
            <a:r>
              <a:rPr kumimoji="0" lang="en-US" altLang="zh-CN" sz="2000" b="1" dirty="0">
                <a:solidFill>
                  <a:prstClr val="white"/>
                </a:solidFill>
                <a:latin typeface="等线" panose="020F0502020204030204"/>
                <a:ea typeface="等线" panose="02010600030101010101" pitchFamily="2" charset="-122"/>
              </a:rPr>
              <a:t>Lower electric field: &lt; 100 MV/m</a:t>
            </a:r>
          </a:p>
          <a:p>
            <a:pPr marL="742950" lvl="1" indent="-285750">
              <a:buFont typeface="Arial" panose="020B0604020202020204" pitchFamily="34" charset="0"/>
              <a:buChar char="•"/>
              <a:defRPr/>
            </a:pPr>
            <a:endParaRPr kumimoji="0" lang="en-US" altLang="zh-CN" sz="12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endParaRPr>
          </a:p>
          <a:p>
            <a:pPr>
              <a:defRPr/>
            </a:pPr>
            <a:r>
              <a:rPr kumimoji="0" lang="en-US" altLang="zh-CN" sz="2400" b="1" i="0" u="none" strike="noStrike" kern="1200" cap="none" spc="0" normalizeH="0" baseline="0" noProof="0" dirty="0">
                <a:ln>
                  <a:noFill/>
                </a:ln>
                <a:solidFill>
                  <a:prstClr val="white"/>
                </a:solidFill>
                <a:effectLst/>
                <a:uLnTx/>
                <a:uFillTx/>
                <a:latin typeface="等线" panose="020F0502020204030204"/>
                <a:ea typeface="等线" panose="02010600030101010101" pitchFamily="2" charset="-122"/>
              </a:rPr>
              <a:t>Side coupler or Disk and washer is preferred </a:t>
            </a:r>
          </a:p>
        </p:txBody>
      </p:sp>
      <p:sp>
        <p:nvSpPr>
          <p:cNvPr id="17" name="任意多边形: 形状 16">
            <a:extLst>
              <a:ext uri="{FF2B5EF4-FFF2-40B4-BE49-F238E27FC236}">
                <a16:creationId xmlns:a16="http://schemas.microsoft.com/office/drawing/2014/main" id="{75C70CC5-4098-47E5-8340-D8CAD82811A6}"/>
              </a:ext>
            </a:extLst>
          </p:cNvPr>
          <p:cNvSpPr/>
          <p:nvPr/>
        </p:nvSpPr>
        <p:spPr>
          <a:xfrm>
            <a:off x="670559" y="780737"/>
            <a:ext cx="1036321" cy="898294"/>
          </a:xfrm>
          <a:custGeom>
            <a:avLst/>
            <a:gdLst>
              <a:gd name="connsiteX0" fmla="*/ 0 w 2277269"/>
              <a:gd name="connsiteY0" fmla="*/ 0 h 1781274"/>
              <a:gd name="connsiteX1" fmla="*/ 2277269 w 2277269"/>
              <a:gd name="connsiteY1" fmla="*/ 0 h 1781274"/>
              <a:gd name="connsiteX2" fmla="*/ 2277269 w 2277269"/>
              <a:gd name="connsiteY2" fmla="*/ 381901 h 1781274"/>
              <a:gd name="connsiteX3" fmla="*/ 2172726 w 2277269"/>
              <a:gd name="connsiteY3" fmla="*/ 381901 h 1781274"/>
              <a:gd name="connsiteX4" fmla="*/ 2172726 w 2277269"/>
              <a:gd name="connsiteY4" fmla="*/ 104543 h 1781274"/>
              <a:gd name="connsiteX5" fmla="*/ 104543 w 2277269"/>
              <a:gd name="connsiteY5" fmla="*/ 104543 h 1781274"/>
              <a:gd name="connsiteX6" fmla="*/ 104543 w 2277269"/>
              <a:gd name="connsiteY6" fmla="*/ 1676731 h 1781274"/>
              <a:gd name="connsiteX7" fmla="*/ 2172726 w 2277269"/>
              <a:gd name="connsiteY7" fmla="*/ 1676731 h 1781274"/>
              <a:gd name="connsiteX8" fmla="*/ 2172726 w 2277269"/>
              <a:gd name="connsiteY8" fmla="*/ 1390484 h 1781274"/>
              <a:gd name="connsiteX9" fmla="*/ 2277269 w 2277269"/>
              <a:gd name="connsiteY9" fmla="*/ 1390484 h 1781274"/>
              <a:gd name="connsiteX10" fmla="*/ 2277269 w 2277269"/>
              <a:gd name="connsiteY10" fmla="*/ 1781274 h 1781274"/>
              <a:gd name="connsiteX11" fmla="*/ 0 w 2277269"/>
              <a:gd name="connsiteY11" fmla="*/ 1781274 h 178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77269" h="1781274">
                <a:moveTo>
                  <a:pt x="0" y="0"/>
                </a:moveTo>
                <a:lnTo>
                  <a:pt x="2277269" y="0"/>
                </a:lnTo>
                <a:lnTo>
                  <a:pt x="2277269" y="381901"/>
                </a:lnTo>
                <a:lnTo>
                  <a:pt x="2172726" y="381901"/>
                </a:lnTo>
                <a:lnTo>
                  <a:pt x="2172726" y="104543"/>
                </a:lnTo>
                <a:lnTo>
                  <a:pt x="104543" y="104543"/>
                </a:lnTo>
                <a:lnTo>
                  <a:pt x="104543" y="1676731"/>
                </a:lnTo>
                <a:lnTo>
                  <a:pt x="2172726" y="1676731"/>
                </a:lnTo>
                <a:lnTo>
                  <a:pt x="2172726" y="1390484"/>
                </a:lnTo>
                <a:lnTo>
                  <a:pt x="2277269" y="1390484"/>
                </a:lnTo>
                <a:lnTo>
                  <a:pt x="2277269" y="1781274"/>
                </a:lnTo>
                <a:lnTo>
                  <a:pt x="0" y="1781274"/>
                </a:lnTo>
                <a:close/>
              </a:path>
            </a:pathLst>
          </a:cu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
        <p:nvSpPr>
          <p:cNvPr id="7" name="文本框 14">
            <a:extLst>
              <a:ext uri="{FF2B5EF4-FFF2-40B4-BE49-F238E27FC236}">
                <a16:creationId xmlns:a16="http://schemas.microsoft.com/office/drawing/2014/main" id="{7EA02519-4718-4D97-83A5-517DEFA6F389}"/>
              </a:ext>
            </a:extLst>
          </p:cNvPr>
          <p:cNvSpPr txBox="1"/>
          <p:nvPr/>
        </p:nvSpPr>
        <p:spPr>
          <a:xfrm>
            <a:off x="905382" y="845163"/>
            <a:ext cx="747291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等线" panose="02010600030101010101" pitchFamily="2" charset="-122"/>
                <a:cs typeface="+mn-cs"/>
              </a:rPr>
              <a:t>SuperKEKB RF Gun</a:t>
            </a:r>
            <a:endParaRPr kumimoji="0" lang="zh-CN" altLang="en-US" sz="4400" b="0" i="0" u="none" strike="noStrike" kern="1200" cap="none" spc="600" normalizeH="0" baseline="0" noProof="0" dirty="0">
              <a:ln>
                <a:noFill/>
              </a:ln>
              <a:solidFill>
                <a:prstClr val="white"/>
              </a:solidFill>
              <a:effectLst>
                <a:outerShdw blurRad="38100" dist="38100" dir="2700000" algn="tl">
                  <a:srgbClr val="000000">
                    <a:alpha val="43137"/>
                  </a:srgbClr>
                </a:outerShdw>
              </a:effectLst>
              <a:uLnTx/>
              <a:uFillTx/>
              <a:latin typeface="Arial Black" panose="020B0A04020102020204" pitchFamily="34" charset="0"/>
              <a:ea typeface="等线" panose="02010600030101010101" pitchFamily="2" charset="-122"/>
              <a:cs typeface="+mn-cs"/>
            </a:endParaRPr>
          </a:p>
        </p:txBody>
      </p:sp>
    </p:spTree>
    <p:extLst>
      <p:ext uri="{BB962C8B-B14F-4D97-AF65-F5344CB8AC3E}">
        <p14:creationId xmlns:p14="http://schemas.microsoft.com/office/powerpoint/2010/main" val="379427215"/>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6"/>
          <p:cNvSpPr/>
          <p:nvPr/>
        </p:nvSpPr>
        <p:spPr bwMode="auto">
          <a:xfrm>
            <a:off x="628065" y="5120891"/>
            <a:ext cx="4961281" cy="1152741"/>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pPr defTabSz="950671" fontAlgn="base">
              <a:spcBef>
                <a:spcPts val="1224"/>
              </a:spcBef>
              <a:spcAft>
                <a:spcPct val="0"/>
              </a:spcAft>
            </a:pPr>
            <a:endParaRPr lang="en-IN" dirty="0">
              <a:ln>
                <a:solidFill>
                  <a:srgbClr val="000000">
                    <a:alpha val="0"/>
                  </a:srgbClr>
                </a:solidFill>
              </a:ln>
              <a:solidFill>
                <a:srgbClr val="FFFFFF"/>
              </a:solidFill>
              <a:ea typeface="Segoe UI" pitchFamily="34" charset="0"/>
              <a:cs typeface="Segoe UI" pitchFamily="34" charset="0"/>
            </a:endParaRPr>
          </a:p>
        </p:txBody>
      </p:sp>
      <p:sp>
        <p:nvSpPr>
          <p:cNvPr id="11" name="Rectangle 26"/>
          <p:cNvSpPr/>
          <p:nvPr/>
        </p:nvSpPr>
        <p:spPr bwMode="auto">
          <a:xfrm>
            <a:off x="1336395" y="964844"/>
            <a:ext cx="10352284" cy="782277"/>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pPr defTabSz="950671" fontAlgn="base">
              <a:spcBef>
                <a:spcPts val="1224"/>
              </a:spcBef>
              <a:spcAft>
                <a:spcPct val="0"/>
              </a:spcAft>
            </a:pPr>
            <a:endParaRPr lang="en-IN" dirty="0">
              <a:ln>
                <a:solidFill>
                  <a:srgbClr val="000000">
                    <a:alpha val="0"/>
                  </a:srgbClr>
                </a:solidFill>
              </a:ln>
              <a:solidFill>
                <a:srgbClr val="FFFFFF"/>
              </a:solidFill>
              <a:ea typeface="Segoe UI" pitchFamily="34" charset="0"/>
              <a:cs typeface="Segoe UI" pitchFamily="34" charset="0"/>
            </a:endParaRPr>
          </a:p>
        </p:txBody>
      </p:sp>
      <p:pic>
        <p:nvPicPr>
          <p:cNvPr id="5" name="図 4" descr="C:\Users\cband-x003\Desktop\CSSArchiver-20181115-163646.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62767" y="2180187"/>
            <a:ext cx="5890543" cy="2940704"/>
          </a:xfrm>
          <a:prstGeom prst="rect">
            <a:avLst/>
          </a:prstGeom>
          <a:noFill/>
          <a:ln>
            <a:noFill/>
          </a:ln>
        </p:spPr>
      </p:pic>
      <p:sp>
        <p:nvSpPr>
          <p:cNvPr id="14" name="正方形/長方形 13"/>
          <p:cNvSpPr/>
          <p:nvPr/>
        </p:nvSpPr>
        <p:spPr>
          <a:xfrm>
            <a:off x="719730" y="5180618"/>
            <a:ext cx="4827226" cy="1261884"/>
          </a:xfrm>
          <a:prstGeom prst="rect">
            <a:avLst/>
          </a:prstGeom>
        </p:spPr>
        <p:txBody>
          <a:bodyPr wrap="square">
            <a:spAutoFit/>
          </a:bodyPr>
          <a:lstStyle/>
          <a:p>
            <a:pPr marL="342900" lvl="0" indent="-342900" defTabSz="932213">
              <a:lnSpc>
                <a:spcPct val="90000"/>
              </a:lnSpc>
              <a:spcAft>
                <a:spcPts val="600"/>
              </a:spcAft>
              <a:buFont typeface="Arial" panose="020B0604020202020204" pitchFamily="34" charset="0"/>
              <a:buChar char="•"/>
            </a:pPr>
            <a:r>
              <a:rPr lang="en-US" altLang="ja-JP" sz="2000" b="1"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Temperature stability for laser environment</a:t>
            </a:r>
          </a:p>
          <a:p>
            <a:pPr marL="342900" lvl="0" indent="-342900" defTabSz="932213">
              <a:lnSpc>
                <a:spcPct val="90000"/>
              </a:lnSpc>
              <a:spcAft>
                <a:spcPts val="600"/>
              </a:spcAft>
              <a:buFont typeface="Arial" panose="020B0604020202020204" pitchFamily="34" charset="0"/>
              <a:buChar char="•"/>
            </a:pPr>
            <a:r>
              <a:rPr lang="en-US" altLang="ja-JP" sz="2000" b="1"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Flexible silicon tube for cooling</a:t>
            </a:r>
            <a:endPar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endParaRPr>
          </a:p>
          <a:p>
            <a:pPr marL="342900" lvl="0" indent="-342900" defTabSz="932213">
              <a:lnSpc>
                <a:spcPct val="90000"/>
              </a:lnSpc>
              <a:spcAft>
                <a:spcPts val="600"/>
              </a:spcAft>
              <a:buFont typeface="Arial" panose="020B0604020202020204" pitchFamily="34" charset="0"/>
              <a:buChar char="•"/>
            </a:pPr>
            <a:endPar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endParaRPr>
          </a:p>
        </p:txBody>
      </p:sp>
      <p:sp>
        <p:nvSpPr>
          <p:cNvPr id="7" name="Rectangle 118"/>
          <p:cNvSpPr/>
          <p:nvPr/>
        </p:nvSpPr>
        <p:spPr>
          <a:xfrm>
            <a:off x="11359530" y="6442502"/>
            <a:ext cx="787395" cy="415498"/>
          </a:xfrm>
          <a:prstGeom prst="rect">
            <a:avLst/>
          </a:prstGeom>
        </p:spPr>
        <p:txBody>
          <a:bodyPr wrap="none" tIns="91440">
            <a:spAutoFit/>
          </a:bodyPr>
          <a:lstStyle/>
          <a:p>
            <a:pPr marL="0" marR="0" lvl="0" indent="0" algn="ctr" defTabSz="930457" eaLnBrk="1" fontAlgn="auto" latinLnBrk="0" hangingPunct="1">
              <a:lnSpc>
                <a:spcPct val="100000"/>
              </a:lnSpc>
              <a:spcBef>
                <a:spcPct val="20000"/>
              </a:spcBef>
              <a:spcAft>
                <a:spcPts val="0"/>
              </a:spcAft>
              <a:buClrTx/>
              <a:buSzPct val="90000"/>
              <a:buFontTx/>
              <a:buNone/>
              <a:tabLst/>
              <a:defRPr/>
            </a:pPr>
            <a:r>
              <a:rPr kumimoji="0" lang="en-US" kern="0" dirty="0">
                <a:solidFill>
                  <a:srgbClr val="FFFFFF"/>
                </a:solidFill>
                <a:latin typeface="等线" panose="02010600030101010101" pitchFamily="2" charset="-122"/>
                <a:ea typeface="等线" panose="02010600030101010101" pitchFamily="2" charset="-122"/>
              </a:rPr>
              <a:t>19-26</a:t>
            </a:r>
            <a:endParaRPr kumimoji="0" lang="en-US"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endParaRPr>
          </a:p>
        </p:txBody>
      </p:sp>
      <p:sp>
        <p:nvSpPr>
          <p:cNvPr id="8" name="矩形 14"/>
          <p:cNvSpPr/>
          <p:nvPr/>
        </p:nvSpPr>
        <p:spPr>
          <a:xfrm>
            <a:off x="280391" y="226492"/>
            <a:ext cx="8409674" cy="646331"/>
          </a:xfrm>
          <a:prstGeom prst="rect">
            <a:avLst/>
          </a:prstGeom>
        </p:spPr>
        <p:txBody>
          <a:bodyPr wrap="none">
            <a:spAutoFit/>
          </a:bodyPr>
          <a:lstStyle/>
          <a:p>
            <a:r>
              <a:rPr kumimoji="0" lang="en-US" altLang="ja-JP" sz="3600" b="1" dirty="0">
                <a:solidFill>
                  <a:srgbClr val="FFFFFF"/>
                </a:solidFill>
                <a:latin typeface="等线" panose="020F0502020204030204"/>
                <a:ea typeface="游ゴシック" panose="020B0400000000000000" pitchFamily="34" charset="-128"/>
              </a:rPr>
              <a:t>Improvement of e</a:t>
            </a:r>
            <a:r>
              <a:rPr kumimoji="0" lang="en-US" altLang="ja-JP" sz="3600" b="1" baseline="30000" dirty="0">
                <a:solidFill>
                  <a:srgbClr val="FFFFFF"/>
                </a:solidFill>
                <a:latin typeface="等线" panose="020F0502020204030204"/>
                <a:ea typeface="游ゴシック" panose="020B0400000000000000" pitchFamily="34" charset="-128"/>
              </a:rPr>
              <a:t>-</a:t>
            </a:r>
            <a:r>
              <a:rPr kumimoji="0" lang="en-US" altLang="ja-JP" sz="3600" b="1" dirty="0">
                <a:solidFill>
                  <a:srgbClr val="FFFFFF"/>
                </a:solidFill>
                <a:latin typeface="等线" panose="020F0502020204030204"/>
                <a:ea typeface="游ゴシック" panose="020B0400000000000000" pitchFamily="34" charset="-128"/>
              </a:rPr>
              <a:t> Stability in Phase III</a:t>
            </a:r>
            <a:endParaRPr kumimoji="0" lang="zh-CN" altLang="en-US" sz="3600" b="1" dirty="0">
              <a:solidFill>
                <a:srgbClr val="FFFFFF"/>
              </a:solidFill>
              <a:latin typeface="等线" panose="020F0502020204030204"/>
              <a:ea typeface="等线" panose="02010600030101010101" pitchFamily="2" charset="-122"/>
            </a:endParaRPr>
          </a:p>
        </p:txBody>
      </p:sp>
      <p:sp>
        <p:nvSpPr>
          <p:cNvPr id="9" name="Rectangle 26"/>
          <p:cNvSpPr/>
          <p:nvPr/>
        </p:nvSpPr>
        <p:spPr bwMode="auto">
          <a:xfrm>
            <a:off x="343671" y="964845"/>
            <a:ext cx="907613" cy="782276"/>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pPr defTabSz="950671" fontAlgn="base">
              <a:spcBef>
                <a:spcPts val="1224"/>
              </a:spcBef>
              <a:spcAft>
                <a:spcPct val="0"/>
              </a:spcAft>
            </a:pPr>
            <a:endParaRPr lang="en-IN" dirty="0">
              <a:ln>
                <a:solidFill>
                  <a:srgbClr val="000000">
                    <a:alpha val="0"/>
                  </a:srgbClr>
                </a:solidFill>
              </a:ln>
              <a:solidFill>
                <a:srgbClr val="FFFFFF"/>
              </a:solidFill>
              <a:ea typeface="Segoe UI" pitchFamily="34" charset="0"/>
              <a:cs typeface="Segoe UI" pitchFamily="34" charset="0"/>
            </a:endParaRPr>
          </a:p>
        </p:txBody>
      </p:sp>
      <p:pic>
        <p:nvPicPr>
          <p:cNvPr id="10" name="Picture 5" descr="W:\Open Engagements\Productivity\MS-Unified Communications\#1601 BizProd MOD Team Core Content Work\New Iconography\Words\Fix_06051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577" y="1035448"/>
            <a:ext cx="639799" cy="641068"/>
          </a:xfrm>
          <a:prstGeom prst="rect">
            <a:avLst/>
          </a:prstGeom>
          <a:noFill/>
          <a:extLst>
            <a:ext uri="{909E8E84-426E-40DD-AFC4-6F175D3DCCD1}">
              <a14:hiddenFill xmlns:a14="http://schemas.microsoft.com/office/drawing/2010/main">
                <a:solidFill>
                  <a:srgbClr val="FFFFFF"/>
                </a:solidFill>
              </a14:hiddenFill>
            </a:ext>
          </a:extLst>
        </p:spPr>
      </p:pic>
      <p:sp>
        <p:nvSpPr>
          <p:cNvPr id="12" name="正方形/長方形 11"/>
          <p:cNvSpPr/>
          <p:nvPr/>
        </p:nvSpPr>
        <p:spPr>
          <a:xfrm>
            <a:off x="1336395" y="1138661"/>
            <a:ext cx="11071471" cy="461665"/>
          </a:xfrm>
          <a:prstGeom prst="rect">
            <a:avLst/>
          </a:prstGeom>
        </p:spPr>
        <p:txBody>
          <a:bodyPr wrap="square">
            <a:spAutoFit/>
          </a:bodyPr>
          <a:lstStyle/>
          <a:p>
            <a:pPr lvl="0">
              <a:defRPr/>
            </a:pPr>
            <a:r>
              <a:rPr kumimoji="0" lang="en-US" altLang="zh-CN" sz="2400" b="1" kern="0" dirty="0">
                <a:solidFill>
                  <a:prstClr val="white"/>
                </a:solidFill>
                <a:latin typeface="等线" panose="020F0502020204030204"/>
                <a:ea typeface="等线" panose="02010600030101010101" pitchFamily="2" charset="-122"/>
              </a:rPr>
              <a:t>Stable e</a:t>
            </a:r>
            <a:r>
              <a:rPr kumimoji="0" lang="en-US" altLang="zh-CN" sz="2400" b="1" kern="0" baseline="30000" dirty="0">
                <a:solidFill>
                  <a:prstClr val="white"/>
                </a:solidFill>
                <a:latin typeface="等线" panose="020F0502020204030204"/>
                <a:ea typeface="等线" panose="02010600030101010101" pitchFamily="2" charset="-122"/>
              </a:rPr>
              <a:t>-</a:t>
            </a:r>
            <a:r>
              <a:rPr kumimoji="0" lang="en-US" altLang="zh-CN" sz="2400" b="1" kern="0" dirty="0">
                <a:solidFill>
                  <a:prstClr val="white"/>
                </a:solidFill>
                <a:latin typeface="等线" panose="020F0502020204030204"/>
                <a:ea typeface="等线" panose="02010600030101010101" pitchFamily="2" charset="-122"/>
              </a:rPr>
              <a:t> </a:t>
            </a:r>
            <a:r>
              <a:rPr kumimoji="0" lang="en-US" altLang="zh-CN" sz="2400" b="1" kern="0" dirty="0">
                <a:solidFill>
                  <a:prstClr val="white"/>
                </a:solidFill>
                <a:latin typeface="等线" panose="020F0502020204030204"/>
                <a:ea typeface="等线" panose="02010600030101010101" pitchFamily="2" charset="-122"/>
                <a:sym typeface="Wingdings" panose="05000000000000000000" pitchFamily="2" charset="2"/>
              </a:rPr>
              <a:t> Improved the laser stability by water cooling for optics table</a:t>
            </a:r>
            <a:endParaRPr kumimoji="0" lang="zh-CN" altLang="en-US" sz="2400" b="1" kern="0" dirty="0">
              <a:solidFill>
                <a:prstClr val="white"/>
              </a:solidFill>
              <a:latin typeface="等线" panose="020F0502020204030204"/>
              <a:ea typeface="等线" panose="02010600030101010101" pitchFamily="2" charset="-122"/>
            </a:endParaRPr>
          </a:p>
        </p:txBody>
      </p:sp>
      <p:pic>
        <p:nvPicPr>
          <p:cNvPr id="6" name="図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8065" y="2180187"/>
            <a:ext cx="4961281" cy="2945233"/>
          </a:xfrm>
          <a:prstGeom prst="rect">
            <a:avLst/>
          </a:prstGeom>
        </p:spPr>
      </p:pic>
      <p:sp>
        <p:nvSpPr>
          <p:cNvPr id="16" name="Rectangle 26"/>
          <p:cNvSpPr/>
          <p:nvPr/>
        </p:nvSpPr>
        <p:spPr bwMode="auto">
          <a:xfrm>
            <a:off x="5862767" y="5120890"/>
            <a:ext cx="5890543" cy="1152741"/>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pPr defTabSz="950671" fontAlgn="base">
              <a:spcBef>
                <a:spcPts val="1224"/>
              </a:spcBef>
              <a:spcAft>
                <a:spcPct val="0"/>
              </a:spcAft>
            </a:pPr>
            <a:endParaRPr lang="en-IN" dirty="0">
              <a:ln>
                <a:solidFill>
                  <a:srgbClr val="000000">
                    <a:alpha val="0"/>
                  </a:srgbClr>
                </a:solidFill>
              </a:ln>
              <a:solidFill>
                <a:srgbClr val="FFFFFF"/>
              </a:solidFill>
              <a:ea typeface="Segoe UI" pitchFamily="34" charset="0"/>
              <a:cs typeface="Segoe UI" pitchFamily="34" charset="0"/>
            </a:endParaRPr>
          </a:p>
        </p:txBody>
      </p:sp>
      <p:sp>
        <p:nvSpPr>
          <p:cNvPr id="17" name="正方形/長方形 16"/>
          <p:cNvSpPr/>
          <p:nvPr/>
        </p:nvSpPr>
        <p:spPr>
          <a:xfrm>
            <a:off x="5862768" y="5244325"/>
            <a:ext cx="5825912" cy="1261884"/>
          </a:xfrm>
          <a:prstGeom prst="rect">
            <a:avLst/>
          </a:prstGeom>
        </p:spPr>
        <p:txBody>
          <a:bodyPr wrap="square">
            <a:spAutoFit/>
          </a:bodyPr>
          <a:lstStyle/>
          <a:p>
            <a:pPr marL="342900" lvl="0" indent="-342900" defTabSz="932213">
              <a:lnSpc>
                <a:spcPct val="90000"/>
              </a:lnSpc>
              <a:spcAft>
                <a:spcPts val="600"/>
              </a:spcAft>
              <a:buFont typeface="Arial" panose="020B0604020202020204" pitchFamily="34" charset="0"/>
              <a:buChar char="•"/>
            </a:pPr>
            <a:r>
              <a:rPr lang="en-US" altLang="ja-JP" sz="2000" b="1"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Better stability for long time laser operation (fluctuation&lt;5%)              </a:t>
            </a:r>
            <a:endPar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endParaRPr>
          </a:p>
          <a:p>
            <a:pPr marL="342900" lvl="0" indent="-342900" defTabSz="932213">
              <a:lnSpc>
                <a:spcPct val="90000"/>
              </a:lnSpc>
              <a:spcAft>
                <a:spcPts val="600"/>
              </a:spcAft>
              <a:buFont typeface="Arial" panose="020B0604020202020204" pitchFamily="34" charset="0"/>
              <a:buChar char="•"/>
            </a:pPr>
            <a:r>
              <a:rPr lang="en-US" altLang="ja-JP" sz="2000" b="1"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Less adjustment for continuous e</a:t>
            </a:r>
            <a:r>
              <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a:t>
            </a:r>
            <a:r>
              <a:rPr lang="en-US" altLang="ja-JP" sz="2000" b="1"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rPr>
              <a:t> generation</a:t>
            </a:r>
            <a:endPar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endParaRPr>
          </a:p>
          <a:p>
            <a:pPr marL="342900" lvl="0" indent="-342900" defTabSz="932213">
              <a:lnSpc>
                <a:spcPct val="90000"/>
              </a:lnSpc>
              <a:spcAft>
                <a:spcPts val="600"/>
              </a:spcAft>
              <a:buFont typeface="Arial" panose="020B0604020202020204" pitchFamily="34" charset="0"/>
              <a:buChar char="•"/>
            </a:pPr>
            <a:endParaRPr lang="en-US" altLang="ja-JP" sz="2000" b="1" baseline="30000" dirty="0">
              <a:gradFill>
                <a:gsLst>
                  <a:gs pos="2917">
                    <a:srgbClr val="FFFFFF"/>
                  </a:gs>
                  <a:gs pos="30000">
                    <a:srgbClr val="FFFFFF"/>
                  </a:gs>
                </a:gsLst>
                <a:lin ang="5400000" scaled="0"/>
              </a:gradFill>
              <a:latin typeface="等线" panose="02010600030101010101" pitchFamily="2" charset="-122"/>
              <a:ea typeface="等线" panose="02010600030101010101" pitchFamily="2" charset="-122"/>
            </a:endParaRPr>
          </a:p>
        </p:txBody>
      </p:sp>
      <p:sp>
        <p:nvSpPr>
          <p:cNvPr id="18" name="Line 1033"/>
          <p:cNvSpPr>
            <a:spLocks noChangeShapeType="1"/>
          </p:cNvSpPr>
          <p:nvPr/>
        </p:nvSpPr>
        <p:spPr bwMode="auto">
          <a:xfrm>
            <a:off x="5973679" y="2326982"/>
            <a:ext cx="12032" cy="2625037"/>
          </a:xfrm>
          <a:prstGeom prst="line">
            <a:avLst/>
          </a:prstGeom>
          <a:noFill/>
          <a:ln w="28575">
            <a:solidFill>
              <a:schemeClr val="bg2"/>
            </a:solidFill>
            <a:round/>
            <a:headEnd type="triangle" w="med" len="med"/>
            <a:tailEnd type="none" w="med" len="med"/>
          </a:ln>
        </p:spPr>
        <p:txBody>
          <a:bodyPr wrap="none" anchor="ctr"/>
          <a:lstStyle/>
          <a:p>
            <a:endParaRPr lang="ja-JP" altLang="en-US"/>
          </a:p>
        </p:txBody>
      </p:sp>
      <p:sp>
        <p:nvSpPr>
          <p:cNvPr id="19" name="Line 1033"/>
          <p:cNvSpPr>
            <a:spLocks noChangeShapeType="1"/>
          </p:cNvSpPr>
          <p:nvPr/>
        </p:nvSpPr>
        <p:spPr bwMode="auto">
          <a:xfrm flipH="1" flipV="1">
            <a:off x="5973678" y="4948390"/>
            <a:ext cx="5385851" cy="3629"/>
          </a:xfrm>
          <a:prstGeom prst="line">
            <a:avLst/>
          </a:prstGeom>
          <a:noFill/>
          <a:ln w="28575">
            <a:solidFill>
              <a:schemeClr val="bg2"/>
            </a:solidFill>
            <a:round/>
            <a:headEnd type="triangle" w="med" len="med"/>
            <a:tailEnd type="none" w="med" len="med"/>
          </a:ln>
        </p:spPr>
        <p:txBody>
          <a:bodyPr wrap="none" anchor="ctr"/>
          <a:lstStyle/>
          <a:p>
            <a:endParaRPr lang="ja-JP" altLang="en-US"/>
          </a:p>
        </p:txBody>
      </p:sp>
      <p:sp>
        <p:nvSpPr>
          <p:cNvPr id="20" name="正方形/長方形 19"/>
          <p:cNvSpPr/>
          <p:nvPr/>
        </p:nvSpPr>
        <p:spPr>
          <a:xfrm>
            <a:off x="5947925" y="2385403"/>
            <a:ext cx="1354859"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Laser output</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1" name="正方形/長方形 20"/>
          <p:cNvSpPr/>
          <p:nvPr/>
        </p:nvSpPr>
        <p:spPr>
          <a:xfrm>
            <a:off x="11149680" y="4622906"/>
            <a:ext cx="641522"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Time</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2" name="正方形/長方形 21"/>
          <p:cNvSpPr/>
          <p:nvPr/>
        </p:nvSpPr>
        <p:spPr>
          <a:xfrm>
            <a:off x="10333881" y="2663763"/>
            <a:ext cx="958917"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1st Amp</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3" name="正方形/長方形 22"/>
          <p:cNvSpPr/>
          <p:nvPr/>
        </p:nvSpPr>
        <p:spPr>
          <a:xfrm>
            <a:off x="10293005" y="3546399"/>
            <a:ext cx="1040670"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2nd Amp</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4" name="正方形/長方形 23"/>
          <p:cNvSpPr/>
          <p:nvPr/>
        </p:nvSpPr>
        <p:spPr>
          <a:xfrm>
            <a:off x="10651787" y="3921911"/>
            <a:ext cx="995785"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3rd Amp</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5" name="正方形/長方形 24"/>
          <p:cNvSpPr/>
          <p:nvPr/>
        </p:nvSpPr>
        <p:spPr>
          <a:xfrm>
            <a:off x="10540022" y="4215102"/>
            <a:ext cx="990977"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4th Amp</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6" name="正方形/長方形 25"/>
          <p:cNvSpPr/>
          <p:nvPr/>
        </p:nvSpPr>
        <p:spPr>
          <a:xfrm>
            <a:off x="10170736" y="4562580"/>
            <a:ext cx="990977" cy="338554"/>
          </a:xfrm>
          <a:prstGeom prst="rect">
            <a:avLst/>
          </a:prstGeom>
        </p:spPr>
        <p:txBody>
          <a:bodyPr wrap="none">
            <a:spAutoFit/>
          </a:bodyPr>
          <a:lstStyle/>
          <a:p>
            <a:pPr lvl="0" algn="ctr">
              <a:defRPr/>
            </a:pPr>
            <a:r>
              <a:rPr kumimoji="0" lang="en-US" altLang="zh-CN" sz="1600" b="1" kern="0" dirty="0">
                <a:solidFill>
                  <a:schemeClr val="bg2"/>
                </a:solidFill>
                <a:latin typeface="等线" panose="020F0502020204030204"/>
                <a:ea typeface="等线" panose="02010600030101010101" pitchFamily="2" charset="-122"/>
              </a:rPr>
              <a:t>5th Amp</a:t>
            </a:r>
            <a:endParaRPr kumimoji="0" lang="zh-CN" altLang="en-US" sz="1600" b="1" kern="0" dirty="0">
              <a:solidFill>
                <a:schemeClr val="bg2"/>
              </a:solidFill>
              <a:latin typeface="等线" panose="020F0502020204030204"/>
              <a:ea typeface="等线" panose="02010600030101010101" pitchFamily="2" charset="-122"/>
            </a:endParaRPr>
          </a:p>
        </p:txBody>
      </p:sp>
      <p:sp>
        <p:nvSpPr>
          <p:cNvPr id="27" name="正方形/長方形 26"/>
          <p:cNvSpPr/>
          <p:nvPr/>
        </p:nvSpPr>
        <p:spPr>
          <a:xfrm>
            <a:off x="7071034" y="2137807"/>
            <a:ext cx="3586239" cy="369332"/>
          </a:xfrm>
          <a:prstGeom prst="rect">
            <a:avLst/>
          </a:prstGeom>
        </p:spPr>
        <p:txBody>
          <a:bodyPr wrap="none">
            <a:spAutoFit/>
          </a:bodyPr>
          <a:lstStyle/>
          <a:p>
            <a:pPr lvl="0" algn="ctr">
              <a:defRPr/>
            </a:pPr>
            <a:r>
              <a:rPr kumimoji="0" lang="en-US" altLang="zh-CN" b="1" kern="0" dirty="0">
                <a:solidFill>
                  <a:schemeClr val="bg2"/>
                </a:solidFill>
                <a:latin typeface="等线" panose="020F0502020204030204"/>
                <a:ea typeface="等线" panose="02010600030101010101" pitchFamily="2" charset="-122"/>
              </a:rPr>
              <a:t>Two days laser operation history</a:t>
            </a:r>
            <a:endParaRPr kumimoji="0" lang="zh-CN" altLang="en-US" b="1" kern="0" dirty="0">
              <a:solidFill>
                <a:schemeClr val="bg2"/>
              </a:solidFill>
              <a:latin typeface="等线" panose="020F0502020204030204"/>
              <a:ea typeface="等线" panose="02010600030101010101" pitchFamily="2" charset="-122"/>
            </a:endParaRPr>
          </a:p>
        </p:txBody>
      </p:sp>
    </p:spTree>
    <p:extLst>
      <p:ext uri="{BB962C8B-B14F-4D97-AF65-F5344CB8AC3E}">
        <p14:creationId xmlns:p14="http://schemas.microsoft.com/office/powerpoint/2010/main" val="582454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3"/>
          <p:cNvSpPr/>
          <p:nvPr/>
        </p:nvSpPr>
        <p:spPr bwMode="auto">
          <a:xfrm>
            <a:off x="423607" y="970143"/>
            <a:ext cx="896346" cy="847446"/>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 name="Rectangle 23"/>
          <p:cNvSpPr/>
          <p:nvPr/>
        </p:nvSpPr>
        <p:spPr bwMode="auto">
          <a:xfrm>
            <a:off x="1439077" y="962762"/>
            <a:ext cx="4420302" cy="854827"/>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 name="矩形 14"/>
          <p:cNvSpPr/>
          <p:nvPr/>
        </p:nvSpPr>
        <p:spPr>
          <a:xfrm>
            <a:off x="423607" y="233285"/>
            <a:ext cx="4278735" cy="646331"/>
          </a:xfrm>
          <a:prstGeom prst="rect">
            <a:avLst/>
          </a:prstGeom>
        </p:spPr>
        <p:txBody>
          <a:bodyPr wrap="none">
            <a:spAutoFit/>
          </a:bodyPr>
          <a:lstStyle/>
          <a:p>
            <a:r>
              <a:rPr kumimoji="0" lang="en-US" altLang="ja-JP" sz="3600" b="1" dirty="0">
                <a:solidFill>
                  <a:srgbClr val="FFFFFF"/>
                </a:solidFill>
                <a:latin typeface="等线" panose="020F0502020204030204"/>
                <a:ea typeface="游ゴシック" panose="020B0400000000000000" pitchFamily="34" charset="-128"/>
              </a:rPr>
              <a:t>For High Quality e</a:t>
            </a:r>
            <a:r>
              <a:rPr kumimoji="0" lang="en-US" altLang="ja-JP" sz="3600" b="1" baseline="30000" dirty="0">
                <a:solidFill>
                  <a:srgbClr val="FFFFFF"/>
                </a:solidFill>
                <a:latin typeface="等线" panose="020F0502020204030204"/>
                <a:ea typeface="游ゴシック" panose="020B0400000000000000" pitchFamily="34" charset="-128"/>
              </a:rPr>
              <a:t>-</a:t>
            </a:r>
            <a:r>
              <a:rPr kumimoji="0" lang="en-US" altLang="ja-JP" sz="3600" b="1" dirty="0">
                <a:solidFill>
                  <a:srgbClr val="FFFFFF"/>
                </a:solidFill>
                <a:latin typeface="等线" panose="020F0502020204030204"/>
                <a:ea typeface="游ゴシック" panose="020B0400000000000000" pitchFamily="34" charset="-128"/>
              </a:rPr>
              <a:t> </a:t>
            </a:r>
          </a:p>
        </p:txBody>
      </p:sp>
      <p:sp>
        <p:nvSpPr>
          <p:cNvPr id="16" name="Rectangle 118"/>
          <p:cNvSpPr/>
          <p:nvPr/>
        </p:nvSpPr>
        <p:spPr>
          <a:xfrm>
            <a:off x="11359530" y="6442502"/>
            <a:ext cx="787395" cy="415498"/>
          </a:xfrm>
          <a:prstGeom prst="rect">
            <a:avLst/>
          </a:prstGeom>
        </p:spPr>
        <p:txBody>
          <a:bodyPr wrap="none" tIns="91440">
            <a:spAutoFit/>
          </a:bodyPr>
          <a:lstStyle/>
          <a:p>
            <a:pPr algn="ctr" defTabSz="930457">
              <a:spcBef>
                <a:spcPct val="20000"/>
              </a:spcBef>
              <a:buSzPct val="90000"/>
              <a:defRPr/>
            </a:pPr>
            <a:r>
              <a:rPr kumimoji="0" lang="en-US" kern="0" dirty="0">
                <a:solidFill>
                  <a:srgbClr val="FFFFFF"/>
                </a:solidFill>
                <a:latin typeface="等线" panose="02010600030101010101" pitchFamily="2" charset="-122"/>
                <a:ea typeface="等线" panose="02010600030101010101" pitchFamily="2" charset="-122"/>
              </a:rPr>
              <a:t>24-26</a:t>
            </a:r>
          </a:p>
        </p:txBody>
      </p:sp>
      <p:sp>
        <p:nvSpPr>
          <p:cNvPr id="20" name="Rectangle 23"/>
          <p:cNvSpPr/>
          <p:nvPr/>
        </p:nvSpPr>
        <p:spPr bwMode="auto">
          <a:xfrm>
            <a:off x="423608" y="1933617"/>
            <a:ext cx="5435772" cy="4581483"/>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1" name="Rectangle 13"/>
          <p:cNvSpPr/>
          <p:nvPr/>
        </p:nvSpPr>
        <p:spPr bwMode="auto">
          <a:xfrm>
            <a:off x="6237738" y="1938182"/>
            <a:ext cx="5509549" cy="458148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22" name="文本框 6"/>
          <p:cNvSpPr txBox="1"/>
          <p:nvPr/>
        </p:nvSpPr>
        <p:spPr>
          <a:xfrm>
            <a:off x="1480118" y="1119596"/>
            <a:ext cx="4033476" cy="523220"/>
          </a:xfrm>
          <a:prstGeom prst="rect">
            <a:avLst/>
          </a:prstGeom>
          <a:noFill/>
        </p:spPr>
        <p:txBody>
          <a:bodyPr wrap="none" rtlCol="0">
            <a:spAutoFit/>
          </a:bodyPr>
          <a:lstStyle/>
          <a:p>
            <a:r>
              <a:rPr kumimoji="0" lang="en-US" altLang="zh-CN" sz="2800" b="1" dirty="0">
                <a:latin typeface="等线" panose="02010600030101010101" pitchFamily="2" charset="-122"/>
                <a:ea typeface="等线" panose="02010600030101010101" pitchFamily="2" charset="-122"/>
              </a:rPr>
              <a:t>Laser Spatial Reshaping</a:t>
            </a:r>
            <a:endParaRPr kumimoji="0" lang="zh-CN" altLang="en-US" sz="2800" b="1" dirty="0">
              <a:latin typeface="等线" panose="02010600030101010101" pitchFamily="2" charset="-122"/>
              <a:ea typeface="等线" panose="02010600030101010101" pitchFamily="2" charset="-122"/>
            </a:endParaRPr>
          </a:p>
        </p:txBody>
      </p:sp>
      <p:pic>
        <p:nvPicPr>
          <p:cNvPr id="24" name="Picture 5" descr="W:\Open Engagements\Productivity\MS-Unified Communications\#1601 BizProd MOD Team Core Content Work\New Iconography\Words\Fix_06051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6303" y="1060672"/>
            <a:ext cx="639799" cy="641068"/>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13"/>
          <p:cNvSpPr/>
          <p:nvPr/>
        </p:nvSpPr>
        <p:spPr bwMode="auto">
          <a:xfrm>
            <a:off x="6243678" y="990809"/>
            <a:ext cx="860258" cy="8267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30" name="Picture 5" descr="W:\Open Engagements\Productivity\MS-Unified Communications\#1601 BizProd MOD Team Core Content Work\New Iconography\Words\Fix_06051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53907" y="1074971"/>
            <a:ext cx="639799" cy="641068"/>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13"/>
          <p:cNvSpPr/>
          <p:nvPr/>
        </p:nvSpPr>
        <p:spPr bwMode="auto">
          <a:xfrm>
            <a:off x="7214165" y="995374"/>
            <a:ext cx="4539062" cy="8270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32" name="文本框 6"/>
          <p:cNvSpPr txBox="1"/>
          <p:nvPr/>
        </p:nvSpPr>
        <p:spPr>
          <a:xfrm>
            <a:off x="7214165" y="1142951"/>
            <a:ext cx="4480714" cy="523220"/>
          </a:xfrm>
          <a:prstGeom prst="rect">
            <a:avLst/>
          </a:prstGeom>
          <a:noFill/>
        </p:spPr>
        <p:txBody>
          <a:bodyPr wrap="none" rtlCol="0">
            <a:spAutoFit/>
          </a:bodyPr>
          <a:lstStyle/>
          <a:p>
            <a:r>
              <a:rPr kumimoji="0" lang="en-US" altLang="zh-CN" sz="2800" b="1" dirty="0">
                <a:latin typeface="等线" panose="02010600030101010101" pitchFamily="2" charset="-122"/>
                <a:ea typeface="等线" panose="02010600030101010101" pitchFamily="2" charset="-122"/>
              </a:rPr>
              <a:t>Laser Temporal Reshaping</a:t>
            </a:r>
            <a:endParaRPr kumimoji="0" lang="zh-CN" altLang="en-US" sz="2800" b="1" dirty="0">
              <a:latin typeface="等线" panose="02010600030101010101" pitchFamily="2" charset="-122"/>
              <a:ea typeface="等线" panose="02010600030101010101" pitchFamily="2" charset="-122"/>
            </a:endParaRPr>
          </a:p>
        </p:txBody>
      </p:sp>
      <p:grpSp>
        <p:nvGrpSpPr>
          <p:cNvPr id="8" name="グループ化 7"/>
          <p:cNvGrpSpPr/>
          <p:nvPr/>
        </p:nvGrpSpPr>
        <p:grpSpPr>
          <a:xfrm>
            <a:off x="1323943" y="1933617"/>
            <a:ext cx="1356577" cy="1245662"/>
            <a:chOff x="628054" y="1925225"/>
            <a:chExt cx="1356577" cy="1245662"/>
          </a:xfrm>
        </p:grpSpPr>
        <p:sp>
          <p:nvSpPr>
            <p:cNvPr id="33" name="フリーフォーム 32"/>
            <p:cNvSpPr/>
            <p:nvPr/>
          </p:nvSpPr>
          <p:spPr bwMode="auto">
            <a:xfrm>
              <a:off x="796496" y="2178248"/>
              <a:ext cx="869619"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cxnSp>
          <p:nvCxnSpPr>
            <p:cNvPr id="34" name="Straight Arrow Connector 6"/>
            <p:cNvCxnSpPr/>
            <p:nvPr/>
          </p:nvCxnSpPr>
          <p:spPr>
            <a:xfrm flipV="1">
              <a:off x="628054" y="3137574"/>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6"/>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正方形/長方形 6"/>
            <p:cNvSpPr/>
            <p:nvPr/>
          </p:nvSpPr>
          <p:spPr>
            <a:xfrm>
              <a:off x="1715005" y="2801555"/>
              <a:ext cx="26962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r</a:t>
              </a:r>
              <a:endParaRPr lang="ja-JP" altLang="en-US" dirty="0"/>
            </a:p>
          </p:txBody>
        </p:sp>
        <p:sp>
          <p:nvSpPr>
            <p:cNvPr id="43" name="正方形/長方形 42"/>
            <p:cNvSpPr/>
            <p:nvPr/>
          </p:nvSpPr>
          <p:spPr>
            <a:xfrm>
              <a:off x="636112" y="1925225"/>
              <a:ext cx="25199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I</a:t>
              </a:r>
              <a:endParaRPr lang="ja-JP" altLang="en-US" dirty="0"/>
            </a:p>
          </p:txBody>
        </p:sp>
      </p:grpSp>
      <p:sp>
        <p:nvSpPr>
          <p:cNvPr id="49" name="正方形/長方形 48"/>
          <p:cNvSpPr/>
          <p:nvPr/>
        </p:nvSpPr>
        <p:spPr>
          <a:xfrm>
            <a:off x="578908" y="3179279"/>
            <a:ext cx="275748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Laser spatial distribution</a:t>
            </a:r>
            <a:endParaRPr lang="ja-JP" altLang="en-US" dirty="0"/>
          </a:p>
        </p:txBody>
      </p:sp>
      <p:sp>
        <p:nvSpPr>
          <p:cNvPr id="50" name="正方形/長方形 49"/>
          <p:cNvSpPr/>
          <p:nvPr/>
        </p:nvSpPr>
        <p:spPr>
          <a:xfrm>
            <a:off x="3743978" y="3185802"/>
            <a:ext cx="145264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Phase space</a:t>
            </a:r>
            <a:endParaRPr lang="ja-JP" altLang="en-US" dirty="0"/>
          </a:p>
        </p:txBody>
      </p:sp>
      <p:grpSp>
        <p:nvGrpSpPr>
          <p:cNvPr id="4" name="グループ化 3"/>
          <p:cNvGrpSpPr/>
          <p:nvPr/>
        </p:nvGrpSpPr>
        <p:grpSpPr>
          <a:xfrm>
            <a:off x="3108054" y="1882026"/>
            <a:ext cx="2775771" cy="1336421"/>
            <a:chOff x="3108054" y="1882026"/>
            <a:chExt cx="2775771" cy="1336421"/>
          </a:xfrm>
        </p:grpSpPr>
        <p:cxnSp>
          <p:nvCxnSpPr>
            <p:cNvPr id="44" name="Straight Arrow Connector 6"/>
            <p:cNvCxnSpPr/>
            <p:nvPr/>
          </p:nvCxnSpPr>
          <p:spPr>
            <a:xfrm flipV="1">
              <a:off x="3754533" y="2671057"/>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 name="グループ化 2"/>
            <p:cNvGrpSpPr/>
            <p:nvPr/>
          </p:nvGrpSpPr>
          <p:grpSpPr>
            <a:xfrm>
              <a:off x="3108054" y="1882026"/>
              <a:ext cx="2775771" cy="1336421"/>
              <a:chOff x="3108054" y="1882026"/>
              <a:chExt cx="2775771" cy="1336421"/>
            </a:xfrm>
          </p:grpSpPr>
          <p:cxnSp>
            <p:nvCxnSpPr>
              <p:cNvPr id="45" name="Straight Arrow Connector 6"/>
              <p:cNvCxnSpPr/>
              <p:nvPr/>
            </p:nvCxnSpPr>
            <p:spPr>
              <a:xfrm flipV="1">
                <a:off x="4392558" y="2066692"/>
                <a:ext cx="0" cy="115175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p:cNvSpPr/>
              <p:nvPr/>
            </p:nvSpPr>
            <p:spPr>
              <a:xfrm>
                <a:off x="4832065" y="2328114"/>
                <a:ext cx="3000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x</a:t>
                </a:r>
                <a:endParaRPr lang="ja-JP" altLang="en-US" dirty="0"/>
              </a:p>
            </p:txBody>
          </p:sp>
          <p:sp>
            <p:nvSpPr>
              <p:cNvPr id="47" name="正方形/長方形 46"/>
              <p:cNvSpPr/>
              <p:nvPr/>
            </p:nvSpPr>
            <p:spPr>
              <a:xfrm>
                <a:off x="4392558" y="1882026"/>
                <a:ext cx="367408"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x’</a:t>
                </a:r>
                <a:endParaRPr lang="ja-JP" altLang="en-US" dirty="0"/>
              </a:p>
            </p:txBody>
          </p:sp>
          <p:sp>
            <p:nvSpPr>
              <p:cNvPr id="11" name="円弧 10"/>
              <p:cNvSpPr/>
              <p:nvPr/>
            </p:nvSpPr>
            <p:spPr>
              <a:xfrm rot="5092967">
                <a:off x="3589080" y="2238913"/>
                <a:ext cx="619626" cy="980316"/>
              </a:xfrm>
              <a:prstGeom prst="arc">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8" name="円弧 47"/>
              <p:cNvSpPr/>
              <p:nvPr/>
            </p:nvSpPr>
            <p:spPr>
              <a:xfrm rot="15479863">
                <a:off x="4567904" y="2106009"/>
                <a:ext cx="619626" cy="980316"/>
              </a:xfrm>
              <a:prstGeom prst="arc">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51" name="Straight Arrow Connector 6"/>
              <p:cNvCxnSpPr/>
              <p:nvPr/>
            </p:nvCxnSpPr>
            <p:spPr>
              <a:xfrm flipV="1">
                <a:off x="3864064" y="2302949"/>
                <a:ext cx="1009796" cy="807129"/>
              </a:xfrm>
              <a:prstGeom prst="straightConnector1">
                <a:avLst/>
              </a:prstGeom>
              <a:ln w="2857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正方形/長方形 14"/>
              <p:cNvSpPr/>
              <p:nvPr/>
            </p:nvSpPr>
            <p:spPr>
              <a:xfrm>
                <a:off x="3108054" y="2628891"/>
                <a:ext cx="1082348"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Linearity</a:t>
                </a:r>
                <a:endParaRPr lang="ja-JP" altLang="en-US" dirty="0"/>
              </a:p>
            </p:txBody>
          </p:sp>
          <p:sp>
            <p:nvSpPr>
              <p:cNvPr id="52" name="正方形/長方形 51"/>
              <p:cNvSpPr/>
              <p:nvPr/>
            </p:nvSpPr>
            <p:spPr>
              <a:xfrm>
                <a:off x="4658810" y="1985170"/>
                <a:ext cx="1225015"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Emittance</a:t>
                </a:r>
                <a:endParaRPr lang="ja-JP" altLang="en-US" dirty="0"/>
              </a:p>
            </p:txBody>
          </p:sp>
        </p:grpSp>
      </p:grpSp>
      <p:grpSp>
        <p:nvGrpSpPr>
          <p:cNvPr id="79" name="グループ化 78"/>
          <p:cNvGrpSpPr/>
          <p:nvPr/>
        </p:nvGrpSpPr>
        <p:grpSpPr>
          <a:xfrm>
            <a:off x="1395905" y="2417453"/>
            <a:ext cx="1071732" cy="637985"/>
            <a:chOff x="1003713" y="4794272"/>
            <a:chExt cx="1071732" cy="637985"/>
          </a:xfrm>
        </p:grpSpPr>
        <p:cxnSp>
          <p:nvCxnSpPr>
            <p:cNvPr id="70" name="カギ線コネクタ 69"/>
            <p:cNvCxnSpPr/>
            <p:nvPr/>
          </p:nvCxnSpPr>
          <p:spPr>
            <a:xfrm>
              <a:off x="1384933" y="4794273"/>
              <a:ext cx="690512" cy="637984"/>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カギ線コネクタ 71"/>
            <p:cNvCxnSpPr/>
            <p:nvPr/>
          </p:nvCxnSpPr>
          <p:spPr>
            <a:xfrm rot="10800000" flipV="1">
              <a:off x="1003713" y="4794272"/>
              <a:ext cx="671349" cy="637985"/>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0" name="矩形 14"/>
          <p:cNvSpPr/>
          <p:nvPr/>
        </p:nvSpPr>
        <p:spPr>
          <a:xfrm>
            <a:off x="479158" y="5377106"/>
            <a:ext cx="5384132" cy="1015663"/>
          </a:xfrm>
          <a:prstGeom prst="rect">
            <a:avLst/>
          </a:prstGeom>
        </p:spPr>
        <p:txBody>
          <a:bodyPr wrap="square">
            <a:spAutoFit/>
          </a:bodyPr>
          <a:lstStyle/>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rPr>
              <a:t>Laser beam shaper for flat-top</a:t>
            </a:r>
          </a:p>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sym typeface="Wingdings" panose="05000000000000000000" pitchFamily="2" charset="2"/>
              </a:rPr>
              <a:t>For Nd and Yb laser </a:t>
            </a:r>
          </a:p>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rPr>
              <a:t>Under purchasing</a:t>
            </a:r>
            <a:endParaRPr kumimoji="0" lang="zh-CN" altLang="en-US" sz="2000" b="1" dirty="0">
              <a:latin typeface="等线" panose="020F0502020204030204"/>
              <a:ea typeface="等线" panose="02010600030101010101" pitchFamily="2" charset="-122"/>
            </a:endParaRPr>
          </a:p>
        </p:txBody>
      </p:sp>
      <p:pic>
        <p:nvPicPr>
          <p:cNvPr id="81" name="図 8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324" y="3600319"/>
            <a:ext cx="2019602" cy="1602561"/>
          </a:xfrm>
          <a:prstGeom prst="rect">
            <a:avLst/>
          </a:prstGeom>
        </p:spPr>
      </p:pic>
      <p:pic>
        <p:nvPicPr>
          <p:cNvPr id="82" name="図 8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4349" y="3600319"/>
            <a:ext cx="2114057" cy="1598433"/>
          </a:xfrm>
          <a:prstGeom prst="rect">
            <a:avLst/>
          </a:prstGeom>
        </p:spPr>
      </p:pic>
      <p:sp>
        <p:nvSpPr>
          <p:cNvPr id="84" name="矩形 20"/>
          <p:cNvSpPr/>
          <p:nvPr/>
        </p:nvSpPr>
        <p:spPr>
          <a:xfrm>
            <a:off x="6353907" y="5367434"/>
            <a:ext cx="5191013" cy="1015663"/>
          </a:xfrm>
          <a:prstGeom prst="rect">
            <a:avLst/>
          </a:prstGeom>
        </p:spPr>
        <p:txBody>
          <a:bodyPr wrap="square">
            <a:spAutoFit/>
          </a:bodyPr>
          <a:lstStyle/>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rPr>
              <a:t>Pulse stacking by birefringent crystals</a:t>
            </a:r>
          </a:p>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sym typeface="Wingdings" panose="05000000000000000000" pitchFamily="2" charset="2"/>
              </a:rPr>
              <a:t>Demonstrated in Nd laser</a:t>
            </a:r>
          </a:p>
          <a:p>
            <a:pPr marL="285750" indent="-285750">
              <a:buFont typeface="Arial" panose="020B0604020202020204" pitchFamily="34" charset="0"/>
              <a:buChar char="•"/>
            </a:pPr>
            <a:r>
              <a:rPr kumimoji="0" lang="en-US" altLang="zh-CN" sz="2000" b="1" dirty="0">
                <a:latin typeface="等线" panose="020F0502020204030204"/>
                <a:ea typeface="等线" panose="02010600030101010101" pitchFamily="2" charset="-122"/>
                <a:sym typeface="Wingdings" panose="05000000000000000000" pitchFamily="2" charset="2"/>
              </a:rPr>
              <a:t>Will be used in Yb:YAG laser for real flat</a:t>
            </a:r>
            <a:endParaRPr kumimoji="0" lang="zh-CN" altLang="en-US" sz="2000" b="1" dirty="0">
              <a:latin typeface="等线" panose="020F0502020204030204"/>
              <a:ea typeface="等线" panose="02010600030101010101" pitchFamily="2" charset="-122"/>
            </a:endParaRPr>
          </a:p>
        </p:txBody>
      </p:sp>
      <p:grpSp>
        <p:nvGrpSpPr>
          <p:cNvPr id="111" name="グループ化 110"/>
          <p:cNvGrpSpPr/>
          <p:nvPr/>
        </p:nvGrpSpPr>
        <p:grpSpPr>
          <a:xfrm>
            <a:off x="7152935" y="1869661"/>
            <a:ext cx="1356577" cy="1318620"/>
            <a:chOff x="6715141" y="1853291"/>
            <a:chExt cx="1356577" cy="1318620"/>
          </a:xfrm>
        </p:grpSpPr>
        <p:grpSp>
          <p:nvGrpSpPr>
            <p:cNvPr id="86" name="グループ化 85"/>
            <p:cNvGrpSpPr/>
            <p:nvPr/>
          </p:nvGrpSpPr>
          <p:grpSpPr>
            <a:xfrm>
              <a:off x="6715141" y="1926249"/>
              <a:ext cx="1356577" cy="1245662"/>
              <a:chOff x="628054" y="1925225"/>
              <a:chExt cx="1356577" cy="1245662"/>
            </a:xfrm>
          </p:grpSpPr>
          <p:sp>
            <p:nvSpPr>
              <p:cNvPr id="87" name="フリーフォーム 86"/>
              <p:cNvSpPr/>
              <p:nvPr/>
            </p:nvSpPr>
            <p:spPr bwMode="auto">
              <a:xfrm>
                <a:off x="796496" y="2178248"/>
                <a:ext cx="869619"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cxnSp>
            <p:nvCxnSpPr>
              <p:cNvPr id="88" name="Straight Arrow Connector 6"/>
              <p:cNvCxnSpPr/>
              <p:nvPr/>
            </p:nvCxnSpPr>
            <p:spPr>
              <a:xfrm flipV="1">
                <a:off x="628054" y="3137574"/>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6"/>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p:cNvSpPr/>
              <p:nvPr/>
            </p:nvSpPr>
            <p:spPr>
              <a:xfrm>
                <a:off x="1715005" y="2801555"/>
                <a:ext cx="26962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endParaRPr lang="ja-JP" altLang="en-US" dirty="0"/>
              </a:p>
            </p:txBody>
          </p:sp>
          <p:sp>
            <p:nvSpPr>
              <p:cNvPr id="91" name="正方形/長方形 90"/>
              <p:cNvSpPr/>
              <p:nvPr/>
            </p:nvSpPr>
            <p:spPr>
              <a:xfrm>
                <a:off x="636112" y="1925225"/>
                <a:ext cx="25199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I</a:t>
                </a:r>
                <a:endParaRPr lang="ja-JP" altLang="en-US" dirty="0"/>
              </a:p>
            </p:txBody>
          </p:sp>
        </p:grpSp>
        <p:cxnSp>
          <p:nvCxnSpPr>
            <p:cNvPr id="92" name="Straight Arrow Connector 6"/>
            <p:cNvCxnSpPr/>
            <p:nvPr/>
          </p:nvCxnSpPr>
          <p:spPr>
            <a:xfrm flipH="1" flipV="1">
              <a:off x="7312746" y="2041641"/>
              <a:ext cx="5646" cy="1079275"/>
            </a:xfrm>
            <a:prstGeom prst="straightConnector1">
              <a:avLst/>
            </a:prstGeom>
            <a:ln w="19050">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3" name="Straight Arrow Connector 6"/>
            <p:cNvCxnSpPr/>
            <p:nvPr/>
          </p:nvCxnSpPr>
          <p:spPr>
            <a:xfrm flipH="1" flipV="1">
              <a:off x="7527328" y="2059323"/>
              <a:ext cx="5646" cy="1079275"/>
            </a:xfrm>
            <a:prstGeom prst="straightConnector1">
              <a:avLst/>
            </a:prstGeom>
            <a:ln w="19050">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4" name="正方形/長方形 93"/>
            <p:cNvSpPr/>
            <p:nvPr/>
          </p:nvSpPr>
          <p:spPr>
            <a:xfrm>
              <a:off x="7489237" y="1862626"/>
              <a:ext cx="3529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r>
                <a:rPr kumimoji="0" lang="en-US" altLang="zh-CN" b="1" baseline="-25000" dirty="0">
                  <a:latin typeface="等线" panose="02010600030101010101" pitchFamily="2" charset="-122"/>
                  <a:ea typeface="等线" panose="02010600030101010101" pitchFamily="2" charset="-122"/>
                </a:rPr>
                <a:t>2</a:t>
              </a:r>
              <a:endParaRPr lang="ja-JP" altLang="en-US" baseline="-25000" dirty="0"/>
            </a:p>
          </p:txBody>
        </p:sp>
        <p:sp>
          <p:nvSpPr>
            <p:cNvPr id="95" name="正方形/長方形 94"/>
            <p:cNvSpPr/>
            <p:nvPr/>
          </p:nvSpPr>
          <p:spPr>
            <a:xfrm>
              <a:off x="7014881" y="1853291"/>
              <a:ext cx="3529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r>
                <a:rPr kumimoji="0" lang="en-US" altLang="zh-CN" b="1" baseline="-25000" dirty="0">
                  <a:latin typeface="等线" panose="02010600030101010101" pitchFamily="2" charset="-122"/>
                  <a:ea typeface="等线" panose="02010600030101010101" pitchFamily="2" charset="-122"/>
                </a:rPr>
                <a:t>1</a:t>
              </a:r>
              <a:endParaRPr lang="ja-JP" altLang="en-US" baseline="-25000" dirty="0"/>
            </a:p>
          </p:txBody>
        </p:sp>
      </p:grpSp>
      <p:grpSp>
        <p:nvGrpSpPr>
          <p:cNvPr id="5" name="グループ化 4"/>
          <p:cNvGrpSpPr/>
          <p:nvPr/>
        </p:nvGrpSpPr>
        <p:grpSpPr>
          <a:xfrm>
            <a:off x="9707057" y="1885953"/>
            <a:ext cx="1509788" cy="1699879"/>
            <a:chOff x="9707057" y="1885953"/>
            <a:chExt cx="1509788" cy="1699879"/>
          </a:xfrm>
        </p:grpSpPr>
        <p:sp>
          <p:nvSpPr>
            <p:cNvPr id="106" name="正方形/長方形 105"/>
            <p:cNvSpPr/>
            <p:nvPr/>
          </p:nvSpPr>
          <p:spPr>
            <a:xfrm>
              <a:off x="10593037" y="1885953"/>
              <a:ext cx="3529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r>
                <a:rPr kumimoji="0" lang="en-US" altLang="zh-CN" b="1" baseline="-25000" dirty="0">
                  <a:latin typeface="等线" panose="02010600030101010101" pitchFamily="2" charset="-122"/>
                  <a:ea typeface="等线" panose="02010600030101010101" pitchFamily="2" charset="-122"/>
                </a:rPr>
                <a:t>1</a:t>
              </a:r>
              <a:endParaRPr lang="ja-JP" altLang="en-US" baseline="-25000" dirty="0"/>
            </a:p>
          </p:txBody>
        </p:sp>
        <p:grpSp>
          <p:nvGrpSpPr>
            <p:cNvPr id="112" name="グループ化 111"/>
            <p:cNvGrpSpPr/>
            <p:nvPr/>
          </p:nvGrpSpPr>
          <p:grpSpPr>
            <a:xfrm>
              <a:off x="9707057" y="1887059"/>
              <a:ext cx="1509788" cy="1698773"/>
              <a:chOff x="9230106" y="1869661"/>
              <a:chExt cx="1509788" cy="1698773"/>
            </a:xfrm>
          </p:grpSpPr>
          <p:cxnSp>
            <p:nvCxnSpPr>
              <p:cNvPr id="96" name="Straight Arrow Connector 6"/>
              <p:cNvCxnSpPr/>
              <p:nvPr/>
            </p:nvCxnSpPr>
            <p:spPr>
              <a:xfrm flipV="1">
                <a:off x="9230106" y="2658692"/>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7" name="Straight Arrow Connector 6"/>
              <p:cNvCxnSpPr/>
              <p:nvPr/>
            </p:nvCxnSpPr>
            <p:spPr>
              <a:xfrm flipV="1">
                <a:off x="9868131" y="2054327"/>
                <a:ext cx="0" cy="115175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10307638" y="2315749"/>
                <a:ext cx="3000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x</a:t>
                </a:r>
                <a:endParaRPr lang="ja-JP" altLang="en-US" dirty="0"/>
              </a:p>
            </p:txBody>
          </p:sp>
          <p:sp>
            <p:nvSpPr>
              <p:cNvPr id="99" name="正方形/長方形 98"/>
              <p:cNvSpPr/>
              <p:nvPr/>
            </p:nvSpPr>
            <p:spPr>
              <a:xfrm>
                <a:off x="9868131" y="1869661"/>
                <a:ext cx="367408"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x’</a:t>
                </a:r>
                <a:endParaRPr lang="ja-JP" altLang="en-US" dirty="0"/>
              </a:p>
            </p:txBody>
          </p:sp>
          <p:cxnSp>
            <p:nvCxnSpPr>
              <p:cNvPr id="100" name="Straight Arrow Connector 6"/>
              <p:cNvCxnSpPr/>
              <p:nvPr/>
            </p:nvCxnSpPr>
            <p:spPr>
              <a:xfrm flipV="1">
                <a:off x="9518061" y="2146201"/>
                <a:ext cx="700943" cy="1067249"/>
              </a:xfrm>
              <a:prstGeom prst="straightConnector1">
                <a:avLst/>
              </a:prstGeom>
              <a:ln w="28575">
                <a:solidFill>
                  <a:schemeClr val="tx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3" name="Straight Arrow Connector 6"/>
              <p:cNvCxnSpPr/>
              <p:nvPr/>
            </p:nvCxnSpPr>
            <p:spPr>
              <a:xfrm flipV="1">
                <a:off x="9308518" y="2273443"/>
                <a:ext cx="1119223" cy="809901"/>
              </a:xfrm>
              <a:prstGeom prst="straightConnector1">
                <a:avLst/>
              </a:prstGeom>
              <a:ln w="28575">
                <a:solidFill>
                  <a:schemeClr val="tx1"/>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10386912" y="2071944"/>
                <a:ext cx="35298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r>
                  <a:rPr kumimoji="0" lang="en-US" altLang="zh-CN" b="1" baseline="-25000" dirty="0">
                    <a:latin typeface="等线" panose="02010600030101010101" pitchFamily="2" charset="-122"/>
                    <a:ea typeface="等线" panose="02010600030101010101" pitchFamily="2" charset="-122"/>
                  </a:rPr>
                  <a:t>2</a:t>
                </a:r>
                <a:endParaRPr lang="ja-JP" altLang="en-US" baseline="-25000" dirty="0"/>
              </a:p>
            </p:txBody>
          </p:sp>
          <p:sp>
            <p:nvSpPr>
              <p:cNvPr id="108" name="正方形/長方形 107"/>
              <p:cNvSpPr/>
              <p:nvPr/>
            </p:nvSpPr>
            <p:spPr>
              <a:xfrm>
                <a:off x="9230106" y="3199102"/>
                <a:ext cx="145264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Phase space</a:t>
                </a:r>
                <a:endParaRPr lang="ja-JP" altLang="en-US" dirty="0"/>
              </a:p>
            </p:txBody>
          </p:sp>
        </p:grpSp>
      </p:grpSp>
      <p:sp>
        <p:nvSpPr>
          <p:cNvPr id="110" name="正方形/長方形 109"/>
          <p:cNvSpPr/>
          <p:nvPr/>
        </p:nvSpPr>
        <p:spPr>
          <a:xfrm>
            <a:off x="6393125" y="3179279"/>
            <a:ext cx="275748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Laser spatial distribution</a:t>
            </a:r>
            <a:endParaRPr lang="ja-JP" altLang="en-US" dirty="0"/>
          </a:p>
        </p:txBody>
      </p:sp>
      <p:grpSp>
        <p:nvGrpSpPr>
          <p:cNvPr id="117" name="グループ化 116"/>
          <p:cNvGrpSpPr/>
          <p:nvPr/>
        </p:nvGrpSpPr>
        <p:grpSpPr>
          <a:xfrm>
            <a:off x="7232816" y="2427135"/>
            <a:ext cx="1071732" cy="637985"/>
            <a:chOff x="1003713" y="4794272"/>
            <a:chExt cx="1071732" cy="637985"/>
          </a:xfrm>
        </p:grpSpPr>
        <p:cxnSp>
          <p:nvCxnSpPr>
            <p:cNvPr id="118" name="カギ線コネクタ 117"/>
            <p:cNvCxnSpPr/>
            <p:nvPr/>
          </p:nvCxnSpPr>
          <p:spPr>
            <a:xfrm>
              <a:off x="1384933" y="4794273"/>
              <a:ext cx="690512" cy="637984"/>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カギ線コネクタ 118"/>
            <p:cNvCxnSpPr/>
            <p:nvPr/>
          </p:nvCxnSpPr>
          <p:spPr>
            <a:xfrm rot="10800000" flipV="1">
              <a:off x="1003713" y="4794272"/>
              <a:ext cx="671349" cy="637985"/>
            </a:xfrm>
            <a:prstGeom prst="bentConnector3">
              <a:avLst/>
            </a:prstGeom>
            <a:ln w="285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0" name="右矢印 119"/>
          <p:cNvSpPr/>
          <p:nvPr/>
        </p:nvSpPr>
        <p:spPr bwMode="auto">
          <a:xfrm>
            <a:off x="2923522" y="4184727"/>
            <a:ext cx="495404" cy="484632"/>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kumimoji="1" lang="ja-JP" alt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グループ化 8"/>
          <p:cNvGrpSpPr/>
          <p:nvPr/>
        </p:nvGrpSpPr>
        <p:grpSpPr>
          <a:xfrm>
            <a:off x="9341531" y="3654650"/>
            <a:ext cx="1515158" cy="1606206"/>
            <a:chOff x="9341531" y="3654650"/>
            <a:chExt cx="1515158" cy="1606206"/>
          </a:xfrm>
        </p:grpSpPr>
        <p:grpSp>
          <p:nvGrpSpPr>
            <p:cNvPr id="135" name="グループ化 134"/>
            <p:cNvGrpSpPr/>
            <p:nvPr/>
          </p:nvGrpSpPr>
          <p:grpSpPr>
            <a:xfrm>
              <a:off x="9457609" y="3654650"/>
              <a:ext cx="1356577" cy="1245662"/>
              <a:chOff x="628054" y="1925225"/>
              <a:chExt cx="1356577" cy="1245662"/>
            </a:xfrm>
          </p:grpSpPr>
          <p:sp>
            <p:nvSpPr>
              <p:cNvPr id="136" name="フリーフォーム 135"/>
              <p:cNvSpPr/>
              <p:nvPr/>
            </p:nvSpPr>
            <p:spPr bwMode="auto">
              <a:xfrm>
                <a:off x="856568" y="2186248"/>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cxnSp>
            <p:nvCxnSpPr>
              <p:cNvPr id="137" name="Straight Arrow Connector 6"/>
              <p:cNvCxnSpPr/>
              <p:nvPr/>
            </p:nvCxnSpPr>
            <p:spPr>
              <a:xfrm flipV="1">
                <a:off x="628054" y="3137574"/>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6"/>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9" name="正方形/長方形 138"/>
              <p:cNvSpPr/>
              <p:nvPr/>
            </p:nvSpPr>
            <p:spPr>
              <a:xfrm>
                <a:off x="1715005" y="2801555"/>
                <a:ext cx="26962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endParaRPr lang="ja-JP" altLang="en-US" dirty="0"/>
              </a:p>
            </p:txBody>
          </p:sp>
          <p:sp>
            <p:nvSpPr>
              <p:cNvPr id="140" name="正方形/長方形 139"/>
              <p:cNvSpPr/>
              <p:nvPr/>
            </p:nvSpPr>
            <p:spPr>
              <a:xfrm>
                <a:off x="636112" y="1925225"/>
                <a:ext cx="25199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I</a:t>
                </a:r>
                <a:endParaRPr lang="ja-JP" altLang="en-US" dirty="0"/>
              </a:p>
            </p:txBody>
          </p:sp>
        </p:grpSp>
        <p:sp>
          <p:nvSpPr>
            <p:cNvPr id="142" name="フリーフォーム 141"/>
            <p:cNvSpPr/>
            <p:nvPr/>
          </p:nvSpPr>
          <p:spPr bwMode="auto">
            <a:xfrm>
              <a:off x="9794069" y="392528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3" name="フリーフォーム 142"/>
            <p:cNvSpPr/>
            <p:nvPr/>
          </p:nvSpPr>
          <p:spPr bwMode="auto">
            <a:xfrm>
              <a:off x="9895773" y="3917134"/>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4" name="フリーフォーム 143"/>
            <p:cNvSpPr/>
            <p:nvPr/>
          </p:nvSpPr>
          <p:spPr bwMode="auto">
            <a:xfrm>
              <a:off x="9991132" y="3927946"/>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5" name="フリーフォーム 144"/>
            <p:cNvSpPr/>
            <p:nvPr/>
          </p:nvSpPr>
          <p:spPr bwMode="auto">
            <a:xfrm>
              <a:off x="10089734" y="391831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6" name="フリーフォーム 145"/>
            <p:cNvSpPr/>
            <p:nvPr/>
          </p:nvSpPr>
          <p:spPr bwMode="auto">
            <a:xfrm>
              <a:off x="10168915" y="3925280"/>
              <a:ext cx="266900"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9" name="正方形/長方形 148"/>
            <p:cNvSpPr/>
            <p:nvPr/>
          </p:nvSpPr>
          <p:spPr>
            <a:xfrm>
              <a:off x="9341531" y="4891524"/>
              <a:ext cx="1515158"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Yb:YAG laser</a:t>
              </a:r>
              <a:endParaRPr lang="ja-JP" altLang="en-US" dirty="0"/>
            </a:p>
          </p:txBody>
        </p:sp>
      </p:grpSp>
      <p:grpSp>
        <p:nvGrpSpPr>
          <p:cNvPr id="10" name="グループ化 9"/>
          <p:cNvGrpSpPr/>
          <p:nvPr/>
        </p:nvGrpSpPr>
        <p:grpSpPr>
          <a:xfrm>
            <a:off x="7000115" y="3634649"/>
            <a:ext cx="1558440" cy="1613074"/>
            <a:chOff x="7000115" y="3634649"/>
            <a:chExt cx="1558440" cy="1613074"/>
          </a:xfrm>
        </p:grpSpPr>
        <p:grpSp>
          <p:nvGrpSpPr>
            <p:cNvPr id="123" name="グループ化 122"/>
            <p:cNvGrpSpPr/>
            <p:nvPr/>
          </p:nvGrpSpPr>
          <p:grpSpPr>
            <a:xfrm>
              <a:off x="7161991" y="3634649"/>
              <a:ext cx="1356577" cy="1245662"/>
              <a:chOff x="628054" y="1925225"/>
              <a:chExt cx="1356577" cy="1245662"/>
            </a:xfrm>
          </p:grpSpPr>
          <p:sp>
            <p:nvSpPr>
              <p:cNvPr id="128" name="フリーフォーム 127"/>
              <p:cNvSpPr/>
              <p:nvPr/>
            </p:nvSpPr>
            <p:spPr bwMode="auto">
              <a:xfrm>
                <a:off x="698879" y="2180232"/>
                <a:ext cx="694215"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cxnSp>
            <p:nvCxnSpPr>
              <p:cNvPr id="129" name="Straight Arrow Connector 6"/>
              <p:cNvCxnSpPr/>
              <p:nvPr/>
            </p:nvCxnSpPr>
            <p:spPr>
              <a:xfrm flipV="1">
                <a:off x="628054" y="3137574"/>
                <a:ext cx="1345125" cy="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6"/>
              <p:cNvCxnSpPr/>
              <p:nvPr/>
            </p:nvCxnSpPr>
            <p:spPr>
              <a:xfrm flipH="1" flipV="1">
                <a:off x="630466" y="2070331"/>
                <a:ext cx="5646" cy="107927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1" name="正方形/長方形 130"/>
              <p:cNvSpPr/>
              <p:nvPr/>
            </p:nvSpPr>
            <p:spPr>
              <a:xfrm>
                <a:off x="1715005" y="2801555"/>
                <a:ext cx="269626"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t</a:t>
                </a:r>
                <a:endParaRPr lang="ja-JP" altLang="en-US" dirty="0"/>
              </a:p>
            </p:txBody>
          </p:sp>
          <p:sp>
            <p:nvSpPr>
              <p:cNvPr id="132" name="正方形/長方形 131"/>
              <p:cNvSpPr/>
              <p:nvPr/>
            </p:nvSpPr>
            <p:spPr>
              <a:xfrm>
                <a:off x="636112" y="1925225"/>
                <a:ext cx="251992"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I</a:t>
                </a:r>
                <a:endParaRPr lang="ja-JP" altLang="en-US" dirty="0"/>
              </a:p>
            </p:txBody>
          </p:sp>
        </p:grpSp>
        <p:sp>
          <p:nvSpPr>
            <p:cNvPr id="133" name="フリーフォーム 132"/>
            <p:cNvSpPr/>
            <p:nvPr/>
          </p:nvSpPr>
          <p:spPr bwMode="auto">
            <a:xfrm>
              <a:off x="7566996" y="3884630"/>
              <a:ext cx="652922" cy="896704"/>
            </a:xfrm>
            <a:custGeom>
              <a:avLst/>
              <a:gdLst>
                <a:gd name="connsiteX0" fmla="*/ 0 w 1175657"/>
                <a:gd name="connsiteY0" fmla="*/ 711236 h 740345"/>
                <a:gd name="connsiteX1" fmla="*/ 246743 w 1175657"/>
                <a:gd name="connsiteY1" fmla="*/ 595122 h 740345"/>
                <a:gd name="connsiteX2" fmla="*/ 595086 w 1175657"/>
                <a:gd name="connsiteY2" fmla="*/ 36 h 740345"/>
                <a:gd name="connsiteX3" fmla="*/ 957943 w 1175657"/>
                <a:gd name="connsiteY3" fmla="*/ 624150 h 740345"/>
                <a:gd name="connsiteX4" fmla="*/ 1175657 w 1175657"/>
                <a:gd name="connsiteY4" fmla="*/ 740265 h 740345"/>
                <a:gd name="connsiteX5" fmla="*/ 1175657 w 1175657"/>
                <a:gd name="connsiteY5" fmla="*/ 740265 h 7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5657" h="740345">
                  <a:moveTo>
                    <a:pt x="0" y="711236"/>
                  </a:moveTo>
                  <a:cubicBezTo>
                    <a:pt x="73781" y="712445"/>
                    <a:pt x="147562" y="713655"/>
                    <a:pt x="246743" y="595122"/>
                  </a:cubicBezTo>
                  <a:cubicBezTo>
                    <a:pt x="345924" y="476589"/>
                    <a:pt x="476553" y="-4802"/>
                    <a:pt x="595086" y="36"/>
                  </a:cubicBezTo>
                  <a:cubicBezTo>
                    <a:pt x="713619" y="4874"/>
                    <a:pt x="861181" y="500778"/>
                    <a:pt x="957943" y="624150"/>
                  </a:cubicBezTo>
                  <a:cubicBezTo>
                    <a:pt x="1054705" y="747522"/>
                    <a:pt x="1175657" y="740265"/>
                    <a:pt x="1175657" y="740265"/>
                  </a:cubicBezTo>
                  <a:lnTo>
                    <a:pt x="1175657" y="740265"/>
                  </a:lnTo>
                </a:path>
              </a:pathLst>
            </a:custGeom>
            <a:noFill/>
            <a:ln w="381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1" lang="ja-JP" altLang="en-US" b="1" i="0" u="none" strike="noStrike" cap="none" normalizeH="0" baseline="0">
                <a:ln>
                  <a:noFill/>
                </a:ln>
                <a:solidFill>
                  <a:schemeClr val="tx1"/>
                </a:solidFill>
                <a:effectLst/>
                <a:latin typeface="ＭＳ 明朝" pitchFamily="17" charset="-128"/>
                <a:ea typeface="ＭＳ 明朝" pitchFamily="17" charset="-128"/>
              </a:endParaRPr>
            </a:p>
          </p:txBody>
        </p:sp>
        <p:sp>
          <p:nvSpPr>
            <p:cNvPr id="148" name="正方形/長方形 147"/>
            <p:cNvSpPr/>
            <p:nvPr/>
          </p:nvSpPr>
          <p:spPr>
            <a:xfrm>
              <a:off x="7000115" y="4878391"/>
              <a:ext cx="1558440" cy="369332"/>
            </a:xfrm>
            <a:prstGeom prst="rect">
              <a:avLst/>
            </a:prstGeom>
          </p:spPr>
          <p:txBody>
            <a:bodyPr wrap="none">
              <a:spAutoFit/>
            </a:bodyPr>
            <a:lstStyle/>
            <a:p>
              <a:r>
                <a:rPr kumimoji="0" lang="en-US" altLang="zh-CN" b="1" dirty="0">
                  <a:latin typeface="等线" panose="02010600030101010101" pitchFamily="2" charset="-122"/>
                  <a:ea typeface="等线" panose="02010600030101010101" pitchFamily="2" charset="-122"/>
                </a:rPr>
                <a:t>Nd:YAG laser</a:t>
              </a:r>
              <a:endParaRPr lang="ja-JP" altLang="en-US" dirty="0"/>
            </a:p>
          </p:txBody>
        </p:sp>
        <p:sp>
          <p:nvSpPr>
            <p:cNvPr id="151" name="フリーフォーム 150"/>
            <p:cNvSpPr/>
            <p:nvPr/>
          </p:nvSpPr>
          <p:spPr bwMode="auto">
            <a:xfrm>
              <a:off x="7381374" y="3798322"/>
              <a:ext cx="739942" cy="1014445"/>
            </a:xfrm>
            <a:custGeom>
              <a:avLst/>
              <a:gdLst>
                <a:gd name="connsiteX0" fmla="*/ 0 w 739942"/>
                <a:gd name="connsiteY0" fmla="*/ 954152 h 1014445"/>
                <a:gd name="connsiteX1" fmla="*/ 126331 w 739942"/>
                <a:gd name="connsiteY1" fmla="*/ 924073 h 1014445"/>
                <a:gd name="connsiteX2" fmla="*/ 234615 w 739942"/>
                <a:gd name="connsiteY2" fmla="*/ 93894 h 1014445"/>
                <a:gd name="connsiteX3" fmla="*/ 517358 w 739942"/>
                <a:gd name="connsiteY3" fmla="*/ 93894 h 1014445"/>
                <a:gd name="connsiteX4" fmla="*/ 601579 w 739942"/>
                <a:gd name="connsiteY4" fmla="*/ 761646 h 1014445"/>
                <a:gd name="connsiteX5" fmla="*/ 739942 w 739942"/>
                <a:gd name="connsiteY5" fmla="*/ 966183 h 1014445"/>
                <a:gd name="connsiteX6" fmla="*/ 739942 w 739942"/>
                <a:gd name="connsiteY6" fmla="*/ 966183 h 101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9942" h="1014445">
                  <a:moveTo>
                    <a:pt x="0" y="954152"/>
                  </a:moveTo>
                  <a:cubicBezTo>
                    <a:pt x="43614" y="1010800"/>
                    <a:pt x="87229" y="1067449"/>
                    <a:pt x="126331" y="924073"/>
                  </a:cubicBezTo>
                  <a:cubicBezTo>
                    <a:pt x="165433" y="780697"/>
                    <a:pt x="169444" y="232257"/>
                    <a:pt x="234615" y="93894"/>
                  </a:cubicBezTo>
                  <a:cubicBezTo>
                    <a:pt x="299786" y="-44469"/>
                    <a:pt x="456197" y="-17398"/>
                    <a:pt x="517358" y="93894"/>
                  </a:cubicBezTo>
                  <a:cubicBezTo>
                    <a:pt x="578519" y="205186"/>
                    <a:pt x="564482" y="616265"/>
                    <a:pt x="601579" y="761646"/>
                  </a:cubicBezTo>
                  <a:cubicBezTo>
                    <a:pt x="638676" y="907027"/>
                    <a:pt x="739942" y="966183"/>
                    <a:pt x="739942" y="966183"/>
                  </a:cubicBezTo>
                  <a:lnTo>
                    <a:pt x="739942" y="966183"/>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kumimoji="1" lang="ja-JP" altLang="en-US"/>
            </a:p>
          </p:txBody>
        </p:sp>
      </p:grpSp>
      <p:pic>
        <p:nvPicPr>
          <p:cNvPr id="6" name="図 5"/>
          <p:cNvPicPr>
            <a:picLocks noChangeAspect="1"/>
          </p:cNvPicPr>
          <p:nvPr/>
        </p:nvPicPr>
        <p:blipFill>
          <a:blip r:embed="rId6"/>
          <a:stretch>
            <a:fillRect/>
          </a:stretch>
        </p:blipFill>
        <p:spPr>
          <a:xfrm>
            <a:off x="6244973" y="3715323"/>
            <a:ext cx="5523455" cy="1487553"/>
          </a:xfrm>
          <a:prstGeom prst="rect">
            <a:avLst/>
          </a:prstGeom>
        </p:spPr>
      </p:pic>
    </p:spTree>
    <p:extLst>
      <p:ext uri="{BB962C8B-B14F-4D97-AF65-F5344CB8AC3E}">
        <p14:creationId xmlns:p14="http://schemas.microsoft.com/office/powerpoint/2010/main" val="38125332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500"/>
                                        <p:tgtEl>
                                          <p:spTgt spid="22"/>
                                        </p:tgtEl>
                                      </p:cBhvr>
                                    </p:animEffect>
                                  </p:childTnLst>
                                </p:cTn>
                              </p:par>
                              <p:par>
                                <p:cTn id="14" presetID="10" presetClass="entr" presetSubtype="0" fill="hold" nodeType="withEffect">
                                  <p:stCondLst>
                                    <p:cond delay="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500"/>
                                        <p:tgtEl>
                                          <p:spTgt spid="2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500"/>
                                        <p:tgtEl>
                                          <p:spTgt spid="3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fad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animEffect transition="in" filter="fade">
                                      <p:cBhvr>
                                        <p:cTn id="33" dur="500"/>
                                        <p:tgtEl>
                                          <p:spTgt spid="2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par>
                                <p:cTn id="37" presetID="10"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81"/>
                                        </p:tgtEl>
                                        <p:attrNameLst>
                                          <p:attrName>style.visibility</p:attrName>
                                        </p:attrNameLst>
                                      </p:cBhvr>
                                      <p:to>
                                        <p:strVal val="visible"/>
                                      </p:to>
                                    </p:set>
                                    <p:animEffect transition="in" filter="fade">
                                      <p:cBhvr>
                                        <p:cTn id="57" dur="500"/>
                                        <p:tgtEl>
                                          <p:spTgt spid="81"/>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20"/>
                                        </p:tgtEl>
                                        <p:attrNameLst>
                                          <p:attrName>style.visibility</p:attrName>
                                        </p:attrNameLst>
                                      </p:cBhvr>
                                      <p:to>
                                        <p:strVal val="visible"/>
                                      </p:to>
                                    </p:set>
                                    <p:animEffect transition="in" filter="fade">
                                      <p:cBhvr>
                                        <p:cTn id="60" dur="500"/>
                                        <p:tgtEl>
                                          <p:spTgt spid="120"/>
                                        </p:tgtEl>
                                      </p:cBhvr>
                                    </p:animEffect>
                                  </p:childTnLst>
                                </p:cTn>
                              </p:par>
                              <p:par>
                                <p:cTn id="61" presetID="10" presetClass="entr" presetSubtype="0" fill="hold" nodeType="withEffect">
                                  <p:stCondLst>
                                    <p:cond delay="0"/>
                                  </p:stCondLst>
                                  <p:childTnLst>
                                    <p:set>
                                      <p:cBhvr>
                                        <p:cTn id="62" dur="1" fill="hold">
                                          <p:stCondLst>
                                            <p:cond delay="0"/>
                                          </p:stCondLst>
                                        </p:cTn>
                                        <p:tgtEl>
                                          <p:spTgt spid="82"/>
                                        </p:tgtEl>
                                        <p:attrNameLst>
                                          <p:attrName>style.visibility</p:attrName>
                                        </p:attrNameLst>
                                      </p:cBhvr>
                                      <p:to>
                                        <p:strVal val="visible"/>
                                      </p:to>
                                    </p:set>
                                    <p:animEffect transition="in" filter="fade">
                                      <p:cBhvr>
                                        <p:cTn id="63" dur="500"/>
                                        <p:tgtEl>
                                          <p:spTgt spid="82"/>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80"/>
                                        </p:tgtEl>
                                        <p:attrNameLst>
                                          <p:attrName>style.visibility</p:attrName>
                                        </p:attrNameLst>
                                      </p:cBhvr>
                                      <p:to>
                                        <p:strVal val="visible"/>
                                      </p:to>
                                    </p:set>
                                    <p:animEffect transition="in" filter="fade">
                                      <p:cBhvr>
                                        <p:cTn id="66" dur="500"/>
                                        <p:tgtEl>
                                          <p:spTgt spid="80"/>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nodeType="clickEffect">
                                  <p:stCondLst>
                                    <p:cond delay="0"/>
                                  </p:stCondLst>
                                  <p:childTnLst>
                                    <p:set>
                                      <p:cBhvr>
                                        <p:cTn id="70" dur="1" fill="hold">
                                          <p:stCondLst>
                                            <p:cond delay="0"/>
                                          </p:stCondLst>
                                        </p:cTn>
                                        <p:tgtEl>
                                          <p:spTgt spid="111"/>
                                        </p:tgtEl>
                                        <p:attrNameLst>
                                          <p:attrName>style.visibility</p:attrName>
                                        </p:attrNameLst>
                                      </p:cBhvr>
                                      <p:to>
                                        <p:strVal val="visible"/>
                                      </p:to>
                                    </p:set>
                                    <p:animEffect transition="in" filter="fade">
                                      <p:cBhvr>
                                        <p:cTn id="71" dur="500"/>
                                        <p:tgtEl>
                                          <p:spTgt spid="111"/>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10"/>
                                        </p:tgtEl>
                                        <p:attrNameLst>
                                          <p:attrName>style.visibility</p:attrName>
                                        </p:attrNameLst>
                                      </p:cBhvr>
                                      <p:to>
                                        <p:strVal val="visible"/>
                                      </p:to>
                                    </p:set>
                                    <p:animEffect transition="in" filter="fade">
                                      <p:cBhvr>
                                        <p:cTn id="74" dur="500"/>
                                        <p:tgtEl>
                                          <p:spTgt spid="11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fade">
                                      <p:cBhvr>
                                        <p:cTn id="77" dur="500"/>
                                        <p:tgtEl>
                                          <p:spTgt spid="21"/>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5"/>
                                        </p:tgtEl>
                                        <p:attrNameLst>
                                          <p:attrName>style.visibility</p:attrName>
                                        </p:attrNameLst>
                                      </p:cBhvr>
                                      <p:to>
                                        <p:strVal val="visible"/>
                                      </p:to>
                                    </p:set>
                                    <p:animEffect transition="in" filter="fade">
                                      <p:cBhvr>
                                        <p:cTn id="82" dur="500"/>
                                        <p:tgtEl>
                                          <p:spTgt spid="5"/>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117"/>
                                        </p:tgtEl>
                                        <p:attrNameLst>
                                          <p:attrName>style.visibility</p:attrName>
                                        </p:attrNameLst>
                                      </p:cBhvr>
                                      <p:to>
                                        <p:strVal val="visible"/>
                                      </p:to>
                                    </p:set>
                                    <p:animEffect transition="in" filter="fade">
                                      <p:cBhvr>
                                        <p:cTn id="87" dur="500"/>
                                        <p:tgtEl>
                                          <p:spTgt spid="117"/>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nodeType="clickEffect">
                                  <p:stCondLst>
                                    <p:cond delay="0"/>
                                  </p:stCondLst>
                                  <p:childTnLst>
                                    <p:set>
                                      <p:cBhvr>
                                        <p:cTn id="91" dur="1" fill="hold">
                                          <p:stCondLst>
                                            <p:cond delay="0"/>
                                          </p:stCondLst>
                                        </p:cTn>
                                        <p:tgtEl>
                                          <p:spTgt spid="6"/>
                                        </p:tgtEl>
                                        <p:attrNameLst>
                                          <p:attrName>style.visibility</p:attrName>
                                        </p:attrNameLst>
                                      </p:cBhvr>
                                      <p:to>
                                        <p:strVal val="visible"/>
                                      </p:to>
                                    </p:set>
                                    <p:animEffect transition="in" filter="fade">
                                      <p:cBhvr>
                                        <p:cTn id="92" dur="500"/>
                                        <p:tgtEl>
                                          <p:spTgt spid="6"/>
                                        </p:tgtEl>
                                      </p:cBhvr>
                                    </p:animEffect>
                                  </p:childTnLst>
                                </p:cTn>
                              </p:par>
                              <p:par>
                                <p:cTn id="93" presetID="10" presetClass="entr" presetSubtype="0" fill="hold" grpId="0" nodeType="withEffect">
                                  <p:stCondLst>
                                    <p:cond delay="0"/>
                                  </p:stCondLst>
                                  <p:childTnLst>
                                    <p:set>
                                      <p:cBhvr>
                                        <p:cTn id="94" dur="1" fill="hold">
                                          <p:stCondLst>
                                            <p:cond delay="0"/>
                                          </p:stCondLst>
                                        </p:cTn>
                                        <p:tgtEl>
                                          <p:spTgt spid="84"/>
                                        </p:tgtEl>
                                        <p:attrNameLst>
                                          <p:attrName>style.visibility</p:attrName>
                                        </p:attrNameLst>
                                      </p:cBhvr>
                                      <p:to>
                                        <p:strVal val="visible"/>
                                      </p:to>
                                    </p:set>
                                    <p:animEffect transition="in" filter="fade">
                                      <p:cBhvr>
                                        <p:cTn id="95" dur="500"/>
                                        <p:tgtEl>
                                          <p:spTgt spid="84"/>
                                        </p:tgtEl>
                                      </p:cBhvr>
                                    </p:animEffect>
                                  </p:childTnLst>
                                </p:cTn>
                              </p:par>
                            </p:childTnLst>
                          </p:cTn>
                        </p:par>
                      </p:childTnLst>
                    </p:cTn>
                  </p:par>
                  <p:par>
                    <p:cTn id="96" fill="hold">
                      <p:stCondLst>
                        <p:cond delay="indefinite"/>
                      </p:stCondLst>
                      <p:childTnLst>
                        <p:par>
                          <p:cTn id="97" fill="hold">
                            <p:stCondLst>
                              <p:cond delay="0"/>
                            </p:stCondLst>
                            <p:childTnLst>
                              <p:par>
                                <p:cTn id="98" presetID="1" presetClass="exit" presetSubtype="0" fill="hold" nodeType="clickEffect">
                                  <p:stCondLst>
                                    <p:cond delay="0"/>
                                  </p:stCondLst>
                                  <p:childTnLst>
                                    <p:set>
                                      <p:cBhvr>
                                        <p:cTn id="99" dur="1" fill="hold">
                                          <p:stCondLst>
                                            <p:cond delay="0"/>
                                          </p:stCondLst>
                                        </p:cTn>
                                        <p:tgtEl>
                                          <p:spTgt spid="6"/>
                                        </p:tgtEl>
                                        <p:attrNameLst>
                                          <p:attrName>style.visibility</p:attrName>
                                        </p:attrNameLst>
                                      </p:cBhvr>
                                      <p:to>
                                        <p:strVal val="hidden"/>
                                      </p:to>
                                    </p:set>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nodeType="clickEffect">
                                  <p:stCondLst>
                                    <p:cond delay="0"/>
                                  </p:stCondLst>
                                  <p:childTnLst>
                                    <p:set>
                                      <p:cBhvr>
                                        <p:cTn id="103" dur="1" fill="hold">
                                          <p:stCondLst>
                                            <p:cond delay="0"/>
                                          </p:stCondLst>
                                        </p:cTn>
                                        <p:tgtEl>
                                          <p:spTgt spid="10"/>
                                        </p:tgtEl>
                                        <p:attrNameLst>
                                          <p:attrName>style.visibility</p:attrName>
                                        </p:attrNameLst>
                                      </p:cBhvr>
                                      <p:to>
                                        <p:strVal val="visible"/>
                                      </p:to>
                                    </p:set>
                                    <p:animEffect transition="in" filter="fade">
                                      <p:cBhvr>
                                        <p:cTn id="104" dur="500"/>
                                        <p:tgtEl>
                                          <p:spTgt spid="10"/>
                                        </p:tgtEl>
                                      </p:cBhvr>
                                    </p:animEffect>
                                  </p:childTnLst>
                                </p:cTn>
                              </p:par>
                              <p:par>
                                <p:cTn id="105" presetID="10" presetClass="entr" presetSubtype="0" fill="hold" nodeType="withEffect">
                                  <p:stCondLst>
                                    <p:cond delay="0"/>
                                  </p:stCondLst>
                                  <p:childTnLst>
                                    <p:set>
                                      <p:cBhvr>
                                        <p:cTn id="106" dur="1" fill="hold">
                                          <p:stCondLst>
                                            <p:cond delay="0"/>
                                          </p:stCondLst>
                                        </p:cTn>
                                        <p:tgtEl>
                                          <p:spTgt spid="9"/>
                                        </p:tgtEl>
                                        <p:attrNameLst>
                                          <p:attrName>style.visibility</p:attrName>
                                        </p:attrNameLst>
                                      </p:cBhvr>
                                      <p:to>
                                        <p:strVal val="visible"/>
                                      </p:to>
                                    </p:set>
                                    <p:animEffect transition="in" filter="fade">
                                      <p:cBhvr>
                                        <p:cTn id="10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3" grpId="0" animBg="1"/>
      <p:bldP spid="20" grpId="0" animBg="1"/>
      <p:bldP spid="21" grpId="0" animBg="1"/>
      <p:bldP spid="22" grpId="0"/>
      <p:bldP spid="29" grpId="0" animBg="1"/>
      <p:bldP spid="31" grpId="0" animBg="1"/>
      <p:bldP spid="32" grpId="0"/>
      <p:bldP spid="49" grpId="0"/>
      <p:bldP spid="50" grpId="0"/>
      <p:bldP spid="80" grpId="0"/>
      <p:bldP spid="84" grpId="0"/>
      <p:bldP spid="110" grpId="0"/>
      <p:bldP spid="1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152650" y="1"/>
            <a:ext cx="7886700" cy="1325563"/>
          </a:xfrm>
        </p:spPr>
        <p:txBody>
          <a:bodyPr/>
          <a:lstStyle/>
          <a:p>
            <a:r>
              <a:rPr kumimoji="1" lang="en-US" altLang="ja-JP" dirty="0"/>
              <a:t>Beam homogenizer</a:t>
            </a:r>
            <a:endParaRPr kumimoji="1" lang="ja-JP" altLang="en-US" dirty="0"/>
          </a:p>
        </p:txBody>
      </p:sp>
      <p:sp>
        <p:nvSpPr>
          <p:cNvPr id="5" name="コンテンツ プレースホルダー 2"/>
          <p:cNvSpPr txBox="1">
            <a:spLocks/>
          </p:cNvSpPr>
          <p:nvPr/>
        </p:nvSpPr>
        <p:spPr>
          <a:xfrm>
            <a:off x="2248023" y="3866020"/>
            <a:ext cx="8301594" cy="2180083"/>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dirty="0"/>
              <a:t>F: 1 m (Focal length of F lens)</a:t>
            </a:r>
          </a:p>
          <a:p>
            <a:r>
              <a:rPr lang="az-Cyrl-AZ" altLang="zh-CN" dirty="0"/>
              <a:t>Ф</a:t>
            </a:r>
            <a:r>
              <a:rPr lang="en-US" altLang="zh-CN" dirty="0"/>
              <a:t>: 6 mm (on target surface)</a:t>
            </a:r>
          </a:p>
          <a:p>
            <a:r>
              <a:rPr lang="en-US" altLang="ja-JP" dirty="0"/>
              <a:t>Off-axis: 6 mm (distance between optical axis and center of target spot)</a:t>
            </a:r>
          </a:p>
          <a:p>
            <a:r>
              <a:rPr lang="en-US" altLang="ja-JP" dirty="0"/>
              <a:t>β≈1</a:t>
            </a:r>
            <a:r>
              <a:rPr lang="en-US" altLang="ja-JP" baseline="30000" dirty="0"/>
              <a:t>o</a:t>
            </a:r>
          </a:p>
        </p:txBody>
      </p:sp>
      <p:pic>
        <p:nvPicPr>
          <p:cNvPr id="3" name="図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6814" y="1169829"/>
            <a:ext cx="6667995" cy="2521403"/>
          </a:xfrm>
          <a:prstGeom prst="rect">
            <a:avLst/>
          </a:prstGeom>
        </p:spPr>
      </p:pic>
      <p:pic>
        <p:nvPicPr>
          <p:cNvPr id="4" name="図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06705" y="1559227"/>
            <a:ext cx="2142913" cy="1898341"/>
          </a:xfrm>
          <a:prstGeom prst="rect">
            <a:avLst/>
          </a:prstGeom>
        </p:spPr>
      </p:pic>
    </p:spTree>
    <p:extLst>
      <p:ext uri="{BB962C8B-B14F-4D97-AF65-F5344CB8AC3E}">
        <p14:creationId xmlns:p14="http://schemas.microsoft.com/office/powerpoint/2010/main" val="32371919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152650" y="1"/>
            <a:ext cx="7886700" cy="1325563"/>
          </a:xfrm>
        </p:spPr>
        <p:txBody>
          <a:bodyPr/>
          <a:lstStyle/>
          <a:p>
            <a:r>
              <a:rPr kumimoji="1" lang="en-US" altLang="ja-JP" dirty="0"/>
              <a:t>Beam homogenizer</a:t>
            </a:r>
            <a:endParaRPr kumimoji="1" lang="ja-JP" altLang="en-US" dirty="0"/>
          </a:p>
        </p:txBody>
      </p:sp>
      <p:sp>
        <p:nvSpPr>
          <p:cNvPr id="5" name="コンテンツ プレースホルダー 2"/>
          <p:cNvSpPr txBox="1">
            <a:spLocks/>
          </p:cNvSpPr>
          <p:nvPr/>
        </p:nvSpPr>
        <p:spPr>
          <a:xfrm>
            <a:off x="2776104" y="5295434"/>
            <a:ext cx="7327818" cy="1218182"/>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dirty="0"/>
              <a:t>Simulation result</a:t>
            </a:r>
          </a:p>
          <a:p>
            <a:r>
              <a:rPr lang="en-US" altLang="ja-JP" dirty="0"/>
              <a:t>peak to valley modulations on the top hat: </a:t>
            </a:r>
            <a:r>
              <a:rPr lang="en-US" altLang="zh-CN" dirty="0"/>
              <a:t>±10%~15%</a:t>
            </a:r>
          </a:p>
          <a:p>
            <a:r>
              <a:rPr lang="en-US" altLang="ja-JP" dirty="0"/>
              <a:t>Transmitting rate&gt; 80%</a:t>
            </a:r>
          </a:p>
          <a:p>
            <a:endParaRPr lang="en-US" altLang="ja-JP" dirty="0"/>
          </a:p>
        </p:txBody>
      </p:sp>
      <p:pic>
        <p:nvPicPr>
          <p:cNvPr id="3" name="図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12472" y="1165246"/>
            <a:ext cx="6620494" cy="3763031"/>
          </a:xfrm>
          <a:prstGeom prst="rect">
            <a:avLst/>
          </a:prstGeom>
        </p:spPr>
      </p:pic>
    </p:spTree>
    <p:extLst>
      <p:ext uri="{BB962C8B-B14F-4D97-AF65-F5344CB8AC3E}">
        <p14:creationId xmlns:p14="http://schemas.microsoft.com/office/powerpoint/2010/main" val="229351954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1517" y="214041"/>
            <a:ext cx="9155825" cy="6438067"/>
          </a:xfrm>
          <a:prstGeom prst="rect">
            <a:avLst/>
          </a:prstGeom>
        </p:spPr>
      </p:pic>
    </p:spTree>
    <p:extLst>
      <p:ext uri="{BB962C8B-B14F-4D97-AF65-F5344CB8AC3E}">
        <p14:creationId xmlns:p14="http://schemas.microsoft.com/office/powerpoint/2010/main" val="321316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52596" y="71414"/>
            <a:ext cx="8229600" cy="511156"/>
          </a:xfrm>
        </p:spPr>
        <p:txBody>
          <a:bodyPr>
            <a:normAutofit fontScale="90000"/>
          </a:bodyPr>
          <a:lstStyle/>
          <a:p>
            <a:r>
              <a:rPr lang="en-US" altLang="ja-JP" dirty="0"/>
              <a:t>RF-Gun for 5 </a:t>
            </a:r>
            <a:r>
              <a:rPr lang="en-US" altLang="ja-JP" dirty="0" err="1"/>
              <a:t>nC</a:t>
            </a:r>
            <a:endParaRPr kumimoji="1" lang="ja-JP" altLang="en-US" dirty="0"/>
          </a:p>
        </p:txBody>
      </p:sp>
      <p:sp>
        <p:nvSpPr>
          <p:cNvPr id="3" name="コンテンツ プレースホルダ 2"/>
          <p:cNvSpPr>
            <a:spLocks noGrp="1"/>
          </p:cNvSpPr>
          <p:nvPr>
            <p:ph idx="1"/>
          </p:nvPr>
        </p:nvSpPr>
        <p:spPr>
          <a:xfrm>
            <a:off x="1523968" y="857233"/>
            <a:ext cx="8229600" cy="4525963"/>
          </a:xfrm>
        </p:spPr>
        <p:txBody>
          <a:bodyPr/>
          <a:lstStyle/>
          <a:p>
            <a:r>
              <a:rPr lang="en-US" altLang="ja-JP" dirty="0"/>
              <a:t>Space charge is dominant.</a:t>
            </a:r>
          </a:p>
          <a:p>
            <a:pPr lvl="1"/>
            <a:r>
              <a:rPr lang="en-US" altLang="ja-JP" dirty="0"/>
              <a:t>Longer pulse length : 20 - 30 </a:t>
            </a:r>
            <a:r>
              <a:rPr lang="en-US" altLang="ja-JP" dirty="0" err="1"/>
              <a:t>ps</a:t>
            </a:r>
            <a:endParaRPr lang="en-US" altLang="ja-JP" dirty="0"/>
          </a:p>
          <a:p>
            <a:r>
              <a:rPr lang="en-US" altLang="ja-JP" dirty="0"/>
              <a:t>S</a:t>
            </a:r>
            <a:r>
              <a:rPr kumimoji="1" lang="en-US" altLang="ja-JP" dirty="0"/>
              <a:t>table operation is required.</a:t>
            </a:r>
          </a:p>
          <a:p>
            <a:pPr lvl="1"/>
            <a:r>
              <a:rPr lang="en-US" altLang="ja-JP" dirty="0"/>
              <a:t>Lower electric field : &lt; 100MV/m</a:t>
            </a:r>
            <a:endParaRPr kumimoji="1" lang="en-US" altLang="ja-JP" dirty="0"/>
          </a:p>
          <a:p>
            <a:r>
              <a:rPr kumimoji="1" lang="en-US" altLang="ja-JP" dirty="0"/>
              <a:t>Focusing field must be</a:t>
            </a:r>
            <a:r>
              <a:rPr lang="en-US" altLang="ja-JP" dirty="0"/>
              <a:t> required.</a:t>
            </a:r>
          </a:p>
          <a:p>
            <a:pPr lvl="1"/>
            <a:r>
              <a:rPr kumimoji="1" lang="en-US" altLang="ja-JP" dirty="0"/>
              <a:t>Solenoid focus causes the </a:t>
            </a:r>
            <a:r>
              <a:rPr kumimoji="1" lang="en-US" altLang="ja-JP" dirty="0" err="1"/>
              <a:t>emittance</a:t>
            </a:r>
            <a:r>
              <a:rPr kumimoji="1" lang="en-US" altLang="ja-JP" dirty="0"/>
              <a:t> growth.</a:t>
            </a:r>
          </a:p>
          <a:p>
            <a:pPr lvl="1"/>
            <a:r>
              <a:rPr lang="en-US" altLang="ja-JP" b="1" dirty="0">
                <a:solidFill>
                  <a:srgbClr val="FF0000"/>
                </a:solidFill>
              </a:rPr>
              <a:t>Electric field focus preserve the </a:t>
            </a:r>
            <a:r>
              <a:rPr lang="en-US" altLang="ja-JP" b="1" dirty="0" err="1">
                <a:solidFill>
                  <a:srgbClr val="FF0000"/>
                </a:solidFill>
              </a:rPr>
              <a:t>emittance</a:t>
            </a:r>
            <a:r>
              <a:rPr lang="en-US" altLang="ja-JP" dirty="0"/>
              <a:t>.</a:t>
            </a:r>
            <a:endParaRPr kumimoji="1" lang="ja-JP" altLang="en-US" dirty="0"/>
          </a:p>
        </p:txBody>
      </p:sp>
      <p:pic>
        <p:nvPicPr>
          <p:cNvPr id="7171" name="Picture 3"/>
          <p:cNvPicPr>
            <a:picLocks noChangeAspect="1" noChangeArrowheads="1"/>
          </p:cNvPicPr>
          <p:nvPr/>
        </p:nvPicPr>
        <p:blipFill>
          <a:blip r:embed="rId2"/>
          <a:srcRect/>
          <a:stretch>
            <a:fillRect/>
          </a:stretch>
        </p:blipFill>
        <p:spPr bwMode="auto">
          <a:xfrm>
            <a:off x="7234274" y="500042"/>
            <a:ext cx="3433759" cy="3209276"/>
          </a:xfrm>
          <a:prstGeom prst="rect">
            <a:avLst/>
          </a:prstGeom>
          <a:noFill/>
          <a:ln w="9525">
            <a:noFill/>
            <a:miter lim="800000"/>
            <a:headEnd/>
            <a:tailEnd/>
          </a:ln>
          <a:effectLst/>
        </p:spPr>
      </p:pic>
      <p:cxnSp>
        <p:nvCxnSpPr>
          <p:cNvPr id="7" name="直線コネクタ 6"/>
          <p:cNvCxnSpPr/>
          <p:nvPr/>
        </p:nvCxnSpPr>
        <p:spPr>
          <a:xfrm flipV="1">
            <a:off x="8800056" y="1560236"/>
            <a:ext cx="795" cy="1730769"/>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テキスト ボックス 9"/>
          <p:cNvSpPr txBox="1"/>
          <p:nvPr/>
        </p:nvSpPr>
        <p:spPr>
          <a:xfrm>
            <a:off x="9382149" y="2213760"/>
            <a:ext cx="635815" cy="369332"/>
          </a:xfrm>
          <a:prstGeom prst="rect">
            <a:avLst/>
          </a:prstGeom>
          <a:noFill/>
        </p:spPr>
        <p:txBody>
          <a:bodyPr wrap="none" rtlCol="0">
            <a:spAutoFit/>
          </a:bodyPr>
          <a:lstStyle/>
          <a:p>
            <a:pPr defTabSz="457200"/>
            <a:r>
              <a:rPr lang="en-US" altLang="ja-JP" dirty="0">
                <a:solidFill>
                  <a:srgbClr val="FFFF00"/>
                </a:solidFill>
                <a:latin typeface="Calibri"/>
                <a:ea typeface="ＭＳ Ｐゴシック" panose="020B0600070205080204" pitchFamily="34" charset="-128"/>
              </a:rPr>
              <a:t>Total</a:t>
            </a:r>
            <a:endParaRPr lang="ja-JP" altLang="en-US" dirty="0">
              <a:solidFill>
                <a:srgbClr val="FFFF00"/>
              </a:solidFill>
              <a:latin typeface="Calibri"/>
              <a:ea typeface="ＭＳ Ｐゴシック" panose="020B0600070205080204" pitchFamily="34" charset="-128"/>
            </a:endParaRPr>
          </a:p>
        </p:txBody>
      </p:sp>
      <p:sp>
        <p:nvSpPr>
          <p:cNvPr id="11" name="テキスト ボックス 10"/>
          <p:cNvSpPr txBox="1"/>
          <p:nvPr/>
        </p:nvSpPr>
        <p:spPr>
          <a:xfrm>
            <a:off x="8953520" y="2642388"/>
            <a:ext cx="1418722" cy="369332"/>
          </a:xfrm>
          <a:prstGeom prst="rect">
            <a:avLst/>
          </a:prstGeom>
          <a:noFill/>
        </p:spPr>
        <p:txBody>
          <a:bodyPr wrap="none" rtlCol="0">
            <a:spAutoFit/>
          </a:bodyPr>
          <a:lstStyle/>
          <a:p>
            <a:pPr defTabSz="457200"/>
            <a:r>
              <a:rPr kumimoji="0" lang="en-US" altLang="ja-JP" dirty="0">
                <a:solidFill>
                  <a:srgbClr val="FF00FF"/>
                </a:solidFill>
                <a:latin typeface="Calibri"/>
                <a:ea typeface="ＭＳ Ｐゴシック" panose="020B0600070205080204" pitchFamily="34" charset="-128"/>
              </a:rPr>
              <a:t>Space charge</a:t>
            </a:r>
            <a:endParaRPr lang="ja-JP" altLang="en-US" dirty="0">
              <a:solidFill>
                <a:srgbClr val="FF00FF"/>
              </a:solidFill>
              <a:latin typeface="Calibri"/>
              <a:ea typeface="ＭＳ Ｐゴシック" panose="020B0600070205080204" pitchFamily="34" charset="-128"/>
            </a:endParaRPr>
          </a:p>
        </p:txBody>
      </p:sp>
      <p:sp>
        <p:nvSpPr>
          <p:cNvPr id="12" name="テキスト ボックス 11"/>
          <p:cNvSpPr txBox="1"/>
          <p:nvPr/>
        </p:nvSpPr>
        <p:spPr>
          <a:xfrm>
            <a:off x="9096396" y="2856702"/>
            <a:ext cx="415498" cy="369332"/>
          </a:xfrm>
          <a:prstGeom prst="rect">
            <a:avLst/>
          </a:prstGeom>
          <a:noFill/>
        </p:spPr>
        <p:txBody>
          <a:bodyPr wrap="none" rtlCol="0">
            <a:spAutoFit/>
          </a:bodyPr>
          <a:lstStyle/>
          <a:p>
            <a:pPr defTabSz="457200"/>
            <a:r>
              <a:rPr lang="en-US" altLang="ja-JP" dirty="0">
                <a:solidFill>
                  <a:srgbClr val="002060"/>
                </a:solidFill>
                <a:latin typeface="Calibri"/>
                <a:ea typeface="ＭＳ Ｐゴシック" panose="020B0600070205080204" pitchFamily="34" charset="-128"/>
              </a:rPr>
              <a:t>RF</a:t>
            </a:r>
            <a:endParaRPr lang="ja-JP" altLang="en-US" dirty="0">
              <a:solidFill>
                <a:srgbClr val="002060"/>
              </a:solidFill>
              <a:latin typeface="Calibri"/>
              <a:ea typeface="ＭＳ Ｐゴシック" panose="020B0600070205080204" pitchFamily="34" charset="-128"/>
            </a:endParaRPr>
          </a:p>
        </p:txBody>
      </p:sp>
      <p:sp>
        <p:nvSpPr>
          <p:cNvPr id="13" name="下矢印 12"/>
          <p:cNvSpPr/>
          <p:nvPr/>
        </p:nvSpPr>
        <p:spPr>
          <a:xfrm>
            <a:off x="5167306" y="4786322"/>
            <a:ext cx="714380" cy="428628"/>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ja-JP" altLang="en-US">
              <a:solidFill>
                <a:prstClr val="white"/>
              </a:solidFill>
              <a:latin typeface="Calibri"/>
              <a:ea typeface="ＭＳ Ｐゴシック" panose="020B0600070205080204" pitchFamily="34" charset="-128"/>
            </a:endParaRPr>
          </a:p>
        </p:txBody>
      </p:sp>
      <p:sp>
        <p:nvSpPr>
          <p:cNvPr id="14" name="テキスト ボックス 13"/>
          <p:cNvSpPr txBox="1"/>
          <p:nvPr/>
        </p:nvSpPr>
        <p:spPr>
          <a:xfrm>
            <a:off x="1809720" y="5357827"/>
            <a:ext cx="8576322" cy="954107"/>
          </a:xfrm>
          <a:prstGeom prst="rect">
            <a:avLst/>
          </a:prstGeom>
          <a:noFill/>
        </p:spPr>
        <p:txBody>
          <a:bodyPr wrap="none" rtlCol="0">
            <a:spAutoFit/>
          </a:bodyPr>
          <a:lstStyle/>
          <a:p>
            <a:pPr defTabSz="457200"/>
            <a:r>
              <a:rPr kumimoji="0" lang="en-US" altLang="ja-JP" sz="2800" dirty="0" err="1">
                <a:solidFill>
                  <a:prstClr val="black"/>
                </a:solidFill>
                <a:latin typeface="Calibri"/>
                <a:ea typeface="ＭＳ Ｐゴシック" panose="020B0600070205080204" pitchFamily="34" charset="-128"/>
              </a:rPr>
              <a:t>Epaxial</a:t>
            </a:r>
            <a:r>
              <a:rPr kumimoji="0" lang="en-US" altLang="ja-JP" sz="2800" dirty="0">
                <a:solidFill>
                  <a:prstClr val="black"/>
                </a:solidFill>
                <a:latin typeface="Calibri"/>
                <a:ea typeface="ＭＳ Ｐゴシック" panose="020B0600070205080204" pitchFamily="34" charset="-128"/>
              </a:rPr>
              <a:t> coupled cavity     :   BNL </a:t>
            </a:r>
          </a:p>
          <a:p>
            <a:pPr defTabSz="457200"/>
            <a:r>
              <a:rPr kumimoji="0" lang="en-US" altLang="ja-JP" sz="2800" b="1" u="sng" dirty="0">
                <a:solidFill>
                  <a:srgbClr val="FF0000"/>
                </a:solidFill>
                <a:latin typeface="Calibri"/>
                <a:ea typeface="ＭＳ Ｐゴシック" panose="020B0600070205080204" pitchFamily="34" charset="-128"/>
              </a:rPr>
              <a:t>Annular coupled cavity  :   Disk and washer / Side couple</a:t>
            </a:r>
            <a:endParaRPr lang="ja-JP" altLang="en-US" sz="2800" b="1" u="sng" dirty="0">
              <a:solidFill>
                <a:srgbClr val="FF0000"/>
              </a:solidFill>
              <a:latin typeface="Calibri"/>
              <a:ea typeface="ＭＳ Ｐゴシック" panose="020B0600070205080204" pitchFamily="34" charset="-128"/>
            </a:endParaRPr>
          </a:p>
        </p:txBody>
      </p:sp>
      <p:cxnSp>
        <p:nvCxnSpPr>
          <p:cNvPr id="16" name="直線コネクタ 15"/>
          <p:cNvCxnSpPr/>
          <p:nvPr/>
        </p:nvCxnSpPr>
        <p:spPr>
          <a:xfrm>
            <a:off x="2595538" y="5286388"/>
            <a:ext cx="1857388" cy="64294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flipV="1">
            <a:off x="2666976" y="5286388"/>
            <a:ext cx="1785950" cy="57150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69767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srcRect/>
          <a:stretch>
            <a:fillRect/>
          </a:stretch>
        </p:blipFill>
        <p:spPr bwMode="auto">
          <a:xfrm>
            <a:off x="2286000" y="1219200"/>
            <a:ext cx="7391400" cy="5168900"/>
          </a:xfrm>
          <a:prstGeom prst="rect">
            <a:avLst/>
          </a:prstGeom>
          <a:noFill/>
          <a:ln w="9525">
            <a:noFill/>
            <a:miter lim="800000"/>
            <a:headEnd/>
            <a:tailEnd/>
          </a:ln>
          <a:effectLst/>
        </p:spPr>
      </p:pic>
      <p:sp>
        <p:nvSpPr>
          <p:cNvPr id="5123" name="Rectangle 3"/>
          <p:cNvSpPr>
            <a:spLocks noGrp="1" noChangeArrowheads="1"/>
          </p:cNvSpPr>
          <p:nvPr>
            <p:ph type="title"/>
          </p:nvPr>
        </p:nvSpPr>
        <p:spPr>
          <a:xfrm>
            <a:off x="2209800" y="152400"/>
            <a:ext cx="7772400" cy="457200"/>
          </a:xfrm>
        </p:spPr>
        <p:txBody>
          <a:bodyPr>
            <a:normAutofit fontScale="90000"/>
          </a:bodyPr>
          <a:lstStyle/>
          <a:p>
            <a:r>
              <a:rPr lang="en-US" altLang="ja-JP" sz="3200" dirty="0"/>
              <a:t>Required laser pulse energy</a:t>
            </a:r>
            <a:endParaRPr lang="ja-JP" altLang="en-US" sz="3200" dirty="0"/>
          </a:p>
        </p:txBody>
      </p:sp>
      <p:sp>
        <p:nvSpPr>
          <p:cNvPr id="5124" name="Line 4"/>
          <p:cNvSpPr>
            <a:spLocks noChangeShapeType="1"/>
          </p:cNvSpPr>
          <p:nvPr/>
        </p:nvSpPr>
        <p:spPr bwMode="auto">
          <a:xfrm>
            <a:off x="3276600" y="3429000"/>
            <a:ext cx="5867400" cy="0"/>
          </a:xfrm>
          <a:prstGeom prst="line">
            <a:avLst/>
          </a:prstGeom>
          <a:noFill/>
          <a:ln w="28575">
            <a:solidFill>
              <a:srgbClr val="FF0000"/>
            </a:solidFill>
            <a:round/>
            <a:headEnd/>
            <a:tailEnd/>
          </a:ln>
          <a:effectLst/>
        </p:spPr>
        <p:txBody>
          <a:bodyPr/>
          <a:lstStyle/>
          <a:p>
            <a:endParaRPr lang="ja-JP" altLang="en-US">
              <a:solidFill>
                <a:prstClr val="black"/>
              </a:solidFill>
            </a:endParaRPr>
          </a:p>
        </p:txBody>
      </p:sp>
      <p:sp>
        <p:nvSpPr>
          <p:cNvPr id="5125" name="Text Box 5"/>
          <p:cNvSpPr txBox="1">
            <a:spLocks noChangeArrowheads="1"/>
          </p:cNvSpPr>
          <p:nvPr/>
        </p:nvSpPr>
        <p:spPr bwMode="auto">
          <a:xfrm>
            <a:off x="9145588" y="3200401"/>
            <a:ext cx="608012" cy="396875"/>
          </a:xfrm>
          <a:prstGeom prst="rect">
            <a:avLst/>
          </a:prstGeom>
          <a:noFill/>
          <a:ln w="9525">
            <a:noFill/>
            <a:miter lim="800000"/>
            <a:headEnd/>
            <a:tailEnd/>
          </a:ln>
          <a:effectLst/>
        </p:spPr>
        <p:txBody>
          <a:bodyPr wrap="none">
            <a:spAutoFit/>
          </a:bodyPr>
          <a:lstStyle/>
          <a:p>
            <a:r>
              <a:rPr lang="en-US" altLang="ja-JP" sz="2000">
                <a:solidFill>
                  <a:prstClr val="black"/>
                </a:solidFill>
              </a:rPr>
              <a:t>5nC</a:t>
            </a:r>
          </a:p>
        </p:txBody>
      </p:sp>
      <p:sp>
        <p:nvSpPr>
          <p:cNvPr id="5129" name="Text Box 9"/>
          <p:cNvSpPr txBox="1">
            <a:spLocks noChangeArrowheads="1"/>
          </p:cNvSpPr>
          <p:nvPr/>
        </p:nvSpPr>
        <p:spPr bwMode="auto">
          <a:xfrm>
            <a:off x="5692422" y="1588855"/>
            <a:ext cx="648960" cy="338554"/>
          </a:xfrm>
          <a:prstGeom prst="rect">
            <a:avLst/>
          </a:prstGeom>
          <a:noFill/>
          <a:ln w="9525">
            <a:noFill/>
            <a:miter lim="800000"/>
            <a:headEnd/>
            <a:tailEnd/>
          </a:ln>
          <a:effectLst/>
        </p:spPr>
        <p:txBody>
          <a:bodyPr wrap="none">
            <a:spAutoFit/>
          </a:bodyPr>
          <a:lstStyle/>
          <a:p>
            <a:r>
              <a:rPr lang="en-US" altLang="ja-JP" sz="1600" dirty="0">
                <a:solidFill>
                  <a:prstClr val="black"/>
                </a:solidFill>
              </a:rPr>
              <a:t>Ce</a:t>
            </a:r>
            <a:r>
              <a:rPr lang="en-US" altLang="ja-JP" sz="1600" baseline="-25000" dirty="0">
                <a:solidFill>
                  <a:prstClr val="black"/>
                </a:solidFill>
              </a:rPr>
              <a:t>2</a:t>
            </a:r>
            <a:r>
              <a:rPr lang="en-US" altLang="ja-JP" sz="1600" dirty="0">
                <a:solidFill>
                  <a:prstClr val="black"/>
                </a:solidFill>
              </a:rPr>
              <a:t>Te</a:t>
            </a:r>
            <a:endParaRPr lang="ja-JP" altLang="en-US" sz="1600" dirty="0">
              <a:solidFill>
                <a:prstClr val="black"/>
              </a:solidFill>
            </a:endParaRPr>
          </a:p>
        </p:txBody>
      </p:sp>
      <p:sp>
        <p:nvSpPr>
          <p:cNvPr id="5131" name="Text Box 11"/>
          <p:cNvSpPr txBox="1">
            <a:spLocks noChangeArrowheads="1"/>
          </p:cNvSpPr>
          <p:nvPr/>
        </p:nvSpPr>
        <p:spPr bwMode="auto">
          <a:xfrm>
            <a:off x="3649663" y="4083050"/>
            <a:ext cx="481222" cy="338554"/>
          </a:xfrm>
          <a:prstGeom prst="rect">
            <a:avLst/>
          </a:prstGeom>
          <a:noFill/>
          <a:ln w="9525">
            <a:noFill/>
            <a:miter lim="800000"/>
            <a:headEnd/>
            <a:tailEnd/>
          </a:ln>
          <a:effectLst/>
        </p:spPr>
        <p:txBody>
          <a:bodyPr wrap="none">
            <a:spAutoFit/>
          </a:bodyPr>
          <a:lstStyle/>
          <a:p>
            <a:r>
              <a:rPr lang="en-US" altLang="ja-JP" sz="1600" dirty="0">
                <a:solidFill>
                  <a:prstClr val="black"/>
                </a:solidFill>
              </a:rPr>
              <a:t>ATF</a:t>
            </a:r>
            <a:endParaRPr lang="ja-JP" altLang="en-US" sz="1600" dirty="0">
              <a:solidFill>
                <a:prstClr val="black"/>
              </a:solidFill>
            </a:endParaRPr>
          </a:p>
        </p:txBody>
      </p:sp>
      <p:sp>
        <p:nvSpPr>
          <p:cNvPr id="5132" name="Oval 12"/>
          <p:cNvSpPr>
            <a:spLocks noChangeArrowheads="1"/>
          </p:cNvSpPr>
          <p:nvPr/>
        </p:nvSpPr>
        <p:spPr bwMode="auto">
          <a:xfrm>
            <a:off x="6553200" y="3276600"/>
            <a:ext cx="304800" cy="304800"/>
          </a:xfrm>
          <a:prstGeom prst="ellipse">
            <a:avLst/>
          </a:prstGeom>
          <a:noFill/>
          <a:ln w="38100">
            <a:solidFill>
              <a:srgbClr val="FF0000"/>
            </a:solidFill>
            <a:round/>
            <a:headEnd/>
            <a:tailEnd/>
          </a:ln>
          <a:effectLst/>
        </p:spPr>
        <p:txBody>
          <a:bodyPr wrap="none" anchor="ctr"/>
          <a:lstStyle/>
          <a:p>
            <a:endParaRPr lang="ja-JP" altLang="en-US">
              <a:solidFill>
                <a:prstClr val="black"/>
              </a:solidFill>
            </a:endParaRPr>
          </a:p>
        </p:txBody>
      </p:sp>
      <p:sp>
        <p:nvSpPr>
          <p:cNvPr id="5133" name="Oval 13"/>
          <p:cNvSpPr>
            <a:spLocks noChangeArrowheads="1"/>
          </p:cNvSpPr>
          <p:nvPr/>
        </p:nvSpPr>
        <p:spPr bwMode="auto">
          <a:xfrm>
            <a:off x="6677025" y="4248150"/>
            <a:ext cx="304800" cy="304800"/>
          </a:xfrm>
          <a:prstGeom prst="ellipse">
            <a:avLst/>
          </a:prstGeom>
          <a:noFill/>
          <a:ln w="38100">
            <a:solidFill>
              <a:srgbClr val="FF0000"/>
            </a:solidFill>
            <a:round/>
            <a:headEnd/>
            <a:tailEnd/>
          </a:ln>
          <a:effectLst/>
        </p:spPr>
        <p:txBody>
          <a:bodyPr wrap="none" anchor="ctr"/>
          <a:lstStyle/>
          <a:p>
            <a:endParaRPr lang="ja-JP" altLang="en-US">
              <a:solidFill>
                <a:prstClr val="black"/>
              </a:solidFill>
            </a:endParaRPr>
          </a:p>
        </p:txBody>
      </p:sp>
      <p:sp>
        <p:nvSpPr>
          <p:cNvPr id="5134" name="Text Box 14"/>
          <p:cNvSpPr txBox="1">
            <a:spLocks noChangeArrowheads="1"/>
          </p:cNvSpPr>
          <p:nvPr/>
        </p:nvSpPr>
        <p:spPr bwMode="auto">
          <a:xfrm>
            <a:off x="5257801" y="2667001"/>
            <a:ext cx="1957395" cy="584775"/>
          </a:xfrm>
          <a:prstGeom prst="rect">
            <a:avLst/>
          </a:prstGeom>
          <a:noFill/>
          <a:ln w="9525">
            <a:noFill/>
            <a:miter lim="800000"/>
            <a:headEnd/>
            <a:tailEnd/>
          </a:ln>
          <a:effectLst/>
        </p:spPr>
        <p:txBody>
          <a:bodyPr wrap="none">
            <a:spAutoFit/>
          </a:bodyPr>
          <a:lstStyle/>
          <a:p>
            <a:r>
              <a:rPr lang="en-US" altLang="ja-JP" sz="1600" dirty="0">
                <a:solidFill>
                  <a:srgbClr val="FF0000"/>
                </a:solidFill>
              </a:rPr>
              <a:t>Offline measurement</a:t>
            </a:r>
            <a:endParaRPr lang="ja-JP" altLang="en-US" sz="1600" dirty="0">
              <a:solidFill>
                <a:srgbClr val="FF0000"/>
              </a:solidFill>
            </a:endParaRPr>
          </a:p>
          <a:p>
            <a:r>
              <a:rPr lang="en-US" altLang="ja-JP" sz="1600" dirty="0">
                <a:solidFill>
                  <a:srgbClr val="FF0000"/>
                </a:solidFill>
              </a:rPr>
              <a:t>P-polarization</a:t>
            </a:r>
            <a:endParaRPr lang="ja-JP" altLang="en-US" sz="1600" dirty="0">
              <a:solidFill>
                <a:srgbClr val="FF0000"/>
              </a:solidFill>
            </a:endParaRPr>
          </a:p>
        </p:txBody>
      </p:sp>
      <p:sp>
        <p:nvSpPr>
          <p:cNvPr id="5135" name="Text Box 15"/>
          <p:cNvSpPr txBox="1">
            <a:spLocks noChangeArrowheads="1"/>
          </p:cNvSpPr>
          <p:nvPr/>
        </p:nvSpPr>
        <p:spPr bwMode="auto">
          <a:xfrm>
            <a:off x="6445251" y="2209801"/>
            <a:ext cx="1957395" cy="584775"/>
          </a:xfrm>
          <a:prstGeom prst="rect">
            <a:avLst/>
          </a:prstGeom>
          <a:noFill/>
          <a:ln w="9525">
            <a:noFill/>
            <a:miter lim="800000"/>
            <a:headEnd/>
            <a:tailEnd/>
          </a:ln>
          <a:effectLst/>
        </p:spPr>
        <p:txBody>
          <a:bodyPr wrap="none">
            <a:spAutoFit/>
          </a:bodyPr>
          <a:lstStyle/>
          <a:p>
            <a:r>
              <a:rPr lang="en-US" altLang="ja-JP" sz="1600" dirty="0">
                <a:solidFill>
                  <a:srgbClr val="ED7D31"/>
                </a:solidFill>
              </a:rPr>
              <a:t>Offline measurement</a:t>
            </a:r>
            <a:endParaRPr lang="ja-JP" altLang="en-US" sz="1600" dirty="0">
              <a:solidFill>
                <a:srgbClr val="ED7D31"/>
              </a:solidFill>
            </a:endParaRPr>
          </a:p>
          <a:p>
            <a:r>
              <a:rPr lang="en-US" altLang="ja-JP" sz="1600" dirty="0">
                <a:solidFill>
                  <a:srgbClr val="ED7D31"/>
                </a:solidFill>
              </a:rPr>
              <a:t>S-polarization</a:t>
            </a:r>
            <a:endParaRPr lang="ja-JP" altLang="en-US" sz="1600" dirty="0">
              <a:solidFill>
                <a:srgbClr val="ED7D31"/>
              </a:solidFill>
            </a:endParaRPr>
          </a:p>
        </p:txBody>
      </p:sp>
      <p:sp>
        <p:nvSpPr>
          <p:cNvPr id="5136" name="Text Box 16"/>
          <p:cNvSpPr txBox="1">
            <a:spLocks noChangeArrowheads="1"/>
          </p:cNvSpPr>
          <p:nvPr/>
        </p:nvSpPr>
        <p:spPr bwMode="auto">
          <a:xfrm>
            <a:off x="6934200" y="4191000"/>
            <a:ext cx="2329484" cy="338554"/>
          </a:xfrm>
          <a:prstGeom prst="rect">
            <a:avLst/>
          </a:prstGeom>
          <a:noFill/>
          <a:ln w="9525">
            <a:noFill/>
            <a:miter lim="800000"/>
            <a:headEnd/>
            <a:tailEnd/>
          </a:ln>
          <a:effectLst/>
        </p:spPr>
        <p:txBody>
          <a:bodyPr wrap="none">
            <a:spAutoFit/>
          </a:bodyPr>
          <a:lstStyle/>
          <a:p>
            <a:r>
              <a:rPr lang="en-US" altLang="ja-JP" sz="1600" dirty="0">
                <a:solidFill>
                  <a:srgbClr val="5B9BD5"/>
                </a:solidFill>
              </a:rPr>
              <a:t>Normal injection (old 3-2)</a:t>
            </a:r>
          </a:p>
        </p:txBody>
      </p:sp>
      <p:sp>
        <p:nvSpPr>
          <p:cNvPr id="5137" name="Oval 17"/>
          <p:cNvSpPr>
            <a:spLocks noChangeArrowheads="1"/>
          </p:cNvSpPr>
          <p:nvPr/>
        </p:nvSpPr>
        <p:spPr bwMode="auto">
          <a:xfrm>
            <a:off x="4114800" y="4267200"/>
            <a:ext cx="304800" cy="304800"/>
          </a:xfrm>
          <a:prstGeom prst="ellipse">
            <a:avLst/>
          </a:prstGeom>
          <a:noFill/>
          <a:ln w="38100">
            <a:solidFill>
              <a:schemeClr val="accent2"/>
            </a:solidFill>
            <a:round/>
            <a:headEnd/>
            <a:tailEnd/>
          </a:ln>
          <a:effectLst/>
        </p:spPr>
        <p:txBody>
          <a:bodyPr wrap="none" anchor="ctr"/>
          <a:lstStyle/>
          <a:p>
            <a:endParaRPr lang="ja-JP" altLang="en-US">
              <a:solidFill>
                <a:prstClr val="black"/>
              </a:solidFill>
            </a:endParaRPr>
          </a:p>
        </p:txBody>
      </p:sp>
      <p:sp>
        <p:nvSpPr>
          <p:cNvPr id="5138" name="Oval 18"/>
          <p:cNvSpPr>
            <a:spLocks noChangeArrowheads="1"/>
          </p:cNvSpPr>
          <p:nvPr/>
        </p:nvSpPr>
        <p:spPr bwMode="auto">
          <a:xfrm>
            <a:off x="5105400" y="3276600"/>
            <a:ext cx="304800" cy="304800"/>
          </a:xfrm>
          <a:prstGeom prst="ellipse">
            <a:avLst/>
          </a:prstGeom>
          <a:noFill/>
          <a:ln w="38100">
            <a:solidFill>
              <a:srgbClr val="00FF00"/>
            </a:solidFill>
            <a:round/>
            <a:headEnd/>
            <a:tailEnd/>
          </a:ln>
          <a:effectLst/>
        </p:spPr>
        <p:txBody>
          <a:bodyPr wrap="none" anchor="ctr"/>
          <a:lstStyle/>
          <a:p>
            <a:endParaRPr lang="ja-JP" altLang="en-US">
              <a:solidFill>
                <a:prstClr val="black"/>
              </a:solidFill>
            </a:endParaRPr>
          </a:p>
        </p:txBody>
      </p:sp>
      <p:sp>
        <p:nvSpPr>
          <p:cNvPr id="5139" name="Line 19"/>
          <p:cNvSpPr>
            <a:spLocks noChangeShapeType="1"/>
          </p:cNvSpPr>
          <p:nvPr/>
        </p:nvSpPr>
        <p:spPr bwMode="auto">
          <a:xfrm flipV="1">
            <a:off x="7259638" y="1143000"/>
            <a:ext cx="0" cy="4800600"/>
          </a:xfrm>
          <a:prstGeom prst="line">
            <a:avLst/>
          </a:prstGeom>
          <a:noFill/>
          <a:ln w="28575">
            <a:solidFill>
              <a:srgbClr val="00FF00"/>
            </a:solidFill>
            <a:round/>
            <a:headEnd/>
            <a:tailEnd/>
          </a:ln>
          <a:effectLst/>
        </p:spPr>
        <p:txBody>
          <a:bodyPr/>
          <a:lstStyle/>
          <a:p>
            <a:endParaRPr lang="ja-JP" altLang="en-US">
              <a:solidFill>
                <a:prstClr val="black"/>
              </a:solidFill>
            </a:endParaRPr>
          </a:p>
        </p:txBody>
      </p:sp>
      <p:sp>
        <p:nvSpPr>
          <p:cNvPr id="5142" name="Line 22"/>
          <p:cNvSpPr>
            <a:spLocks noChangeShapeType="1"/>
          </p:cNvSpPr>
          <p:nvPr/>
        </p:nvSpPr>
        <p:spPr bwMode="auto">
          <a:xfrm flipH="1">
            <a:off x="4724400" y="1600200"/>
            <a:ext cx="4419600" cy="4267200"/>
          </a:xfrm>
          <a:prstGeom prst="line">
            <a:avLst/>
          </a:prstGeom>
          <a:noFill/>
          <a:ln w="28575">
            <a:solidFill>
              <a:srgbClr val="00FF00"/>
            </a:solidFill>
            <a:round/>
            <a:headEnd/>
            <a:tailEnd/>
          </a:ln>
          <a:effectLst/>
        </p:spPr>
        <p:txBody>
          <a:bodyPr/>
          <a:lstStyle/>
          <a:p>
            <a:endParaRPr lang="ja-JP" altLang="en-US">
              <a:solidFill>
                <a:prstClr val="black"/>
              </a:solidFill>
            </a:endParaRPr>
          </a:p>
        </p:txBody>
      </p:sp>
      <p:sp>
        <p:nvSpPr>
          <p:cNvPr id="5143" name="AutoShape 23"/>
          <p:cNvSpPr>
            <a:spLocks noChangeArrowheads="1"/>
          </p:cNvSpPr>
          <p:nvPr/>
        </p:nvSpPr>
        <p:spPr bwMode="auto">
          <a:xfrm rot="5416299">
            <a:off x="7334250" y="4991100"/>
            <a:ext cx="228600" cy="304800"/>
          </a:xfrm>
          <a:prstGeom prst="upArrow">
            <a:avLst>
              <a:gd name="adj1" fmla="val 50000"/>
              <a:gd name="adj2" fmla="val 33333"/>
            </a:avLst>
          </a:prstGeom>
          <a:solidFill>
            <a:schemeClr val="accent1"/>
          </a:solidFill>
          <a:ln w="9525">
            <a:solidFill>
              <a:schemeClr val="tx1"/>
            </a:solidFill>
            <a:miter lim="800000"/>
            <a:headEnd/>
            <a:tailEnd/>
          </a:ln>
          <a:effectLst/>
        </p:spPr>
        <p:txBody>
          <a:bodyPr vert="eaVert" wrap="none" anchor="ctr"/>
          <a:lstStyle/>
          <a:p>
            <a:endParaRPr lang="ja-JP" altLang="en-US">
              <a:solidFill>
                <a:prstClr val="black"/>
              </a:solidFill>
            </a:endParaRPr>
          </a:p>
        </p:txBody>
      </p:sp>
      <p:sp>
        <p:nvSpPr>
          <p:cNvPr id="5144" name="Text Box 24"/>
          <p:cNvSpPr txBox="1">
            <a:spLocks noChangeArrowheads="1"/>
          </p:cNvSpPr>
          <p:nvPr/>
        </p:nvSpPr>
        <p:spPr bwMode="auto">
          <a:xfrm>
            <a:off x="4943873" y="4005064"/>
            <a:ext cx="1611339" cy="338554"/>
          </a:xfrm>
          <a:prstGeom prst="rect">
            <a:avLst/>
          </a:prstGeom>
          <a:noFill/>
          <a:ln w="9525">
            <a:noFill/>
            <a:miter lim="800000"/>
            <a:headEnd/>
            <a:tailEnd/>
          </a:ln>
          <a:effectLst/>
        </p:spPr>
        <p:txBody>
          <a:bodyPr wrap="none">
            <a:spAutoFit/>
          </a:bodyPr>
          <a:lstStyle/>
          <a:p>
            <a:r>
              <a:rPr lang="en-US" altLang="ja-JP" sz="1600" dirty="0">
                <a:solidFill>
                  <a:srgbClr val="5B9BD5"/>
                </a:solidFill>
              </a:rPr>
              <a:t>Inclined injection</a:t>
            </a:r>
            <a:endParaRPr lang="ja-JP" altLang="en-US" sz="1600" dirty="0">
              <a:solidFill>
                <a:srgbClr val="5B9BD5"/>
              </a:solidFill>
            </a:endParaRPr>
          </a:p>
        </p:txBody>
      </p:sp>
      <p:sp>
        <p:nvSpPr>
          <p:cNvPr id="5145" name="Text Box 25"/>
          <p:cNvSpPr txBox="1">
            <a:spLocks noChangeArrowheads="1"/>
          </p:cNvSpPr>
          <p:nvPr/>
        </p:nvSpPr>
        <p:spPr bwMode="auto">
          <a:xfrm>
            <a:off x="1676401" y="1600200"/>
            <a:ext cx="1210331" cy="369332"/>
          </a:xfrm>
          <a:prstGeom prst="rect">
            <a:avLst/>
          </a:prstGeom>
          <a:noFill/>
          <a:ln w="9525">
            <a:noFill/>
            <a:miter lim="800000"/>
            <a:headEnd/>
            <a:tailEnd/>
          </a:ln>
          <a:effectLst/>
        </p:spPr>
        <p:txBody>
          <a:bodyPr wrap="none">
            <a:spAutoFit/>
          </a:bodyPr>
          <a:lstStyle/>
          <a:p>
            <a:r>
              <a:rPr lang="en-US" altLang="ja-JP">
                <a:solidFill>
                  <a:prstClr val="black"/>
                </a:solidFill>
              </a:rPr>
              <a:t>Charge( C )</a:t>
            </a:r>
          </a:p>
        </p:txBody>
      </p:sp>
      <p:sp>
        <p:nvSpPr>
          <p:cNvPr id="5146" name="Text Box 26"/>
          <p:cNvSpPr txBox="1">
            <a:spLocks noChangeArrowheads="1"/>
          </p:cNvSpPr>
          <p:nvPr/>
        </p:nvSpPr>
        <p:spPr bwMode="auto">
          <a:xfrm>
            <a:off x="5181601" y="6248400"/>
            <a:ext cx="1706173" cy="369332"/>
          </a:xfrm>
          <a:prstGeom prst="rect">
            <a:avLst/>
          </a:prstGeom>
          <a:noFill/>
          <a:ln w="9525">
            <a:noFill/>
            <a:miter lim="800000"/>
            <a:headEnd/>
            <a:tailEnd/>
          </a:ln>
          <a:effectLst/>
        </p:spPr>
        <p:txBody>
          <a:bodyPr wrap="none">
            <a:spAutoFit/>
          </a:bodyPr>
          <a:lstStyle/>
          <a:p>
            <a:r>
              <a:rPr lang="en-US" altLang="ja-JP">
                <a:solidFill>
                  <a:prstClr val="black"/>
                </a:solidFill>
              </a:rPr>
              <a:t>Laser power ( J )</a:t>
            </a:r>
          </a:p>
        </p:txBody>
      </p:sp>
      <p:sp>
        <p:nvSpPr>
          <p:cNvPr id="5147" name="Text Box 27"/>
          <p:cNvSpPr txBox="1">
            <a:spLocks noChangeArrowheads="1"/>
          </p:cNvSpPr>
          <p:nvPr/>
        </p:nvSpPr>
        <p:spPr bwMode="auto">
          <a:xfrm>
            <a:off x="5715001" y="1825625"/>
            <a:ext cx="926857" cy="369332"/>
          </a:xfrm>
          <a:prstGeom prst="rect">
            <a:avLst/>
          </a:prstGeom>
          <a:noFill/>
          <a:ln w="9525">
            <a:noFill/>
            <a:miter lim="800000"/>
            <a:headEnd/>
            <a:tailEnd/>
          </a:ln>
          <a:effectLst/>
        </p:spPr>
        <p:txBody>
          <a:bodyPr wrap="none">
            <a:spAutoFit/>
          </a:bodyPr>
          <a:lstStyle/>
          <a:p>
            <a:r>
              <a:rPr lang="en-US" altLang="ja-JP">
                <a:solidFill>
                  <a:srgbClr val="ED7D31"/>
                </a:solidFill>
              </a:rPr>
              <a:t>QE=10</a:t>
            </a:r>
            <a:r>
              <a:rPr lang="en-US" altLang="ja-JP" baseline="30000">
                <a:solidFill>
                  <a:srgbClr val="ED7D31"/>
                </a:solidFill>
              </a:rPr>
              <a:t>-3</a:t>
            </a:r>
          </a:p>
        </p:txBody>
      </p:sp>
      <p:sp>
        <p:nvSpPr>
          <p:cNvPr id="5148" name="Text Box 28"/>
          <p:cNvSpPr txBox="1">
            <a:spLocks noChangeArrowheads="1"/>
          </p:cNvSpPr>
          <p:nvPr/>
        </p:nvSpPr>
        <p:spPr bwMode="auto">
          <a:xfrm>
            <a:off x="7506133" y="1566518"/>
            <a:ext cx="926857" cy="369332"/>
          </a:xfrm>
          <a:prstGeom prst="rect">
            <a:avLst/>
          </a:prstGeom>
          <a:noFill/>
          <a:ln w="9525">
            <a:noFill/>
            <a:miter lim="800000"/>
            <a:headEnd/>
            <a:tailEnd/>
          </a:ln>
          <a:effectLst/>
        </p:spPr>
        <p:txBody>
          <a:bodyPr wrap="none">
            <a:spAutoFit/>
          </a:bodyPr>
          <a:lstStyle/>
          <a:p>
            <a:r>
              <a:rPr lang="en-US" altLang="ja-JP" dirty="0">
                <a:solidFill>
                  <a:srgbClr val="FF00FF"/>
                </a:solidFill>
              </a:rPr>
              <a:t>QE=10</a:t>
            </a:r>
            <a:r>
              <a:rPr lang="en-US" altLang="ja-JP" baseline="30000" dirty="0">
                <a:solidFill>
                  <a:srgbClr val="FF00FF"/>
                </a:solidFill>
              </a:rPr>
              <a:t>-4</a:t>
            </a:r>
          </a:p>
        </p:txBody>
      </p:sp>
      <p:sp>
        <p:nvSpPr>
          <p:cNvPr id="5149" name="Text Box 29"/>
          <p:cNvSpPr txBox="1">
            <a:spLocks noChangeArrowheads="1"/>
          </p:cNvSpPr>
          <p:nvPr/>
        </p:nvSpPr>
        <p:spPr bwMode="auto">
          <a:xfrm>
            <a:off x="8763001" y="2667000"/>
            <a:ext cx="926857" cy="369332"/>
          </a:xfrm>
          <a:prstGeom prst="rect">
            <a:avLst/>
          </a:prstGeom>
          <a:noFill/>
          <a:ln w="9525">
            <a:noFill/>
            <a:miter lim="800000"/>
            <a:headEnd/>
            <a:tailEnd/>
          </a:ln>
          <a:effectLst/>
        </p:spPr>
        <p:txBody>
          <a:bodyPr wrap="none">
            <a:spAutoFit/>
          </a:bodyPr>
          <a:lstStyle/>
          <a:p>
            <a:r>
              <a:rPr lang="en-US" altLang="ja-JP">
                <a:solidFill>
                  <a:srgbClr val="FFFF00"/>
                </a:solidFill>
              </a:rPr>
              <a:t>QE=10</a:t>
            </a:r>
            <a:r>
              <a:rPr lang="en-US" altLang="ja-JP" baseline="30000">
                <a:solidFill>
                  <a:srgbClr val="FFFF00"/>
                </a:solidFill>
              </a:rPr>
              <a:t>-5</a:t>
            </a:r>
          </a:p>
        </p:txBody>
      </p:sp>
      <p:sp>
        <p:nvSpPr>
          <p:cNvPr id="5150" name="Text Box 30"/>
          <p:cNvSpPr txBox="1">
            <a:spLocks noChangeArrowheads="1"/>
          </p:cNvSpPr>
          <p:nvPr/>
        </p:nvSpPr>
        <p:spPr bwMode="auto">
          <a:xfrm>
            <a:off x="5692423" y="620689"/>
            <a:ext cx="3650423" cy="461665"/>
          </a:xfrm>
          <a:prstGeom prst="rect">
            <a:avLst/>
          </a:prstGeom>
          <a:noFill/>
          <a:ln w="9525">
            <a:noFill/>
            <a:miter lim="800000"/>
            <a:headEnd/>
            <a:tailEnd/>
          </a:ln>
          <a:effectLst/>
        </p:spPr>
        <p:txBody>
          <a:bodyPr wrap="none">
            <a:spAutoFit/>
          </a:bodyPr>
          <a:lstStyle/>
          <a:p>
            <a:r>
              <a:rPr lang="en-US" altLang="ja-JP" sz="2400" dirty="0">
                <a:solidFill>
                  <a:prstClr val="black"/>
                </a:solidFill>
              </a:rPr>
              <a:t>Current laser energy(500μJ)</a:t>
            </a:r>
          </a:p>
        </p:txBody>
      </p:sp>
      <p:sp>
        <p:nvSpPr>
          <p:cNvPr id="5152" name="Oval 32"/>
          <p:cNvSpPr>
            <a:spLocks noChangeArrowheads="1"/>
          </p:cNvSpPr>
          <p:nvPr/>
        </p:nvSpPr>
        <p:spPr bwMode="auto">
          <a:xfrm>
            <a:off x="7010400" y="3276600"/>
            <a:ext cx="304800" cy="304800"/>
          </a:xfrm>
          <a:prstGeom prst="ellipse">
            <a:avLst/>
          </a:prstGeom>
          <a:noFill/>
          <a:ln w="38100">
            <a:solidFill>
              <a:schemeClr val="accent2"/>
            </a:solidFill>
            <a:round/>
            <a:headEnd/>
            <a:tailEnd/>
          </a:ln>
          <a:effectLst/>
        </p:spPr>
        <p:txBody>
          <a:bodyPr wrap="none" anchor="ctr"/>
          <a:lstStyle/>
          <a:p>
            <a:endParaRPr lang="ja-JP" altLang="en-US">
              <a:solidFill>
                <a:prstClr val="black"/>
              </a:solidFill>
            </a:endParaRPr>
          </a:p>
        </p:txBody>
      </p:sp>
      <p:sp>
        <p:nvSpPr>
          <p:cNvPr id="5153" name="Line 33"/>
          <p:cNvSpPr>
            <a:spLocks noChangeShapeType="1"/>
          </p:cNvSpPr>
          <p:nvPr/>
        </p:nvSpPr>
        <p:spPr bwMode="auto">
          <a:xfrm>
            <a:off x="6096000" y="2971800"/>
            <a:ext cx="457200" cy="533400"/>
          </a:xfrm>
          <a:prstGeom prst="line">
            <a:avLst/>
          </a:prstGeom>
          <a:noFill/>
          <a:ln w="9525">
            <a:solidFill>
              <a:srgbClr val="FF0000"/>
            </a:solidFill>
            <a:round/>
            <a:headEnd/>
            <a:tailEnd type="triangle" w="med" len="med"/>
          </a:ln>
          <a:effectLst/>
        </p:spPr>
        <p:txBody>
          <a:bodyPr/>
          <a:lstStyle/>
          <a:p>
            <a:endParaRPr lang="ja-JP" altLang="en-US">
              <a:solidFill>
                <a:prstClr val="black"/>
              </a:solidFill>
            </a:endParaRPr>
          </a:p>
        </p:txBody>
      </p:sp>
      <p:sp>
        <p:nvSpPr>
          <p:cNvPr id="5154" name="Line 34"/>
          <p:cNvSpPr>
            <a:spLocks noChangeShapeType="1"/>
          </p:cNvSpPr>
          <p:nvPr/>
        </p:nvSpPr>
        <p:spPr bwMode="auto">
          <a:xfrm>
            <a:off x="6934200" y="2743200"/>
            <a:ext cx="228600" cy="533400"/>
          </a:xfrm>
          <a:prstGeom prst="line">
            <a:avLst/>
          </a:prstGeom>
          <a:noFill/>
          <a:ln w="9525">
            <a:solidFill>
              <a:schemeClr val="accent2"/>
            </a:solidFill>
            <a:round/>
            <a:headEnd/>
            <a:tailEnd type="triangle" w="med" len="med"/>
          </a:ln>
          <a:effectLst/>
        </p:spPr>
        <p:txBody>
          <a:bodyPr/>
          <a:lstStyle/>
          <a:p>
            <a:endParaRPr lang="ja-JP" altLang="en-US">
              <a:solidFill>
                <a:prstClr val="black"/>
              </a:solidFill>
            </a:endParaRPr>
          </a:p>
        </p:txBody>
      </p:sp>
      <p:sp>
        <p:nvSpPr>
          <p:cNvPr id="5151" name="Oval 31"/>
          <p:cNvSpPr>
            <a:spLocks noChangeArrowheads="1"/>
          </p:cNvSpPr>
          <p:nvPr/>
        </p:nvSpPr>
        <p:spPr bwMode="auto">
          <a:xfrm>
            <a:off x="7131050" y="3276600"/>
            <a:ext cx="304800" cy="304800"/>
          </a:xfrm>
          <a:prstGeom prst="ellipse">
            <a:avLst/>
          </a:prstGeom>
          <a:solidFill>
            <a:srgbClr val="FF0000"/>
          </a:solidFill>
          <a:ln w="38100">
            <a:solidFill>
              <a:srgbClr val="00FF00"/>
            </a:solidFill>
            <a:round/>
            <a:headEnd/>
            <a:tailEnd/>
          </a:ln>
          <a:effectLst/>
        </p:spPr>
        <p:txBody>
          <a:bodyPr wrap="none" anchor="ctr"/>
          <a:lstStyle/>
          <a:p>
            <a:endParaRPr lang="ja-JP" altLang="en-US">
              <a:solidFill>
                <a:prstClr val="black"/>
              </a:solidFill>
            </a:endParaRPr>
          </a:p>
        </p:txBody>
      </p:sp>
      <p:sp>
        <p:nvSpPr>
          <p:cNvPr id="5155" name="Oval 35"/>
          <p:cNvSpPr>
            <a:spLocks noChangeArrowheads="1"/>
          </p:cNvSpPr>
          <p:nvPr/>
        </p:nvSpPr>
        <p:spPr bwMode="auto">
          <a:xfrm>
            <a:off x="6372225" y="3962400"/>
            <a:ext cx="304800" cy="304800"/>
          </a:xfrm>
          <a:prstGeom prst="ellipse">
            <a:avLst/>
          </a:prstGeom>
          <a:solidFill>
            <a:srgbClr val="FF0000"/>
          </a:solidFill>
          <a:ln w="38100">
            <a:solidFill>
              <a:srgbClr val="00FF00"/>
            </a:solidFill>
            <a:round/>
            <a:headEnd/>
            <a:tailEnd/>
          </a:ln>
          <a:effectLst/>
        </p:spPr>
        <p:txBody>
          <a:bodyPr wrap="none" anchor="ctr"/>
          <a:lstStyle/>
          <a:p>
            <a:endParaRPr lang="ja-JP" altLang="en-US">
              <a:solidFill>
                <a:prstClr val="black"/>
              </a:solidFill>
            </a:endParaRPr>
          </a:p>
        </p:txBody>
      </p:sp>
      <p:sp>
        <p:nvSpPr>
          <p:cNvPr id="5141" name="AutoShape 21"/>
          <p:cNvSpPr>
            <a:spLocks noChangeArrowheads="1"/>
          </p:cNvSpPr>
          <p:nvPr/>
        </p:nvSpPr>
        <p:spPr bwMode="auto">
          <a:xfrm rot="-3682613">
            <a:off x="6556375" y="4095750"/>
            <a:ext cx="228600" cy="228600"/>
          </a:xfrm>
          <a:prstGeom prst="upArrow">
            <a:avLst>
              <a:gd name="adj1" fmla="val 50000"/>
              <a:gd name="adj2" fmla="val 25000"/>
            </a:avLst>
          </a:prstGeom>
          <a:solidFill>
            <a:schemeClr val="accent1"/>
          </a:solidFill>
          <a:ln w="9525">
            <a:solidFill>
              <a:schemeClr val="tx1"/>
            </a:solidFill>
            <a:miter lim="800000"/>
            <a:headEnd/>
            <a:tailEnd/>
          </a:ln>
          <a:effectLst/>
        </p:spPr>
        <p:txBody>
          <a:bodyPr vert="eaVert" wrap="none" anchor="ctr"/>
          <a:lstStyle/>
          <a:p>
            <a:endParaRPr lang="ja-JP" altLang="en-US">
              <a:solidFill>
                <a:prstClr val="black"/>
              </a:solidFill>
            </a:endParaRPr>
          </a:p>
        </p:txBody>
      </p:sp>
      <p:sp>
        <p:nvSpPr>
          <p:cNvPr id="5157" name="Line 37"/>
          <p:cNvSpPr>
            <a:spLocks noChangeShapeType="1"/>
          </p:cNvSpPr>
          <p:nvPr/>
        </p:nvSpPr>
        <p:spPr bwMode="auto">
          <a:xfrm flipV="1">
            <a:off x="5334000" y="2133600"/>
            <a:ext cx="3810000" cy="3733800"/>
          </a:xfrm>
          <a:prstGeom prst="line">
            <a:avLst/>
          </a:prstGeom>
          <a:noFill/>
          <a:ln w="28575">
            <a:solidFill>
              <a:srgbClr val="FF0000"/>
            </a:solidFill>
            <a:round/>
            <a:headEnd/>
            <a:tailEnd/>
          </a:ln>
          <a:effectLst/>
        </p:spPr>
        <p:txBody>
          <a:bodyPr/>
          <a:lstStyle/>
          <a:p>
            <a:endParaRPr lang="ja-JP" altLang="en-US">
              <a:solidFill>
                <a:prstClr val="black"/>
              </a:solidFill>
            </a:endParaRPr>
          </a:p>
        </p:txBody>
      </p:sp>
    </p:spTree>
    <p:extLst>
      <p:ext uri="{BB962C8B-B14F-4D97-AF65-F5344CB8AC3E}">
        <p14:creationId xmlns:p14="http://schemas.microsoft.com/office/powerpoint/2010/main" val="9767257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CDE6E378-F17A-4CB8-B0D6-FF3E43A45A62}" type="slidenum">
              <a:rPr lang="ja-JP" altLang="en-US" smtClean="0">
                <a:solidFill>
                  <a:prstClr val="black">
                    <a:tint val="75000"/>
                  </a:prstClr>
                </a:solidFill>
              </a:rPr>
              <a:pPr/>
              <a:t>37</a:t>
            </a:fld>
            <a:endParaRPr lang="ja-JP" altLang="en-US">
              <a:solidFill>
                <a:prstClr val="black">
                  <a:tint val="75000"/>
                </a:prstClr>
              </a:solidFill>
            </a:endParaRPr>
          </a:p>
        </p:txBody>
      </p:sp>
      <p:pic>
        <p:nvPicPr>
          <p:cNvPr id="3"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0837" y="2420889"/>
            <a:ext cx="2964072" cy="1705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5301" y="4797153"/>
            <a:ext cx="3001747" cy="1511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7"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1032" y="2199781"/>
            <a:ext cx="3025678" cy="2210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8"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31057" y="4581129"/>
            <a:ext cx="2977267" cy="2168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直線コネクタ 14"/>
          <p:cNvCxnSpPr/>
          <p:nvPr/>
        </p:nvCxnSpPr>
        <p:spPr>
          <a:xfrm>
            <a:off x="6096000" y="105320"/>
            <a:ext cx="0" cy="6480720"/>
          </a:xfrm>
          <a:prstGeom prst="line">
            <a:avLst/>
          </a:prstGeom>
          <a:ln w="381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 name="テキスト ボックス 19"/>
          <p:cNvSpPr txBox="1"/>
          <p:nvPr/>
        </p:nvSpPr>
        <p:spPr>
          <a:xfrm>
            <a:off x="4677045" y="2492896"/>
            <a:ext cx="1164984" cy="369332"/>
          </a:xfrm>
          <a:prstGeom prst="rect">
            <a:avLst/>
          </a:prstGeom>
          <a:noFill/>
        </p:spPr>
        <p:txBody>
          <a:bodyPr wrap="square" rtlCol="0">
            <a:spAutoFit/>
          </a:bodyPr>
          <a:lstStyle/>
          <a:p>
            <a:r>
              <a:rPr lang="en-US" altLang="ja-JP" dirty="0">
                <a:solidFill>
                  <a:prstClr val="black"/>
                </a:solidFill>
              </a:rPr>
              <a:t>Field</a:t>
            </a:r>
            <a:endParaRPr lang="ja-JP" altLang="en-US" dirty="0">
              <a:solidFill>
                <a:prstClr val="black"/>
              </a:solidFill>
            </a:endParaRPr>
          </a:p>
        </p:txBody>
      </p:sp>
      <p:sp>
        <p:nvSpPr>
          <p:cNvPr id="21" name="テキスト ボックス 20"/>
          <p:cNvSpPr txBox="1"/>
          <p:nvPr/>
        </p:nvSpPr>
        <p:spPr>
          <a:xfrm>
            <a:off x="4727848" y="3941912"/>
            <a:ext cx="1164984" cy="646331"/>
          </a:xfrm>
          <a:prstGeom prst="rect">
            <a:avLst/>
          </a:prstGeom>
          <a:noFill/>
        </p:spPr>
        <p:txBody>
          <a:bodyPr wrap="square" rtlCol="0">
            <a:spAutoFit/>
          </a:bodyPr>
          <a:lstStyle/>
          <a:p>
            <a:r>
              <a:rPr lang="en-US" altLang="ja-JP" dirty="0">
                <a:solidFill>
                  <a:srgbClr val="FF0000"/>
                </a:solidFill>
              </a:rPr>
              <a:t>Focusing field</a:t>
            </a:r>
            <a:endParaRPr lang="ja-JP" altLang="en-US" dirty="0">
              <a:solidFill>
                <a:srgbClr val="FF0000"/>
              </a:solidFill>
            </a:endParaRPr>
          </a:p>
        </p:txBody>
      </p:sp>
      <p:sp>
        <p:nvSpPr>
          <p:cNvPr id="22" name="テキスト ボックス 21"/>
          <p:cNvSpPr txBox="1"/>
          <p:nvPr/>
        </p:nvSpPr>
        <p:spPr>
          <a:xfrm>
            <a:off x="3140400" y="3972689"/>
            <a:ext cx="1510674" cy="307777"/>
          </a:xfrm>
          <a:prstGeom prst="rect">
            <a:avLst/>
          </a:prstGeom>
          <a:noFill/>
        </p:spPr>
        <p:txBody>
          <a:bodyPr wrap="square" rtlCol="0">
            <a:spAutoFit/>
          </a:bodyPr>
          <a:lstStyle/>
          <a:p>
            <a:r>
              <a:rPr lang="en-US" altLang="ja-JP" sz="1400" dirty="0">
                <a:solidFill>
                  <a:srgbClr val="0000CC"/>
                </a:solidFill>
              </a:rPr>
              <a:t>Accelerating field</a:t>
            </a:r>
          </a:p>
        </p:txBody>
      </p:sp>
      <p:sp>
        <p:nvSpPr>
          <p:cNvPr id="23" name="テキスト ボックス 22"/>
          <p:cNvSpPr txBox="1"/>
          <p:nvPr/>
        </p:nvSpPr>
        <p:spPr>
          <a:xfrm>
            <a:off x="8676807" y="2843316"/>
            <a:ext cx="1728192" cy="369332"/>
          </a:xfrm>
          <a:prstGeom prst="rect">
            <a:avLst/>
          </a:prstGeom>
          <a:noFill/>
        </p:spPr>
        <p:txBody>
          <a:bodyPr wrap="square" rtlCol="0">
            <a:spAutoFit/>
          </a:bodyPr>
          <a:lstStyle/>
          <a:p>
            <a:r>
              <a:rPr lang="en-US" altLang="ja-JP" dirty="0">
                <a:solidFill>
                  <a:srgbClr val="FF0000"/>
                </a:solidFill>
              </a:rPr>
              <a:t>Focusing field</a:t>
            </a:r>
            <a:endParaRPr lang="ja-JP" altLang="en-US" dirty="0">
              <a:solidFill>
                <a:srgbClr val="FF0000"/>
              </a:solidFill>
            </a:endParaRPr>
          </a:p>
        </p:txBody>
      </p:sp>
      <p:sp>
        <p:nvSpPr>
          <p:cNvPr id="25" name="テキスト ボックス 24"/>
          <p:cNvSpPr txBox="1"/>
          <p:nvPr/>
        </p:nvSpPr>
        <p:spPr>
          <a:xfrm>
            <a:off x="9090104" y="2420888"/>
            <a:ext cx="1164984" cy="369332"/>
          </a:xfrm>
          <a:prstGeom prst="rect">
            <a:avLst/>
          </a:prstGeom>
          <a:noFill/>
        </p:spPr>
        <p:txBody>
          <a:bodyPr wrap="square" rtlCol="0">
            <a:spAutoFit/>
          </a:bodyPr>
          <a:lstStyle/>
          <a:p>
            <a:r>
              <a:rPr lang="en-US" altLang="ja-JP" dirty="0">
                <a:solidFill>
                  <a:prstClr val="black"/>
                </a:solidFill>
              </a:rPr>
              <a:t>Field</a:t>
            </a:r>
            <a:endParaRPr lang="ja-JP" altLang="en-US" dirty="0">
              <a:solidFill>
                <a:prstClr val="black"/>
              </a:solidFill>
            </a:endParaRPr>
          </a:p>
        </p:txBody>
      </p:sp>
      <p:sp>
        <p:nvSpPr>
          <p:cNvPr id="26" name="テキスト ボックス 25"/>
          <p:cNvSpPr txBox="1"/>
          <p:nvPr/>
        </p:nvSpPr>
        <p:spPr>
          <a:xfrm>
            <a:off x="4415627" y="4612486"/>
            <a:ext cx="1405941" cy="369332"/>
          </a:xfrm>
          <a:prstGeom prst="rect">
            <a:avLst/>
          </a:prstGeom>
          <a:noFill/>
        </p:spPr>
        <p:txBody>
          <a:bodyPr wrap="square" rtlCol="0">
            <a:spAutoFit/>
          </a:bodyPr>
          <a:lstStyle/>
          <a:p>
            <a:r>
              <a:rPr lang="en-US" altLang="ja-JP" dirty="0">
                <a:solidFill>
                  <a:prstClr val="black"/>
                </a:solidFill>
              </a:rPr>
              <a:t>Given force </a:t>
            </a:r>
            <a:endParaRPr lang="ja-JP" altLang="en-US" dirty="0">
              <a:solidFill>
                <a:prstClr val="black"/>
              </a:solidFill>
            </a:endParaRPr>
          </a:p>
        </p:txBody>
      </p:sp>
      <p:sp>
        <p:nvSpPr>
          <p:cNvPr id="27" name="テキスト ボックス 26"/>
          <p:cNvSpPr txBox="1"/>
          <p:nvPr/>
        </p:nvSpPr>
        <p:spPr>
          <a:xfrm>
            <a:off x="9090104" y="4612486"/>
            <a:ext cx="1353538" cy="369332"/>
          </a:xfrm>
          <a:prstGeom prst="rect">
            <a:avLst/>
          </a:prstGeom>
          <a:noFill/>
        </p:spPr>
        <p:txBody>
          <a:bodyPr wrap="square" rtlCol="0">
            <a:spAutoFit/>
          </a:bodyPr>
          <a:lstStyle/>
          <a:p>
            <a:r>
              <a:rPr lang="en-US" altLang="ja-JP" dirty="0">
                <a:solidFill>
                  <a:prstClr val="black"/>
                </a:solidFill>
              </a:rPr>
              <a:t>Given force</a:t>
            </a:r>
            <a:endParaRPr lang="ja-JP" altLang="en-US" dirty="0">
              <a:solidFill>
                <a:prstClr val="black"/>
              </a:solidFill>
            </a:endParaRPr>
          </a:p>
        </p:txBody>
      </p:sp>
      <p:sp>
        <p:nvSpPr>
          <p:cNvPr id="28" name="テキスト ボックス 27"/>
          <p:cNvSpPr txBox="1"/>
          <p:nvPr/>
        </p:nvSpPr>
        <p:spPr>
          <a:xfrm>
            <a:off x="8698335" y="5939710"/>
            <a:ext cx="1164984" cy="646331"/>
          </a:xfrm>
          <a:prstGeom prst="rect">
            <a:avLst/>
          </a:prstGeom>
          <a:noFill/>
        </p:spPr>
        <p:txBody>
          <a:bodyPr wrap="square" rtlCol="0">
            <a:spAutoFit/>
          </a:bodyPr>
          <a:lstStyle/>
          <a:p>
            <a:r>
              <a:rPr lang="en-US" altLang="ja-JP" dirty="0">
                <a:solidFill>
                  <a:srgbClr val="FF0000"/>
                </a:solidFill>
              </a:rPr>
              <a:t>Focusing field</a:t>
            </a:r>
            <a:endParaRPr lang="ja-JP" altLang="en-US" dirty="0">
              <a:solidFill>
                <a:srgbClr val="FF0000"/>
              </a:solidFill>
            </a:endParaRPr>
          </a:p>
        </p:txBody>
      </p:sp>
      <p:sp>
        <p:nvSpPr>
          <p:cNvPr id="31" name="テキスト ボックス 30"/>
          <p:cNvSpPr txBox="1"/>
          <p:nvPr/>
        </p:nvSpPr>
        <p:spPr>
          <a:xfrm>
            <a:off x="4361379" y="5931145"/>
            <a:ext cx="1164984" cy="646331"/>
          </a:xfrm>
          <a:prstGeom prst="rect">
            <a:avLst/>
          </a:prstGeom>
          <a:noFill/>
        </p:spPr>
        <p:txBody>
          <a:bodyPr wrap="square" rtlCol="0">
            <a:spAutoFit/>
          </a:bodyPr>
          <a:lstStyle/>
          <a:p>
            <a:r>
              <a:rPr lang="en-US" altLang="ja-JP" dirty="0">
                <a:solidFill>
                  <a:srgbClr val="FF0000"/>
                </a:solidFill>
              </a:rPr>
              <a:t>Focusing</a:t>
            </a:r>
          </a:p>
          <a:p>
            <a:r>
              <a:rPr lang="en-US" altLang="ja-JP" dirty="0">
                <a:solidFill>
                  <a:srgbClr val="FF0000"/>
                </a:solidFill>
              </a:rPr>
              <a:t>field</a:t>
            </a:r>
            <a:endParaRPr lang="ja-JP" altLang="en-US" dirty="0">
              <a:solidFill>
                <a:srgbClr val="FF0000"/>
              </a:solidFill>
            </a:endParaRPr>
          </a:p>
        </p:txBody>
      </p:sp>
      <p:pic>
        <p:nvPicPr>
          <p:cNvPr id="32"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0026" y="534285"/>
            <a:ext cx="2088232" cy="1829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01680" y="534286"/>
            <a:ext cx="2402632" cy="1592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テキスト ボックス 34"/>
          <p:cNvSpPr txBox="1"/>
          <p:nvPr/>
        </p:nvSpPr>
        <p:spPr>
          <a:xfrm>
            <a:off x="8544272" y="1665587"/>
            <a:ext cx="1607078" cy="461665"/>
          </a:xfrm>
          <a:prstGeom prst="rect">
            <a:avLst/>
          </a:prstGeom>
          <a:noFill/>
        </p:spPr>
        <p:txBody>
          <a:bodyPr wrap="square" rtlCol="0">
            <a:spAutoFit/>
          </a:bodyPr>
          <a:lstStyle/>
          <a:p>
            <a:r>
              <a:rPr lang="en-US" altLang="ja-JP" sz="2400" dirty="0">
                <a:solidFill>
                  <a:prstClr val="black"/>
                </a:solidFill>
              </a:rPr>
              <a:t>=&gt; </a:t>
            </a:r>
            <a:r>
              <a:rPr lang="ja-JP" altLang="en-US" sz="2400" dirty="0">
                <a:solidFill>
                  <a:prstClr val="black"/>
                </a:solidFill>
              </a:rPr>
              <a:t>集束力</a:t>
            </a:r>
            <a:endParaRPr lang="ja-JP" altLang="en-US" sz="2400" dirty="0">
              <a:solidFill>
                <a:srgbClr val="FF0000"/>
              </a:solidFill>
            </a:endParaRPr>
          </a:p>
        </p:txBody>
      </p:sp>
      <p:sp>
        <p:nvSpPr>
          <p:cNvPr id="36" name="テキスト ボックス 35"/>
          <p:cNvSpPr txBox="1"/>
          <p:nvPr/>
        </p:nvSpPr>
        <p:spPr>
          <a:xfrm>
            <a:off x="2465853" y="87016"/>
            <a:ext cx="2414040" cy="461665"/>
          </a:xfrm>
          <a:prstGeom prst="rect">
            <a:avLst/>
          </a:prstGeom>
          <a:noFill/>
        </p:spPr>
        <p:txBody>
          <a:bodyPr wrap="square" rtlCol="0">
            <a:spAutoFit/>
          </a:bodyPr>
          <a:lstStyle/>
          <a:p>
            <a:r>
              <a:rPr lang="en-US" altLang="ja-JP" sz="2400" dirty="0">
                <a:solidFill>
                  <a:prstClr val="black"/>
                </a:solidFill>
              </a:rPr>
              <a:t>Pill-box cavity</a:t>
            </a:r>
            <a:endParaRPr lang="ja-JP" altLang="en-US" sz="2400" dirty="0">
              <a:solidFill>
                <a:prstClr val="black"/>
              </a:solidFill>
            </a:endParaRPr>
          </a:p>
        </p:txBody>
      </p:sp>
      <p:sp>
        <p:nvSpPr>
          <p:cNvPr id="37" name="テキスト ボックス 36"/>
          <p:cNvSpPr txBox="1"/>
          <p:nvPr/>
        </p:nvSpPr>
        <p:spPr>
          <a:xfrm>
            <a:off x="6150527" y="87016"/>
            <a:ext cx="4409969" cy="461665"/>
          </a:xfrm>
          <a:prstGeom prst="rect">
            <a:avLst/>
          </a:prstGeom>
          <a:noFill/>
        </p:spPr>
        <p:txBody>
          <a:bodyPr wrap="square" rtlCol="0">
            <a:spAutoFit/>
          </a:bodyPr>
          <a:lstStyle/>
          <a:p>
            <a:r>
              <a:rPr lang="en-US" altLang="ja-JP" sz="2400" dirty="0">
                <a:solidFill>
                  <a:prstClr val="black"/>
                </a:solidFill>
              </a:rPr>
              <a:t>Annular coupled cavity with nose</a:t>
            </a:r>
          </a:p>
        </p:txBody>
      </p:sp>
      <p:sp>
        <p:nvSpPr>
          <p:cNvPr id="38" name="テキスト ボックス 37"/>
          <p:cNvSpPr txBox="1"/>
          <p:nvPr/>
        </p:nvSpPr>
        <p:spPr>
          <a:xfrm>
            <a:off x="8205323" y="646331"/>
            <a:ext cx="1335581" cy="261610"/>
          </a:xfrm>
          <a:prstGeom prst="rect">
            <a:avLst/>
          </a:prstGeom>
          <a:solidFill>
            <a:schemeClr val="bg1"/>
          </a:solidFill>
        </p:spPr>
        <p:txBody>
          <a:bodyPr wrap="square" rtlCol="0">
            <a:spAutoFit/>
          </a:bodyPr>
          <a:lstStyle/>
          <a:p>
            <a:r>
              <a:rPr lang="en-US" altLang="ja-JP" sz="1100" dirty="0">
                <a:solidFill>
                  <a:srgbClr val="0000CC"/>
                </a:solidFill>
              </a:rPr>
              <a:t>Accelerating field</a:t>
            </a:r>
          </a:p>
        </p:txBody>
      </p:sp>
      <p:sp>
        <p:nvSpPr>
          <p:cNvPr id="39" name="テキスト ボックス 38"/>
          <p:cNvSpPr txBox="1"/>
          <p:nvPr/>
        </p:nvSpPr>
        <p:spPr>
          <a:xfrm>
            <a:off x="2888758" y="557656"/>
            <a:ext cx="1284383" cy="261610"/>
          </a:xfrm>
          <a:prstGeom prst="rect">
            <a:avLst/>
          </a:prstGeom>
          <a:solidFill>
            <a:schemeClr val="bg1"/>
          </a:solidFill>
        </p:spPr>
        <p:txBody>
          <a:bodyPr wrap="square" rtlCol="0">
            <a:spAutoFit/>
          </a:bodyPr>
          <a:lstStyle/>
          <a:p>
            <a:r>
              <a:rPr lang="en-US" altLang="ja-JP" sz="1100" dirty="0">
                <a:solidFill>
                  <a:srgbClr val="0000CC"/>
                </a:solidFill>
              </a:rPr>
              <a:t>Accelerating field</a:t>
            </a:r>
          </a:p>
        </p:txBody>
      </p:sp>
      <p:sp>
        <p:nvSpPr>
          <p:cNvPr id="40" name="テキスト ボックス 39"/>
          <p:cNvSpPr txBox="1"/>
          <p:nvPr/>
        </p:nvSpPr>
        <p:spPr>
          <a:xfrm>
            <a:off x="6456040" y="1052525"/>
            <a:ext cx="598914" cy="276999"/>
          </a:xfrm>
          <a:prstGeom prst="rect">
            <a:avLst/>
          </a:prstGeom>
          <a:solidFill>
            <a:schemeClr val="bg1"/>
          </a:solidFill>
        </p:spPr>
        <p:txBody>
          <a:bodyPr wrap="square" rtlCol="0">
            <a:spAutoFit/>
          </a:bodyPr>
          <a:lstStyle/>
          <a:p>
            <a:r>
              <a:rPr lang="en-US" altLang="ja-JP" sz="1200" dirty="0">
                <a:solidFill>
                  <a:srgbClr val="00FF00"/>
                </a:solidFill>
              </a:rPr>
              <a:t>Beam</a:t>
            </a:r>
          </a:p>
        </p:txBody>
      </p:sp>
      <p:sp>
        <p:nvSpPr>
          <p:cNvPr id="41" name="テキスト ボックス 40"/>
          <p:cNvSpPr txBox="1"/>
          <p:nvPr/>
        </p:nvSpPr>
        <p:spPr>
          <a:xfrm>
            <a:off x="2063552" y="1193608"/>
            <a:ext cx="598914" cy="276999"/>
          </a:xfrm>
          <a:prstGeom prst="rect">
            <a:avLst/>
          </a:prstGeom>
          <a:solidFill>
            <a:schemeClr val="bg1"/>
          </a:solidFill>
        </p:spPr>
        <p:txBody>
          <a:bodyPr wrap="square" rtlCol="0">
            <a:spAutoFit/>
          </a:bodyPr>
          <a:lstStyle/>
          <a:p>
            <a:r>
              <a:rPr lang="en-US" altLang="ja-JP" sz="1200" dirty="0">
                <a:solidFill>
                  <a:srgbClr val="00FF00"/>
                </a:solidFill>
              </a:rPr>
              <a:t>Beam</a:t>
            </a:r>
          </a:p>
        </p:txBody>
      </p:sp>
      <p:sp>
        <p:nvSpPr>
          <p:cNvPr id="44" name="テキスト ボックス 43"/>
          <p:cNvSpPr txBox="1"/>
          <p:nvPr/>
        </p:nvSpPr>
        <p:spPr>
          <a:xfrm>
            <a:off x="2558805" y="4581129"/>
            <a:ext cx="1510674" cy="307777"/>
          </a:xfrm>
          <a:prstGeom prst="rect">
            <a:avLst/>
          </a:prstGeom>
          <a:noFill/>
        </p:spPr>
        <p:txBody>
          <a:bodyPr wrap="square" rtlCol="0">
            <a:spAutoFit/>
          </a:bodyPr>
          <a:lstStyle/>
          <a:p>
            <a:r>
              <a:rPr lang="en-US" altLang="ja-JP" sz="1400" dirty="0">
                <a:solidFill>
                  <a:srgbClr val="0000CC"/>
                </a:solidFill>
              </a:rPr>
              <a:t>Accelerating field</a:t>
            </a:r>
          </a:p>
        </p:txBody>
      </p:sp>
      <p:sp>
        <p:nvSpPr>
          <p:cNvPr id="45" name="テキスト ボックス 44"/>
          <p:cNvSpPr txBox="1"/>
          <p:nvPr/>
        </p:nvSpPr>
        <p:spPr>
          <a:xfrm>
            <a:off x="6844836" y="4579589"/>
            <a:ext cx="1510674" cy="307777"/>
          </a:xfrm>
          <a:prstGeom prst="rect">
            <a:avLst/>
          </a:prstGeom>
          <a:noFill/>
        </p:spPr>
        <p:txBody>
          <a:bodyPr wrap="square" rtlCol="0">
            <a:spAutoFit/>
          </a:bodyPr>
          <a:lstStyle/>
          <a:p>
            <a:r>
              <a:rPr lang="en-US" altLang="ja-JP" sz="1400" dirty="0">
                <a:solidFill>
                  <a:srgbClr val="0000CC"/>
                </a:solidFill>
              </a:rPr>
              <a:t>Accelerating field</a:t>
            </a:r>
          </a:p>
        </p:txBody>
      </p:sp>
      <p:sp>
        <p:nvSpPr>
          <p:cNvPr id="46" name="テキスト ボックス 45"/>
          <p:cNvSpPr txBox="1"/>
          <p:nvPr/>
        </p:nvSpPr>
        <p:spPr>
          <a:xfrm>
            <a:off x="7321630" y="4057328"/>
            <a:ext cx="1510674" cy="307777"/>
          </a:xfrm>
          <a:prstGeom prst="rect">
            <a:avLst/>
          </a:prstGeom>
          <a:noFill/>
        </p:spPr>
        <p:txBody>
          <a:bodyPr wrap="square" rtlCol="0">
            <a:spAutoFit/>
          </a:bodyPr>
          <a:lstStyle/>
          <a:p>
            <a:r>
              <a:rPr lang="en-US" altLang="ja-JP" sz="1400" dirty="0">
                <a:solidFill>
                  <a:srgbClr val="0000CC"/>
                </a:solidFill>
              </a:rPr>
              <a:t>Accelerating field</a:t>
            </a:r>
          </a:p>
        </p:txBody>
      </p:sp>
    </p:spTree>
    <p:extLst>
      <p:ext uri="{BB962C8B-B14F-4D97-AF65-F5344CB8AC3E}">
        <p14:creationId xmlns:p14="http://schemas.microsoft.com/office/powerpoint/2010/main" val="10657955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2" descr="C:\home\share\slide\KEKprezen2013\animationSingle.gif"/>
          <p:cNvPicPr>
            <a:picLocks noChangeAspect="1" noChangeArrowheads="1" noCrop="1"/>
          </p:cNvPicPr>
          <p:nvPr/>
        </p:nvPicPr>
        <p:blipFill>
          <a:blip r:embed="rId2">
            <a:extLst>
              <a:ext uri="{28A0092B-C50C-407E-A947-70E740481C1C}">
                <a14:useLocalDpi xmlns:a14="http://schemas.microsoft.com/office/drawing/2010/main" val="0"/>
              </a:ext>
            </a:extLst>
          </a:blip>
          <a:srcRect/>
          <a:stretch>
            <a:fillRect/>
          </a:stretch>
        </p:blipFill>
        <p:spPr bwMode="auto">
          <a:xfrm>
            <a:off x="1571269" y="3608004"/>
            <a:ext cx="4438778" cy="310714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91544" y="1358893"/>
            <a:ext cx="3744416" cy="234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descr="C:\home\share\slide\KEKprezen2013\animationDouble.gif"/>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5936987" y="3608004"/>
            <a:ext cx="4438780" cy="310714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265237" y="1142984"/>
            <a:ext cx="4090684" cy="3024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正方形/長方形 7"/>
          <p:cNvSpPr/>
          <p:nvPr/>
        </p:nvSpPr>
        <p:spPr>
          <a:xfrm>
            <a:off x="2024034" y="642918"/>
            <a:ext cx="3609280" cy="400110"/>
          </a:xfrm>
          <a:prstGeom prst="rect">
            <a:avLst/>
          </a:prstGeom>
        </p:spPr>
        <p:txBody>
          <a:bodyPr wrap="square">
            <a:spAutoFit/>
          </a:bodyPr>
          <a:lstStyle/>
          <a:p>
            <a:pPr algn="ctr"/>
            <a:r>
              <a:rPr lang="en-US" altLang="ja-JP" sz="2000" dirty="0">
                <a:solidFill>
                  <a:prstClr val="black"/>
                </a:solidFill>
              </a:rPr>
              <a:t>Normal side couple structure</a:t>
            </a:r>
            <a:endParaRPr lang="ja-JP" altLang="en-US" sz="2000" dirty="0">
              <a:solidFill>
                <a:prstClr val="black"/>
              </a:solidFill>
            </a:endParaRPr>
          </a:p>
        </p:txBody>
      </p:sp>
      <p:sp>
        <p:nvSpPr>
          <p:cNvPr id="9" name="正方形/長方形 8"/>
          <p:cNvSpPr/>
          <p:nvPr/>
        </p:nvSpPr>
        <p:spPr>
          <a:xfrm>
            <a:off x="5953124" y="642918"/>
            <a:ext cx="4500562" cy="400110"/>
          </a:xfrm>
          <a:prstGeom prst="rect">
            <a:avLst/>
          </a:prstGeom>
        </p:spPr>
        <p:txBody>
          <a:bodyPr wrap="square">
            <a:spAutoFit/>
          </a:bodyPr>
          <a:lstStyle/>
          <a:p>
            <a:pPr algn="ctr"/>
            <a:r>
              <a:rPr lang="en-US" altLang="ja-JP" sz="2000" dirty="0">
                <a:solidFill>
                  <a:prstClr val="black"/>
                </a:solidFill>
              </a:rPr>
              <a:t>Quasi traveling wave </a:t>
            </a:r>
            <a:r>
              <a:rPr lang="en-US" altLang="ja-JP" sz="2000" dirty="0" err="1">
                <a:solidFill>
                  <a:prstClr val="black"/>
                </a:solidFill>
              </a:rPr>
              <a:t>sidecouple</a:t>
            </a:r>
            <a:r>
              <a:rPr lang="en-US" altLang="ja-JP" sz="2000" dirty="0">
                <a:solidFill>
                  <a:prstClr val="black"/>
                </a:solidFill>
              </a:rPr>
              <a:t> structure</a:t>
            </a:r>
            <a:endParaRPr lang="ja-JP" altLang="en-US" sz="2000" dirty="0">
              <a:solidFill>
                <a:prstClr val="black"/>
              </a:solidFill>
            </a:endParaRPr>
          </a:p>
        </p:txBody>
      </p:sp>
      <p:sp>
        <p:nvSpPr>
          <p:cNvPr id="10" name="テキスト ボックス 9"/>
          <p:cNvSpPr txBox="1"/>
          <p:nvPr/>
        </p:nvSpPr>
        <p:spPr>
          <a:xfrm>
            <a:off x="1666844" y="71415"/>
            <a:ext cx="8858312" cy="584775"/>
          </a:xfrm>
          <a:prstGeom prst="rect">
            <a:avLst/>
          </a:prstGeom>
          <a:noFill/>
        </p:spPr>
        <p:txBody>
          <a:bodyPr wrap="square" rtlCol="0">
            <a:spAutoFit/>
          </a:bodyPr>
          <a:lstStyle/>
          <a:p>
            <a:pPr algn="ctr"/>
            <a:r>
              <a:rPr lang="en-US" altLang="ja-JP" sz="3200" dirty="0">
                <a:solidFill>
                  <a:prstClr val="black"/>
                </a:solidFill>
              </a:rPr>
              <a:t>Design of a quasi traveling wave side couple RF gun</a:t>
            </a:r>
          </a:p>
        </p:txBody>
      </p:sp>
      <p:sp>
        <p:nvSpPr>
          <p:cNvPr id="11" name="テキスト ボックス 10"/>
          <p:cNvSpPr txBox="1"/>
          <p:nvPr/>
        </p:nvSpPr>
        <p:spPr>
          <a:xfrm>
            <a:off x="2095472" y="6027028"/>
            <a:ext cx="8087566" cy="830997"/>
          </a:xfrm>
          <a:prstGeom prst="rect">
            <a:avLst/>
          </a:prstGeom>
          <a:noFill/>
        </p:spPr>
        <p:txBody>
          <a:bodyPr wrap="square" rtlCol="0">
            <a:spAutoFit/>
          </a:bodyPr>
          <a:lstStyle/>
          <a:p>
            <a:r>
              <a:rPr lang="en-US" altLang="ja-JP" sz="2400" dirty="0">
                <a:solidFill>
                  <a:srgbClr val="0000CC"/>
                </a:solidFill>
              </a:rPr>
              <a:t>Quasi traveling wave side couple has stronger focusing and accelerated gradient than DAW.</a:t>
            </a:r>
            <a:endParaRPr lang="ja-JP" altLang="en-US" sz="2400" dirty="0">
              <a:solidFill>
                <a:srgbClr val="0000CC"/>
              </a:solidFill>
            </a:endParaRPr>
          </a:p>
        </p:txBody>
      </p:sp>
      <p:sp>
        <p:nvSpPr>
          <p:cNvPr id="2" name="正方形/長方形 1"/>
          <p:cNvSpPr/>
          <p:nvPr/>
        </p:nvSpPr>
        <p:spPr>
          <a:xfrm>
            <a:off x="2135560" y="3701211"/>
            <a:ext cx="2832314" cy="369332"/>
          </a:xfrm>
          <a:prstGeom prst="rect">
            <a:avLst/>
          </a:prstGeom>
        </p:spPr>
        <p:txBody>
          <a:bodyPr wrap="none">
            <a:spAutoFit/>
          </a:bodyPr>
          <a:lstStyle/>
          <a:p>
            <a:r>
              <a:rPr lang="en-US" altLang="ja-JP" dirty="0">
                <a:solidFill>
                  <a:srgbClr val="FF0000"/>
                </a:solidFill>
              </a:rPr>
              <a:t>Long drift space is problem. </a:t>
            </a:r>
            <a:endParaRPr lang="ja-JP" altLang="en-US" dirty="0">
              <a:solidFill>
                <a:srgbClr val="FF0000"/>
              </a:solidFill>
            </a:endParaRPr>
          </a:p>
        </p:txBody>
      </p:sp>
      <p:cxnSp>
        <p:nvCxnSpPr>
          <p:cNvPr id="7" name="直線矢印コネクタ 6"/>
          <p:cNvCxnSpPr/>
          <p:nvPr/>
        </p:nvCxnSpPr>
        <p:spPr>
          <a:xfrm flipV="1">
            <a:off x="2855640" y="2655094"/>
            <a:ext cx="72008" cy="1133946"/>
          </a:xfrm>
          <a:prstGeom prst="straightConnector1">
            <a:avLst/>
          </a:prstGeom>
          <a:ln>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878555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28619"/>
            <a:ext cx="8229600" cy="1143000"/>
          </a:xfrm>
        </p:spPr>
        <p:txBody>
          <a:bodyPr>
            <a:normAutofit fontScale="90000"/>
          </a:bodyPr>
          <a:lstStyle/>
          <a:p>
            <a:r>
              <a:rPr kumimoji="1" lang="en-US" altLang="ja-JP" b="1" dirty="0">
                <a:latin typeface="Times New Roman" panose="02020603050405020304" pitchFamily="18" charset="0"/>
                <a:cs typeface="Times New Roman" panose="02020603050405020304" pitchFamily="18" charset="0"/>
              </a:rPr>
              <a:t>Electron beam (EB) heating type cathode plug</a:t>
            </a:r>
            <a:endParaRPr kumimoji="1" lang="ja-JP" altLang="en-US" b="1" dirty="0">
              <a:latin typeface="Times New Roman" panose="02020603050405020304" pitchFamily="18" charset="0"/>
              <a:cs typeface="Times New Roman" panose="02020603050405020304" pitchFamily="18" charset="0"/>
            </a:endParaRPr>
          </a:p>
        </p:txBody>
      </p:sp>
      <p:sp>
        <p:nvSpPr>
          <p:cNvPr id="3" name="スライド番号プレースホルダー 2"/>
          <p:cNvSpPr>
            <a:spLocks noGrp="1"/>
          </p:cNvSpPr>
          <p:nvPr>
            <p:ph type="sldNum" sz="quarter" idx="12"/>
          </p:nvPr>
        </p:nvSpPr>
        <p:spPr/>
        <p:txBody>
          <a:bodyPr/>
          <a:lstStyle/>
          <a:p>
            <a:pPr defTabSz="457200"/>
            <a:fld id="{F58A0C24-1E3F-4F95-ABD2-DD1305F0B8E2}" type="slidenum">
              <a:rPr kumimoji="0" lang="ja-JP" altLang="en-US">
                <a:solidFill>
                  <a:prstClr val="black">
                    <a:tint val="75000"/>
                  </a:prstClr>
                </a:solidFill>
                <a:latin typeface="Calibri"/>
                <a:ea typeface="ＭＳ Ｐゴシック" panose="020B0600070205080204" pitchFamily="34" charset="-128"/>
              </a:rPr>
              <a:pPr defTabSz="457200"/>
              <a:t>39</a:t>
            </a:fld>
            <a:endParaRPr kumimoji="0" lang="ja-JP" altLang="en-US" dirty="0">
              <a:solidFill>
                <a:prstClr val="black">
                  <a:tint val="75000"/>
                </a:prstClr>
              </a:solidFill>
              <a:latin typeface="Calibri"/>
              <a:ea typeface="ＭＳ Ｐゴシック" panose="020B0600070205080204" pitchFamily="34" charset="-128"/>
            </a:endParaRPr>
          </a:p>
        </p:txBody>
      </p:sp>
      <p:sp>
        <p:nvSpPr>
          <p:cNvPr id="14" name="テキスト ボックス 13"/>
          <p:cNvSpPr txBox="1"/>
          <p:nvPr/>
        </p:nvSpPr>
        <p:spPr>
          <a:xfrm>
            <a:off x="6579794" y="3039344"/>
            <a:ext cx="3980703" cy="461665"/>
          </a:xfrm>
          <a:prstGeom prst="rect">
            <a:avLst/>
          </a:prstGeom>
          <a:noFill/>
          <a:ln>
            <a:noFill/>
          </a:ln>
        </p:spPr>
        <p:txBody>
          <a:bodyPr wrap="square" rtlCol="0">
            <a:spAutoFit/>
          </a:bodyPr>
          <a:lstStyle/>
          <a:p>
            <a:pPr algn="ctr" defTabSz="457200"/>
            <a:r>
              <a:rPr kumimoji="0" lang="en-US" altLang="ja-JP" sz="2400"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 RF shielding structure 】</a:t>
            </a:r>
            <a:endParaRPr lang="ja-JP" altLang="en-US" sz="2400"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graphicFrame>
        <p:nvGraphicFramePr>
          <p:cNvPr id="15" name="グラフ 14"/>
          <p:cNvGraphicFramePr>
            <a:graphicFrameLocks/>
          </p:cNvGraphicFramePr>
          <p:nvPr/>
        </p:nvGraphicFramePr>
        <p:xfrm>
          <a:off x="5951985" y="3624590"/>
          <a:ext cx="3735363" cy="2468707"/>
        </p:xfrm>
        <a:graphic>
          <a:graphicData uri="http://schemas.openxmlformats.org/drawingml/2006/chart">
            <c:chart xmlns:c="http://schemas.openxmlformats.org/drawingml/2006/chart" xmlns:r="http://schemas.openxmlformats.org/officeDocument/2006/relationships" r:id="rId2"/>
          </a:graphicData>
        </a:graphic>
      </p:graphicFrame>
      <p:pic>
        <p:nvPicPr>
          <p:cNvPr id="1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72132" y="3852650"/>
            <a:ext cx="1140636" cy="1676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正方形/長方形 17"/>
          <p:cNvSpPr/>
          <p:nvPr/>
        </p:nvSpPr>
        <p:spPr>
          <a:xfrm>
            <a:off x="6342333" y="1380522"/>
            <a:ext cx="4162098" cy="1323439"/>
          </a:xfrm>
          <a:prstGeom prst="rect">
            <a:avLst/>
          </a:prstGeom>
          <a:solidFill>
            <a:srgbClr val="C9F1FF"/>
          </a:solidFill>
          <a:ln>
            <a:noFill/>
          </a:ln>
        </p:spPr>
        <p:txBody>
          <a:bodyPr wrap="square">
            <a:spAutoFit/>
          </a:bodyPr>
          <a:lstStyle/>
          <a:p>
            <a:pPr defTabSz="457200"/>
            <a:r>
              <a:rPr kumimoji="0" lang="ja-JP" altLang="en-US" sz="2000" b="1"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  </a:t>
            </a:r>
            <a:r>
              <a:rPr kumimoji="0" lang="en-GB" altLang="ja-JP" sz="2000" b="1"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EB heating is …</a:t>
            </a:r>
          </a:p>
          <a:p>
            <a:pPr defTabSz="457200"/>
            <a:r>
              <a:rPr kumimoji="0" lang="en-GB" altLang="ja-JP" sz="2000"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a main cathode is bombarded by an accelerated electron beam as a thermal source behind the cathode. </a:t>
            </a:r>
          </a:p>
        </p:txBody>
      </p:sp>
      <p:sp>
        <p:nvSpPr>
          <p:cNvPr id="20" name="正方形/長方形 19"/>
          <p:cNvSpPr/>
          <p:nvPr/>
        </p:nvSpPr>
        <p:spPr>
          <a:xfrm>
            <a:off x="1601973" y="1271619"/>
            <a:ext cx="4536504" cy="400110"/>
          </a:xfrm>
          <a:prstGeom prst="rect">
            <a:avLst/>
          </a:prstGeom>
          <a:ln>
            <a:noFill/>
          </a:ln>
        </p:spPr>
        <p:txBody>
          <a:bodyPr wrap="square">
            <a:spAutoFit/>
          </a:bodyPr>
          <a:lstStyle/>
          <a:p>
            <a:pPr defTabSz="457200"/>
            <a:r>
              <a:rPr kumimoji="0" lang="en-US" altLang="ja-JP" sz="2000"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Design of EB heating type cathode plug】</a:t>
            </a:r>
            <a:endParaRPr kumimoji="0" lang="ja-JP" altLang="en-US" sz="2000"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grpSp>
        <p:nvGrpSpPr>
          <p:cNvPr id="6" name="グループ化 5"/>
          <p:cNvGrpSpPr/>
          <p:nvPr/>
        </p:nvGrpSpPr>
        <p:grpSpPr>
          <a:xfrm>
            <a:off x="1467172" y="1700808"/>
            <a:ext cx="4700837" cy="4399080"/>
            <a:chOff x="-108520" y="1700808"/>
            <a:chExt cx="4700837" cy="4399080"/>
          </a:xfrm>
        </p:grpSpPr>
        <p:pic>
          <p:nvPicPr>
            <p:cNvPr id="21" name="Picture 3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8520" y="1700808"/>
              <a:ext cx="4700837" cy="43990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直線コネクタ 4"/>
            <p:cNvCxnSpPr/>
            <p:nvPr/>
          </p:nvCxnSpPr>
          <p:spPr>
            <a:xfrm flipV="1">
              <a:off x="2294534" y="3028223"/>
              <a:ext cx="0" cy="301657"/>
            </a:xfrm>
            <a:prstGeom prst="line">
              <a:avLst/>
            </a:prstGeom>
            <a:ln w="101600">
              <a:solidFill>
                <a:srgbClr val="FFC000"/>
              </a:solidFill>
            </a:ln>
          </p:spPr>
          <p:style>
            <a:lnRef idx="1">
              <a:schemeClr val="accent1"/>
            </a:lnRef>
            <a:fillRef idx="0">
              <a:schemeClr val="accent1"/>
            </a:fillRef>
            <a:effectRef idx="0">
              <a:schemeClr val="accent1"/>
            </a:effectRef>
            <a:fontRef idx="minor">
              <a:schemeClr val="tx1"/>
            </a:fontRef>
          </p:style>
        </p:cxnSp>
        <p:sp>
          <p:nvSpPr>
            <p:cNvPr id="23" name="正方形/長方形 22"/>
            <p:cNvSpPr/>
            <p:nvPr/>
          </p:nvSpPr>
          <p:spPr>
            <a:xfrm>
              <a:off x="2294534" y="2967165"/>
              <a:ext cx="432048" cy="400110"/>
            </a:xfrm>
            <a:prstGeom prst="rect">
              <a:avLst/>
            </a:prstGeom>
            <a:ln>
              <a:noFill/>
            </a:ln>
          </p:spPr>
          <p:txBody>
            <a:bodyPr wrap="square">
              <a:spAutoFit/>
            </a:bodyPr>
            <a:lstStyle/>
            <a:p>
              <a:pPr defTabSz="457200"/>
              <a:r>
                <a:rPr kumimoji="0" lang="en-US" altLang="ja-JP" sz="2000" dirty="0">
                  <a:solidFill>
                    <a:srgbClr val="FFC000"/>
                  </a:solidFill>
                  <a:latin typeface="Times New Roman" panose="02020603050405020304" pitchFamily="18" charset="0"/>
                  <a:ea typeface="ＭＳ Ｐゴシック" panose="020B0600070205080204" pitchFamily="34" charset="-128"/>
                  <a:cs typeface="Times New Roman" panose="02020603050405020304" pitchFamily="18" charset="0"/>
                </a:rPr>
                <a:t>e</a:t>
              </a:r>
              <a:r>
                <a:rPr kumimoji="0" lang="en-US" altLang="ja-JP" sz="2000" baseline="30000" dirty="0">
                  <a:solidFill>
                    <a:srgbClr val="FFC000"/>
                  </a:solidFill>
                  <a:latin typeface="Times New Roman" panose="02020603050405020304" pitchFamily="18" charset="0"/>
                  <a:ea typeface="ＭＳ Ｐゴシック" panose="020B0600070205080204" pitchFamily="34" charset="-128"/>
                  <a:cs typeface="Times New Roman" panose="02020603050405020304" pitchFamily="18" charset="0"/>
                </a:rPr>
                <a:t>-</a:t>
              </a:r>
              <a:endParaRPr kumimoji="0" lang="ja-JP" altLang="en-US" sz="2000" baseline="30000" dirty="0">
                <a:solidFill>
                  <a:srgbClr val="FFC000"/>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grpSp>
    </p:spTree>
    <p:extLst>
      <p:ext uri="{BB962C8B-B14F-4D97-AF65-F5344CB8AC3E}">
        <p14:creationId xmlns:p14="http://schemas.microsoft.com/office/powerpoint/2010/main" val="12696694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13"/>
          <p:cNvSpPr/>
          <p:nvPr/>
        </p:nvSpPr>
        <p:spPr bwMode="auto">
          <a:xfrm>
            <a:off x="781105" y="2954057"/>
            <a:ext cx="10732169" cy="140471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2" name="Rectangle 23"/>
          <p:cNvSpPr/>
          <p:nvPr/>
        </p:nvSpPr>
        <p:spPr bwMode="auto">
          <a:xfrm>
            <a:off x="781105" y="927773"/>
            <a:ext cx="10732169" cy="187972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rtl="0"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6" name="文本框 6"/>
          <p:cNvSpPr txBox="1"/>
          <p:nvPr/>
        </p:nvSpPr>
        <p:spPr>
          <a:xfrm>
            <a:off x="940207" y="928886"/>
            <a:ext cx="10535309" cy="584775"/>
          </a:xfrm>
          <a:prstGeom prst="rect">
            <a:avLst/>
          </a:prstGeom>
          <a:noFill/>
        </p:spPr>
        <p:txBody>
          <a:bodyPr wrap="square" rtlCol="0">
            <a:spAutoFit/>
          </a:bodyPr>
          <a:lstStyle/>
          <a:p>
            <a:pPr lvl="0"/>
            <a:r>
              <a:rPr kumimoji="0" lang="en-US" altLang="zh-CN"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rPr>
              <a:t>RF gun cavity</a:t>
            </a:r>
            <a:r>
              <a:rPr kumimoji="0" lang="en-US" altLang="zh-CN" sz="3200" b="1" dirty="0">
                <a:solidFill>
                  <a:srgbClr val="FFFFFF"/>
                </a:solidFill>
                <a:latin typeface="等线 Light" panose="020F0302020204030204"/>
                <a:ea typeface="等线" panose="02010600030101010101" pitchFamily="2" charset="-122"/>
              </a:rPr>
              <a:t>: strong focusing electric field</a:t>
            </a:r>
            <a:endParaRPr kumimoji="0" lang="zh-CN" altLang="en-US"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endParaRPr>
          </a:p>
        </p:txBody>
      </p:sp>
      <p:sp>
        <p:nvSpPr>
          <p:cNvPr id="31" name="矩形 7"/>
          <p:cNvSpPr/>
          <p:nvPr/>
        </p:nvSpPr>
        <p:spPr>
          <a:xfrm>
            <a:off x="940207" y="1508131"/>
            <a:ext cx="9966419" cy="1200329"/>
          </a:xfrm>
          <a:prstGeom prst="rect">
            <a:avLst/>
          </a:prstGeom>
        </p:spPr>
        <p:txBody>
          <a:bodyPr wrap="square">
            <a:spAutoFit/>
          </a:bodyPr>
          <a:lstStyle/>
          <a:p>
            <a:pPr marL="342900" marR="0" lvl="0" indent="-34290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Disk and washer (DAW): tested in 3-2</a:t>
            </a:r>
          </a:p>
          <a:p>
            <a:pPr marL="342900" marR="0" lvl="0" indent="-34290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altLang="zh-CN" sz="2400" b="1" dirty="0">
                <a:solidFill>
                  <a:srgbClr val="FFFFFF"/>
                </a:solidFill>
                <a:latin typeface="等线 Light" panose="02010600030101010101" pitchFamily="2" charset="-122"/>
                <a:ea typeface="等线 Light" panose="02010600030101010101" pitchFamily="2" charset="-122"/>
              </a:rPr>
              <a:t>Quasi travelling wave side coupler (QTWSC): A1 primary RF gun</a:t>
            </a:r>
          </a:p>
          <a:p>
            <a:pPr marL="342900" marR="0" lvl="0" indent="-34290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Cut disk </a:t>
            </a:r>
            <a:r>
              <a:rPr kumimoji="0" lang="en-US" altLang="zh-CN" sz="2400" b="1" dirty="0">
                <a:solidFill>
                  <a:srgbClr val="FFFFFF"/>
                </a:solidFill>
                <a:latin typeface="等线 Light" panose="02010600030101010101" pitchFamily="2" charset="-122"/>
                <a:ea typeface="等线 Light" panose="02010600030101010101" pitchFamily="2" charset="-122"/>
              </a:rPr>
              <a:t>structure (CDS): A1 secondary RF gun</a:t>
            </a:r>
            <a:endPar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38"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04-17</a:t>
            </a:r>
          </a:p>
        </p:txBody>
      </p:sp>
      <p:sp>
        <p:nvSpPr>
          <p:cNvPr id="16" name="Title 3"/>
          <p:cNvSpPr txBox="1">
            <a:spLocks/>
          </p:cNvSpPr>
          <p:nvPr/>
        </p:nvSpPr>
        <p:spPr>
          <a:xfrm>
            <a:off x="660518" y="170874"/>
            <a:ext cx="11486407" cy="593487"/>
          </a:xfrm>
          <a:prstGeom prst="rect">
            <a:avLst/>
          </a:prstGeom>
        </p:spPr>
        <p:txBody>
          <a:bodyPr/>
          <a:lstStyle>
            <a:lvl1pPr algn="l" defTabSz="914023"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23"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S-band RF Gun System for SuperKEKB</a:t>
            </a:r>
          </a:p>
        </p:txBody>
      </p:sp>
      <p:sp>
        <p:nvSpPr>
          <p:cNvPr id="15" name="Rectangle 26">
            <a:extLst>
              <a:ext uri="{FF2B5EF4-FFF2-40B4-BE49-F238E27FC236}">
                <a16:creationId xmlns:a16="http://schemas.microsoft.com/office/drawing/2014/main" id="{89464770-6716-4D14-9536-15FA92042D4B}"/>
              </a:ext>
            </a:extLst>
          </p:cNvPr>
          <p:cNvSpPr/>
          <p:nvPr/>
        </p:nvSpPr>
        <p:spPr bwMode="auto">
          <a:xfrm>
            <a:off x="781105" y="4505335"/>
            <a:ext cx="10732168" cy="2057891"/>
          </a:xfrm>
          <a:prstGeom prst="rect">
            <a:avLst/>
          </a:prstGeom>
          <a:solidFill>
            <a:schemeClr val="tx1">
              <a:alpha val="1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24" tIns="46612" rIns="93224" bIns="46612" numCol="1" spcCol="0" rtlCol="0" fromWordArt="0" anchor="t" anchorCtr="0" forceAA="0" compatLnSpc="1">
            <a:prstTxWarp prst="textNoShape">
              <a:avLst/>
            </a:prstTxWarp>
            <a:noAutofit/>
          </a:bodyPr>
          <a:lstStyle/>
          <a:p>
            <a:pPr marL="0" marR="0" lvl="0" indent="0" algn="l" defTabSz="950671" rtl="0" eaLnBrk="1" fontAlgn="base" latinLnBrk="0" hangingPunct="1">
              <a:lnSpc>
                <a:spcPct val="100000"/>
              </a:lnSpc>
              <a:spcBef>
                <a:spcPts val="1224"/>
              </a:spcBef>
              <a:spcAft>
                <a:spcPct val="0"/>
              </a:spcAft>
              <a:buClrTx/>
              <a:buSzTx/>
              <a:buFontTx/>
              <a:buNone/>
              <a:tabLst/>
              <a:defRPr/>
            </a:pPr>
            <a:endParaRPr kumimoji="1" lang="en-IN" sz="1800" b="0" i="0" u="none" strike="noStrike" kern="1200" cap="none" spc="0" normalizeH="0" baseline="0" noProof="0" dirty="0">
              <a:ln>
                <a:solidFill>
                  <a:srgbClr val="000000">
                    <a:alpha val="0"/>
                  </a:srgbClr>
                </a:solidFill>
              </a:ln>
              <a:solidFill>
                <a:srgbClr val="FFFFFF"/>
              </a:solidFill>
              <a:effectLst/>
              <a:uLnTx/>
              <a:uFillTx/>
              <a:latin typeface="Segoe UI"/>
              <a:ea typeface="Segoe UI" pitchFamily="34" charset="0"/>
              <a:cs typeface="Segoe UI" pitchFamily="34" charset="0"/>
            </a:endParaRPr>
          </a:p>
        </p:txBody>
      </p:sp>
      <p:sp>
        <p:nvSpPr>
          <p:cNvPr id="10" name="文本框 6">
            <a:extLst>
              <a:ext uri="{FF2B5EF4-FFF2-40B4-BE49-F238E27FC236}">
                <a16:creationId xmlns:a16="http://schemas.microsoft.com/office/drawing/2014/main" id="{31FEDD8F-F8DF-49FB-829A-99946B326177}"/>
              </a:ext>
            </a:extLst>
          </p:cNvPr>
          <p:cNvSpPr txBox="1"/>
          <p:nvPr/>
        </p:nvSpPr>
        <p:spPr>
          <a:xfrm>
            <a:off x="977963" y="2957100"/>
            <a:ext cx="10535309" cy="584775"/>
          </a:xfrm>
          <a:prstGeom prst="rect">
            <a:avLst/>
          </a:prstGeom>
          <a:noFill/>
        </p:spPr>
        <p:txBody>
          <a:bodyPr wrap="square" rtlCol="0">
            <a:spAutoFit/>
          </a:bodyPr>
          <a:lstStyle/>
          <a:p>
            <a:pPr lvl="0"/>
            <a:r>
              <a:rPr kumimoji="0" lang="en-US" altLang="zh-CN"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rPr>
              <a:t>Photocathode: long life time</a:t>
            </a:r>
            <a:endParaRPr kumimoji="0" lang="zh-CN" altLang="en-US"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endParaRPr>
          </a:p>
        </p:txBody>
      </p:sp>
      <p:sp>
        <p:nvSpPr>
          <p:cNvPr id="11" name="矩形 7">
            <a:extLst>
              <a:ext uri="{FF2B5EF4-FFF2-40B4-BE49-F238E27FC236}">
                <a16:creationId xmlns:a16="http://schemas.microsoft.com/office/drawing/2014/main" id="{D06F2C7B-9B5E-4AF2-BEB6-A25DFA266A98}"/>
              </a:ext>
            </a:extLst>
          </p:cNvPr>
          <p:cNvSpPr/>
          <p:nvPr/>
        </p:nvSpPr>
        <p:spPr>
          <a:xfrm>
            <a:off x="977961" y="3485356"/>
            <a:ext cx="9966419" cy="830997"/>
          </a:xfrm>
          <a:prstGeom prst="rect">
            <a:avLst/>
          </a:prstGeom>
        </p:spPr>
        <p:txBody>
          <a:bodyPr wrap="square">
            <a:spAutoFit/>
          </a:bodyPr>
          <a:lstStyle/>
          <a:p>
            <a:pPr marL="342900" lvl="0" indent="-342900">
              <a:buClr>
                <a:srgbClr val="FFFFFF"/>
              </a:buClr>
              <a:buFont typeface="Arial" panose="020B0604020202020204" pitchFamily="34" charset="0"/>
              <a:buChar cha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Medium QE with long life time</a:t>
            </a:r>
            <a:r>
              <a:rPr kumimoji="0" lang="en-US" altLang="zh-CN" sz="2400" b="1" dirty="0">
                <a:solidFill>
                  <a:srgbClr val="FFFFFF"/>
                </a:solidFill>
                <a:latin typeface="等线 Light" panose="02010600030101010101" pitchFamily="2" charset="-122"/>
                <a:ea typeface="等线 Light" panose="02010600030101010101" pitchFamily="2" charset="-122"/>
              </a:rPr>
              <a:t>: 10</a:t>
            </a:r>
            <a:r>
              <a:rPr kumimoji="0" lang="en-US" altLang="zh-CN" sz="2400" b="1" baseline="30000" dirty="0">
                <a:solidFill>
                  <a:srgbClr val="FFFFFF"/>
                </a:solidFill>
                <a:latin typeface="等线 Light" panose="02010600030101010101" pitchFamily="2" charset="-122"/>
                <a:ea typeface="等线 Light" panose="02010600030101010101" pitchFamily="2" charset="-122"/>
              </a:rPr>
              <a:t>-4</a:t>
            </a:r>
            <a:r>
              <a:rPr kumimoji="0" lang="en-US" altLang="zh-CN" sz="2400" b="1" dirty="0">
                <a:solidFill>
                  <a:srgbClr val="FFFFFF"/>
                </a:solidFill>
                <a:latin typeface="等线 Light" panose="02010600030101010101" pitchFamily="2" charset="-122"/>
                <a:ea typeface="等线 Light" panose="02010600030101010101" pitchFamily="2" charset="-122"/>
              </a:rPr>
              <a:t>~10</a:t>
            </a:r>
            <a:r>
              <a:rPr kumimoji="0" lang="en-US" altLang="zh-CN" sz="2400" b="1" baseline="30000" dirty="0">
                <a:solidFill>
                  <a:srgbClr val="FFFFFF"/>
                </a:solidFill>
                <a:latin typeface="等线 Light" panose="02010600030101010101" pitchFamily="2" charset="-122"/>
                <a:ea typeface="等线 Light" panose="02010600030101010101" pitchFamily="2" charset="-122"/>
              </a:rPr>
              <a:t>-3</a:t>
            </a:r>
            <a:r>
              <a:rPr kumimoji="0" lang="en-US" altLang="zh-CN" sz="2400" b="1" dirty="0">
                <a:solidFill>
                  <a:srgbClr val="FFFFFF"/>
                </a:solidFill>
                <a:latin typeface="等线 Light" panose="02010600030101010101" pitchFamily="2" charset="-122"/>
                <a:ea typeface="等线 Light" panose="02010600030101010101" pitchFamily="2" charset="-122"/>
              </a:rPr>
              <a:t> @266nm &gt; 1 year</a:t>
            </a:r>
            <a:endPar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a:p>
            <a:pPr marL="342900" marR="0" lvl="0" indent="-34290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Metal composite</a:t>
            </a:r>
            <a:r>
              <a:rPr kumimoji="0" lang="en-US" altLang="zh-CN" sz="2400" b="1" dirty="0">
                <a:solidFill>
                  <a:srgbClr val="FFFFFF"/>
                </a:solidFill>
                <a:latin typeface="等线 Light" panose="02010600030101010101" pitchFamily="2" charset="-122"/>
                <a:ea typeface="等线 Light" panose="02010600030101010101" pitchFamily="2" charset="-122"/>
              </a:rPr>
              <a:t>: Ir</a:t>
            </a:r>
            <a:r>
              <a:rPr kumimoji="0" lang="en-US" altLang="zh-CN" sz="2400" b="1" baseline="-25000" dirty="0">
                <a:solidFill>
                  <a:srgbClr val="FFFFFF"/>
                </a:solidFill>
                <a:latin typeface="等线 Light" panose="02010600030101010101" pitchFamily="2" charset="-122"/>
                <a:ea typeface="等线 Light" panose="02010600030101010101" pitchFamily="2" charset="-122"/>
              </a:rPr>
              <a:t>5</a:t>
            </a:r>
            <a:r>
              <a:rPr kumimoji="0" lang="en-US" altLang="zh-CN" sz="2400" b="1" dirty="0">
                <a:solidFill>
                  <a:srgbClr val="FFFFFF"/>
                </a:solidFill>
                <a:latin typeface="等线 Light" panose="02010600030101010101" pitchFamily="2" charset="-122"/>
                <a:ea typeface="等线 Light" panose="02010600030101010101" pitchFamily="2" charset="-122"/>
              </a:rPr>
              <a:t>Ce </a:t>
            </a:r>
            <a:endPar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12" name="文本框 6">
            <a:extLst>
              <a:ext uri="{FF2B5EF4-FFF2-40B4-BE49-F238E27FC236}">
                <a16:creationId xmlns:a16="http://schemas.microsoft.com/office/drawing/2014/main" id="{10CD3810-D300-4019-A355-75016F2A2177}"/>
              </a:ext>
            </a:extLst>
          </p:cNvPr>
          <p:cNvSpPr txBox="1"/>
          <p:nvPr/>
        </p:nvSpPr>
        <p:spPr>
          <a:xfrm>
            <a:off x="977963" y="4505334"/>
            <a:ext cx="10535309" cy="584775"/>
          </a:xfrm>
          <a:prstGeom prst="rect">
            <a:avLst/>
          </a:prstGeom>
          <a:noFill/>
        </p:spPr>
        <p:txBody>
          <a:bodyPr wrap="square" rtlCol="0">
            <a:spAutoFit/>
          </a:bodyPr>
          <a:lstStyle/>
          <a:p>
            <a:pPr lvl="0"/>
            <a:r>
              <a:rPr kumimoji="0" lang="en-US" altLang="zh-CN"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rPr>
              <a:t>Laser: simple, </a:t>
            </a:r>
            <a:r>
              <a:rPr kumimoji="0" lang="en-US" altLang="zh-CN" sz="3200" b="1" dirty="0">
                <a:solidFill>
                  <a:srgbClr val="FFFFFF"/>
                </a:solidFill>
                <a:latin typeface="等线 Light" panose="020F0302020204030204"/>
                <a:ea typeface="等线" panose="02010600030101010101" pitchFamily="2" charset="-122"/>
              </a:rPr>
              <a:t>stable with temporal and spatial manipulation   </a:t>
            </a:r>
            <a:endParaRPr kumimoji="0" lang="zh-CN" altLang="en-US" sz="3200" b="1" i="0" u="none" strike="noStrike" kern="1200" cap="none" spc="0" normalizeH="0" baseline="0" noProof="0" dirty="0">
              <a:ln>
                <a:noFill/>
              </a:ln>
              <a:solidFill>
                <a:srgbClr val="FFFFFF"/>
              </a:solidFill>
              <a:effectLst/>
              <a:uLnTx/>
              <a:uFillTx/>
              <a:latin typeface="等线 Light" panose="020F0302020204030204"/>
              <a:ea typeface="等线" panose="02010600030101010101" pitchFamily="2" charset="-122"/>
              <a:cs typeface="+mn-cs"/>
            </a:endParaRPr>
          </a:p>
        </p:txBody>
      </p:sp>
      <p:sp>
        <p:nvSpPr>
          <p:cNvPr id="13" name="矩形 7">
            <a:extLst>
              <a:ext uri="{FF2B5EF4-FFF2-40B4-BE49-F238E27FC236}">
                <a16:creationId xmlns:a16="http://schemas.microsoft.com/office/drawing/2014/main" id="{0DA85CFD-EFC1-447E-B030-85CD5B0813CB}"/>
              </a:ext>
            </a:extLst>
          </p:cNvPr>
          <p:cNvSpPr/>
          <p:nvPr/>
        </p:nvSpPr>
        <p:spPr>
          <a:xfrm>
            <a:off x="977963" y="5037660"/>
            <a:ext cx="10535309" cy="1446550"/>
          </a:xfrm>
          <a:prstGeom prst="rect">
            <a:avLst/>
          </a:prstGeom>
        </p:spPr>
        <p:txBody>
          <a:bodyPr wrap="square">
            <a:spAutoFit/>
          </a:bodyPr>
          <a:lstStyle/>
          <a:p>
            <a:pPr marL="342900" lvl="0" indent="-342900">
              <a:buClr>
                <a:srgbClr val="FFFFFF"/>
              </a:buClr>
              <a:buFont typeface="Arial" panose="020B0604020202020204" pitchFamily="34" charset="0"/>
              <a:buChar cha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Laser active material pumped by laser diode</a:t>
            </a:r>
          </a:p>
          <a:p>
            <a:pPr marL="800100" lvl="1" indent="-342900">
              <a:buClr>
                <a:srgbClr val="FFFFFF"/>
              </a:buClr>
              <a:buFont typeface="等线 Light" panose="02010600030101010101" pitchFamily="2" charset="-122"/>
              <a:buChar char="–"/>
            </a:pPr>
            <a:r>
              <a:rPr kumimoji="0" lang="en-US" altLang="zh-CN" sz="2000" b="1" dirty="0">
                <a:solidFill>
                  <a:srgbClr val="FFFFFF"/>
                </a:solidFill>
                <a:latin typeface="等线 Light" panose="02010600030101010101" pitchFamily="2" charset="-122"/>
                <a:ea typeface="等线 Light" panose="02010600030101010101" pitchFamily="2" charset="-122"/>
              </a:rPr>
              <a:t>Yb doped fiber &amp; Neodymium (Nd) doped laser crystal: A1 ground laser hut</a:t>
            </a:r>
          </a:p>
          <a:p>
            <a:pPr marL="800100" lvl="1" indent="-342900">
              <a:buClr>
                <a:srgbClr val="FFFFFF"/>
              </a:buClr>
              <a:buFont typeface="等线 Light" panose="02010600030101010101" pitchFamily="2" charset="-122"/>
              <a:buChar char="–"/>
            </a:pPr>
            <a:r>
              <a:rPr kumimoji="0" lang="en-US" altLang="zh-CN" sz="20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Yb</a:t>
            </a:r>
            <a:r>
              <a:rPr kumimoji="0" lang="en-US" altLang="zh-CN" sz="2000" b="1" dirty="0">
                <a:solidFill>
                  <a:srgbClr val="FFFFFF"/>
                </a:solidFill>
                <a:latin typeface="等线 Light" panose="02010600030101010101" pitchFamily="2" charset="-122"/>
                <a:ea typeface="等线 Light" panose="02010600030101010101" pitchFamily="2" charset="-122"/>
              </a:rPr>
              <a:t> doped fiber &amp; Ytterbium (Yb) doped laser crystal: A1 underground laser hut</a:t>
            </a:r>
            <a:endParaRPr kumimoji="0" lang="en-US" altLang="zh-CN" sz="20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a:p>
            <a:pPr marL="342900" marR="0" lvl="0" indent="-342900" algn="l" defTabSz="914400" rtl="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r>
              <a:rPr kumimoji="0" lang="en-US" altLang="zh-CN" sz="24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rPr>
              <a:t>Temporal and spatial reshaping for minimum energy spread and emittance</a:t>
            </a:r>
          </a:p>
        </p:txBody>
      </p:sp>
    </p:spTree>
    <p:extLst>
      <p:ext uri="{BB962C8B-B14F-4D97-AF65-F5344CB8AC3E}">
        <p14:creationId xmlns:p14="http://schemas.microsoft.com/office/powerpoint/2010/main" val="4033193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40678"/>
            <a:ext cx="8229600" cy="511552"/>
          </a:xfrm>
        </p:spPr>
        <p:txBody>
          <a:bodyPr>
            <a:normAutofit fontScale="90000"/>
          </a:bodyPr>
          <a:lstStyle/>
          <a:p>
            <a:r>
              <a:rPr lang="en-US" altLang="ja-JP" b="1" dirty="0">
                <a:latin typeface="Times New Roman" panose="02020603050405020304" pitchFamily="18" charset="0"/>
                <a:cs typeface="Times New Roman" panose="02020603050405020304" pitchFamily="18" charset="0"/>
              </a:rPr>
              <a:t>Heating Test</a:t>
            </a:r>
            <a:endParaRPr kumimoji="1" lang="ja-JP" altLang="en-US" b="1" dirty="0">
              <a:latin typeface="Times New Roman" panose="02020603050405020304" pitchFamily="18" charset="0"/>
              <a:cs typeface="Times New Roman" panose="02020603050405020304" pitchFamily="18" charset="0"/>
            </a:endParaRPr>
          </a:p>
        </p:txBody>
      </p:sp>
      <p:sp>
        <p:nvSpPr>
          <p:cNvPr id="3" name="スライド番号プレースホルダー 2"/>
          <p:cNvSpPr>
            <a:spLocks noGrp="1"/>
          </p:cNvSpPr>
          <p:nvPr>
            <p:ph type="sldNum" sz="quarter" idx="12"/>
          </p:nvPr>
        </p:nvSpPr>
        <p:spPr/>
        <p:txBody>
          <a:bodyPr/>
          <a:lstStyle/>
          <a:p>
            <a:pPr defTabSz="457200"/>
            <a:fld id="{F58A0C24-1E3F-4F95-ABD2-DD1305F0B8E2}" type="slidenum">
              <a:rPr kumimoji="0" lang="ja-JP" altLang="en-US">
                <a:solidFill>
                  <a:prstClr val="black">
                    <a:tint val="75000"/>
                  </a:prstClr>
                </a:solidFill>
                <a:latin typeface="Calibri"/>
                <a:ea typeface="ＭＳ Ｐゴシック" panose="020B0600070205080204" pitchFamily="34" charset="-128"/>
              </a:rPr>
              <a:pPr defTabSz="457200"/>
              <a:t>40</a:t>
            </a:fld>
            <a:endParaRPr kumimoji="0" lang="ja-JP" altLang="en-US" dirty="0">
              <a:solidFill>
                <a:prstClr val="black">
                  <a:tint val="75000"/>
                </a:prstClr>
              </a:solidFill>
              <a:latin typeface="Calibri"/>
              <a:ea typeface="ＭＳ Ｐゴシック" panose="020B0600070205080204" pitchFamily="34" charset="-128"/>
            </a:endParaRPr>
          </a:p>
        </p:txBody>
      </p:sp>
      <p:pic>
        <p:nvPicPr>
          <p:cNvPr id="1026"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2348" t="27416" r="13866" b="21218"/>
          <a:stretch/>
        </p:blipFill>
        <p:spPr bwMode="auto">
          <a:xfrm>
            <a:off x="8154762" y="1196753"/>
            <a:ext cx="1997768" cy="1854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307" t="20361" r="21219" b="29412"/>
          <a:stretch/>
        </p:blipFill>
        <p:spPr bwMode="auto">
          <a:xfrm>
            <a:off x="1919536" y="3789040"/>
            <a:ext cx="2913170" cy="22181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4"/>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9044" t="19117" r="22059" b="26144"/>
          <a:stretch/>
        </p:blipFill>
        <p:spPr bwMode="auto">
          <a:xfrm>
            <a:off x="1945943" y="1124745"/>
            <a:ext cx="2860359" cy="24015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8" name="表 7"/>
          <p:cNvGraphicFramePr>
            <a:graphicFrameLocks noGrp="1"/>
          </p:cNvGraphicFramePr>
          <p:nvPr/>
        </p:nvGraphicFramePr>
        <p:xfrm>
          <a:off x="7824192" y="3350230"/>
          <a:ext cx="2736304" cy="2239010"/>
        </p:xfrm>
        <a:graphic>
          <a:graphicData uri="http://schemas.openxmlformats.org/drawingml/2006/table">
            <a:tbl>
              <a:tblPr/>
              <a:tblGrid>
                <a:gridCol w="2016224">
                  <a:extLst>
                    <a:ext uri="{9D8B030D-6E8A-4147-A177-3AD203B41FA5}">
                      <a16:colId xmlns:a16="http://schemas.microsoft.com/office/drawing/2014/main" val="20000"/>
                    </a:ext>
                  </a:extLst>
                </a:gridCol>
                <a:gridCol w="720080">
                  <a:extLst>
                    <a:ext uri="{9D8B030D-6E8A-4147-A177-3AD203B41FA5}">
                      <a16:colId xmlns:a16="http://schemas.microsoft.com/office/drawing/2014/main" val="20001"/>
                    </a:ext>
                  </a:extLst>
                </a:gridCol>
              </a:tblGrid>
              <a:tr h="177800">
                <a:tc>
                  <a:txBody>
                    <a:bodyPr/>
                    <a:lstStyle/>
                    <a:p>
                      <a:pPr algn="ctr" fontAlgn="ctr"/>
                      <a:r>
                        <a:rPr lang="en-US" sz="1600" b="0" i="0" u="none" strike="noStrike" dirty="0">
                          <a:solidFill>
                            <a:srgbClr val="000000"/>
                          </a:solidFill>
                          <a:effectLst/>
                          <a:latin typeface="Times New Roman"/>
                        </a:rPr>
                        <a:t>Heater Current (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FFC8"/>
                    </a:solidFill>
                  </a:tcPr>
                </a:tc>
                <a:tc>
                  <a:txBody>
                    <a:bodyPr/>
                    <a:lstStyle/>
                    <a:p>
                      <a:pPr algn="ctr" fontAlgn="ctr"/>
                      <a:r>
                        <a:rPr lang="en-US" altLang="ja-JP" sz="1600" b="0" i="0" u="none" strike="noStrike" dirty="0">
                          <a:solidFill>
                            <a:srgbClr val="000000"/>
                          </a:solidFill>
                          <a:effectLst/>
                          <a:latin typeface="Times New Roman"/>
                        </a:rPr>
                        <a:t>16</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177800">
                <a:tc>
                  <a:txBody>
                    <a:bodyPr/>
                    <a:lstStyle/>
                    <a:p>
                      <a:pPr algn="ctr" fontAlgn="ctr"/>
                      <a:r>
                        <a:rPr lang="en-US" sz="1600" b="0" i="0" u="none" strike="noStrike" dirty="0">
                          <a:solidFill>
                            <a:srgbClr val="000000"/>
                          </a:solidFill>
                          <a:effectLst/>
                          <a:latin typeface="Times New Roman"/>
                        </a:rPr>
                        <a:t>Heater Voltage (V)</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FFC8"/>
                    </a:solidFill>
                  </a:tcPr>
                </a:tc>
                <a:tc>
                  <a:txBody>
                    <a:bodyPr/>
                    <a:lstStyle/>
                    <a:p>
                      <a:pPr algn="ctr" fontAlgn="ctr"/>
                      <a:r>
                        <a:rPr lang="en-US" altLang="ja-JP" sz="1600" b="0" i="0" u="none" strike="noStrike">
                          <a:solidFill>
                            <a:srgbClr val="000000"/>
                          </a:solidFill>
                          <a:effectLst/>
                          <a:latin typeface="Times New Roman"/>
                        </a:rPr>
                        <a:t>3.38</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77800">
                <a:tc>
                  <a:txBody>
                    <a:bodyPr/>
                    <a:lstStyle/>
                    <a:p>
                      <a:pPr algn="ctr" fontAlgn="ctr"/>
                      <a:r>
                        <a:rPr lang="en-US" sz="1600" b="0" i="0" u="none" strike="noStrike" dirty="0">
                          <a:solidFill>
                            <a:srgbClr val="000000"/>
                          </a:solidFill>
                          <a:effectLst/>
                          <a:latin typeface="Times New Roman"/>
                        </a:rPr>
                        <a:t>Intermediate electrode (V)</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FFC8"/>
                    </a:solidFill>
                  </a:tcPr>
                </a:tc>
                <a:tc>
                  <a:txBody>
                    <a:bodyPr/>
                    <a:lstStyle/>
                    <a:p>
                      <a:pPr algn="ctr" fontAlgn="ctr"/>
                      <a:r>
                        <a:rPr lang="en-US" altLang="ja-JP" sz="1600" b="0" i="0" u="none" strike="noStrike">
                          <a:solidFill>
                            <a:srgbClr val="000000"/>
                          </a:solidFill>
                          <a:effectLst/>
                          <a:latin typeface="Times New Roman"/>
                        </a:rPr>
                        <a:t>-25</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177800">
                <a:tc>
                  <a:txBody>
                    <a:bodyPr/>
                    <a:lstStyle/>
                    <a:p>
                      <a:pPr algn="ctr" fontAlgn="ctr"/>
                      <a:r>
                        <a:rPr lang="en-US" sz="1600" b="0" i="0" u="none" strike="noStrike">
                          <a:solidFill>
                            <a:srgbClr val="000000"/>
                          </a:solidFill>
                          <a:effectLst/>
                          <a:latin typeface="Times New Roman"/>
                        </a:rPr>
                        <a:t>High Voltage (kV)</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7FF"/>
                    </a:solidFill>
                  </a:tcPr>
                </a:tc>
                <a:tc>
                  <a:txBody>
                    <a:bodyPr/>
                    <a:lstStyle/>
                    <a:p>
                      <a:pPr algn="ctr" fontAlgn="ctr"/>
                      <a:r>
                        <a:rPr lang="en-US" altLang="ja-JP" sz="1600" b="0" i="0" u="none" strike="noStrike">
                          <a:solidFill>
                            <a:srgbClr val="000000"/>
                          </a:solidFill>
                          <a:effectLst/>
                          <a:latin typeface="Times New Roman"/>
                        </a:rPr>
                        <a:t>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77800">
                <a:tc>
                  <a:txBody>
                    <a:bodyPr/>
                    <a:lstStyle/>
                    <a:p>
                      <a:pPr algn="ctr" fontAlgn="ctr"/>
                      <a:r>
                        <a:rPr lang="en-US" sz="1600" b="0" i="0" u="none" strike="noStrike" dirty="0">
                          <a:solidFill>
                            <a:srgbClr val="000000"/>
                          </a:solidFill>
                          <a:effectLst/>
                          <a:latin typeface="Times New Roman"/>
                        </a:rPr>
                        <a:t>Beam current (m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7FF"/>
                    </a:solidFill>
                  </a:tcPr>
                </a:tc>
                <a:tc>
                  <a:txBody>
                    <a:bodyPr/>
                    <a:lstStyle/>
                    <a:p>
                      <a:pPr algn="ctr" fontAlgn="ctr"/>
                      <a:r>
                        <a:rPr lang="en-US" altLang="ja-JP" sz="1600" b="0" i="0" u="none" strike="noStrike">
                          <a:solidFill>
                            <a:srgbClr val="000000"/>
                          </a:solidFill>
                          <a:effectLst/>
                          <a:latin typeface="Times New Roman"/>
                        </a:rPr>
                        <a:t>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177800">
                <a:tc>
                  <a:txBody>
                    <a:bodyPr/>
                    <a:lstStyle/>
                    <a:p>
                      <a:pPr algn="ctr" fontAlgn="ctr"/>
                      <a:r>
                        <a:rPr lang="en-US" sz="1600" b="0" i="0" u="none" strike="noStrike">
                          <a:solidFill>
                            <a:srgbClr val="000000"/>
                          </a:solidFill>
                          <a:effectLst/>
                          <a:latin typeface="Times New Roman"/>
                        </a:rPr>
                        <a:t>Beam Power (W)</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DC7FF"/>
                    </a:solidFill>
                  </a:tcPr>
                </a:tc>
                <a:tc>
                  <a:txBody>
                    <a:bodyPr/>
                    <a:lstStyle/>
                    <a:p>
                      <a:pPr algn="ctr" fontAlgn="ctr"/>
                      <a:r>
                        <a:rPr lang="en-US" altLang="ja-JP" sz="1600" b="1" i="0" u="none" strike="noStrike">
                          <a:solidFill>
                            <a:srgbClr val="FF0000"/>
                          </a:solidFill>
                          <a:effectLst/>
                          <a:latin typeface="Times New Roman"/>
                        </a:rPr>
                        <a:t>52.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77800">
                <a:tc>
                  <a:txBody>
                    <a:bodyPr/>
                    <a:lstStyle/>
                    <a:p>
                      <a:pPr algn="ctr" fontAlgn="ctr"/>
                      <a:r>
                        <a:rPr lang="en-US" sz="1600" b="0" i="0" u="none" strike="noStrike" dirty="0">
                          <a:solidFill>
                            <a:srgbClr val="000000"/>
                          </a:solidFill>
                          <a:effectLst/>
                          <a:latin typeface="Times New Roman"/>
                        </a:rPr>
                        <a:t>Surface Temperature (</a:t>
                      </a:r>
                      <a:r>
                        <a:rPr lang="en-US" sz="1600" b="0" i="0" u="none" strike="noStrike" dirty="0" err="1">
                          <a:solidFill>
                            <a:srgbClr val="000000"/>
                          </a:solidFill>
                          <a:effectLst/>
                          <a:latin typeface="Times New Roman"/>
                        </a:rPr>
                        <a:t>degC</a:t>
                      </a:r>
                      <a:r>
                        <a:rPr lang="en-US" sz="1600" b="0" i="0" u="none" strike="noStrike" dirty="0">
                          <a:solidFill>
                            <a:srgbClr val="000000"/>
                          </a:solidFill>
                          <a:effectLst/>
                          <a:latin typeface="Times New Roman"/>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A3A3"/>
                    </a:solidFill>
                  </a:tcPr>
                </a:tc>
                <a:tc>
                  <a:txBody>
                    <a:bodyPr/>
                    <a:lstStyle/>
                    <a:p>
                      <a:pPr algn="ctr" fontAlgn="ctr"/>
                      <a:r>
                        <a:rPr lang="en-US" altLang="ja-JP" sz="1600" b="1" i="0" u="none" strike="noStrike" dirty="0">
                          <a:solidFill>
                            <a:srgbClr val="FF0000"/>
                          </a:solidFill>
                          <a:effectLst/>
                          <a:latin typeface="Times New Roman"/>
                        </a:rPr>
                        <a:t>1029</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3" name="テキスト ボックス 12"/>
          <p:cNvSpPr txBox="1"/>
          <p:nvPr/>
        </p:nvSpPr>
        <p:spPr>
          <a:xfrm>
            <a:off x="5447928" y="5601434"/>
            <a:ext cx="4608512" cy="707886"/>
          </a:xfrm>
          <a:prstGeom prst="rect">
            <a:avLst/>
          </a:prstGeom>
          <a:noFill/>
        </p:spPr>
        <p:txBody>
          <a:bodyPr wrap="square" rtlCol="0">
            <a:spAutoFit/>
          </a:bodyPr>
          <a:lstStyle/>
          <a:p>
            <a:pPr algn="ctr" defTabSz="457200"/>
            <a:r>
              <a:rPr lang="en-US" altLang="ja-JP" sz="2000" b="1" dirty="0">
                <a:solidFill>
                  <a:srgbClr val="FF0000"/>
                </a:solidFill>
                <a:latin typeface="Times New Roman" panose="02020603050405020304" pitchFamily="18" charset="0"/>
                <a:ea typeface="ＭＳ Ｐゴシック" panose="020B0600070205080204" pitchFamily="34" charset="-128"/>
                <a:cs typeface="Times New Roman" panose="02020603050405020304" pitchFamily="18" charset="0"/>
              </a:rPr>
              <a:t>Heating a photocathode over 1000</a:t>
            </a:r>
            <a:r>
              <a:rPr lang="ja-JP" altLang="en-US" sz="2000" b="1" dirty="0">
                <a:solidFill>
                  <a:srgbClr val="FF0000"/>
                </a:solidFill>
                <a:latin typeface="Times New Roman" panose="02020603050405020304" pitchFamily="18" charset="0"/>
                <a:ea typeface="ＭＳ Ｐゴシック" panose="020B0600070205080204" pitchFamily="34" charset="-128"/>
                <a:cs typeface="Times New Roman" panose="02020603050405020304" pitchFamily="18" charset="0"/>
              </a:rPr>
              <a:t>℃ </a:t>
            </a:r>
            <a:r>
              <a:rPr kumimoji="0" lang="en-US" altLang="ja-JP" sz="2000" b="1" dirty="0">
                <a:solidFill>
                  <a:srgbClr val="FF0000"/>
                </a:solidFill>
                <a:latin typeface="Times New Roman" panose="02020603050405020304" pitchFamily="18" charset="0"/>
                <a:ea typeface="ＭＳ Ｐゴシック" panose="020B0600070205080204" pitchFamily="34" charset="-128"/>
                <a:cs typeface="Times New Roman" panose="02020603050405020304" pitchFamily="18" charset="0"/>
              </a:rPr>
              <a:t>b</a:t>
            </a:r>
            <a:r>
              <a:rPr lang="en-US" altLang="ja-JP" sz="2000" b="1" dirty="0">
                <a:solidFill>
                  <a:srgbClr val="FF0000"/>
                </a:solidFill>
                <a:latin typeface="Times New Roman" panose="02020603050405020304" pitchFamily="18" charset="0"/>
                <a:ea typeface="ＭＳ Ｐゴシック" panose="020B0600070205080204" pitchFamily="34" charset="-128"/>
                <a:cs typeface="Times New Roman" panose="02020603050405020304" pitchFamily="18" charset="0"/>
              </a:rPr>
              <a:t>y EB heating method was succeeded.</a:t>
            </a:r>
            <a:endParaRPr lang="ja-JP" altLang="en-US" sz="2000" b="1" dirty="0">
              <a:solidFill>
                <a:srgbClr val="FF0000"/>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sp>
        <p:nvSpPr>
          <p:cNvPr id="12" name="テキスト ボックス 11"/>
          <p:cNvSpPr txBox="1"/>
          <p:nvPr/>
        </p:nvSpPr>
        <p:spPr>
          <a:xfrm>
            <a:off x="3346376" y="3247818"/>
            <a:ext cx="1872208" cy="369332"/>
          </a:xfrm>
          <a:prstGeom prst="rect">
            <a:avLst/>
          </a:prstGeom>
          <a:noFill/>
        </p:spPr>
        <p:txBody>
          <a:bodyPr wrap="square" rtlCol="0">
            <a:spAutoFit/>
          </a:bodyPr>
          <a:lstStyle/>
          <a:p>
            <a:pPr defTabSz="457200"/>
            <a:r>
              <a:rPr lang="en-US" altLang="ja-JP"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rPr>
              <a:t>W wire (0.7</a:t>
            </a:r>
            <a:r>
              <a:rPr lang="en-US" altLang="ja-JP" dirty="0">
                <a:solidFill>
                  <a:srgbClr val="FFFF00"/>
                </a:solidFill>
                <a:latin typeface="Calibri"/>
                <a:ea typeface="ＭＳ Ｐゴシック" panose="020B0600070205080204" pitchFamily="34" charset="-128"/>
              </a:rPr>
              <a:t>φ</a:t>
            </a:r>
            <a:r>
              <a:rPr lang="en-US" altLang="ja-JP"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rPr>
              <a:t>)</a:t>
            </a:r>
            <a:endParaRPr lang="ja-JP" altLang="en-US"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cxnSp>
        <p:nvCxnSpPr>
          <p:cNvPr id="15" name="直線矢印コネクタ 14"/>
          <p:cNvCxnSpPr>
            <a:stCxn id="12" idx="0"/>
          </p:cNvCxnSpPr>
          <p:nvPr/>
        </p:nvCxnSpPr>
        <p:spPr>
          <a:xfrm flipV="1">
            <a:off x="4282480" y="2564904"/>
            <a:ext cx="0" cy="682914"/>
          </a:xfrm>
          <a:prstGeom prst="straightConnector1">
            <a:avLst/>
          </a:prstGeom>
          <a:ln w="19050">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7" name="テキスト ボックス 16"/>
          <p:cNvSpPr txBox="1"/>
          <p:nvPr/>
        </p:nvSpPr>
        <p:spPr>
          <a:xfrm>
            <a:off x="6023992" y="755412"/>
            <a:ext cx="3761072" cy="369332"/>
          </a:xfrm>
          <a:prstGeom prst="rect">
            <a:avLst/>
          </a:prstGeom>
          <a:noFill/>
        </p:spPr>
        <p:txBody>
          <a:bodyPr wrap="square" rtlCol="0">
            <a:spAutoFit/>
          </a:bodyPr>
          <a:lstStyle/>
          <a:p>
            <a:pPr algn="ctr" defTabSz="457200"/>
            <a:r>
              <a:rPr lang="en-US" altLang="ja-JP"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Experimental Setup &amp; Results】</a:t>
            </a:r>
            <a:endParaRPr lang="ja-JP" altLang="en-US"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sp>
        <p:nvSpPr>
          <p:cNvPr id="42" name="テキスト ボックス 41"/>
          <p:cNvSpPr txBox="1"/>
          <p:nvPr/>
        </p:nvSpPr>
        <p:spPr>
          <a:xfrm>
            <a:off x="1847298" y="755412"/>
            <a:ext cx="3057647" cy="369332"/>
          </a:xfrm>
          <a:prstGeom prst="rect">
            <a:avLst/>
          </a:prstGeom>
          <a:noFill/>
        </p:spPr>
        <p:txBody>
          <a:bodyPr wrap="square" rtlCol="0">
            <a:spAutoFit/>
          </a:bodyPr>
          <a:lstStyle/>
          <a:p>
            <a:pPr algn="ctr" defTabSz="457200"/>
            <a:r>
              <a:rPr lang="en-US" altLang="ja-JP"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rPr>
              <a:t>【Cathode plug】</a:t>
            </a:r>
            <a:endParaRPr lang="ja-JP" altLang="en-US" dirty="0">
              <a:solidFill>
                <a:prstClr val="black"/>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pic>
        <p:nvPicPr>
          <p:cNvPr id="1027" name="Picture 3"/>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052" r="10517"/>
          <a:stretch/>
        </p:blipFill>
        <p:spPr bwMode="auto">
          <a:xfrm>
            <a:off x="5159897" y="1196753"/>
            <a:ext cx="2391393" cy="4342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正方形/長方形 42"/>
          <p:cNvSpPr/>
          <p:nvPr/>
        </p:nvSpPr>
        <p:spPr>
          <a:xfrm>
            <a:off x="6115452" y="1414518"/>
            <a:ext cx="1531188" cy="646331"/>
          </a:xfrm>
          <a:prstGeom prst="rect">
            <a:avLst/>
          </a:prstGeom>
        </p:spPr>
        <p:txBody>
          <a:bodyPr wrap="none">
            <a:spAutoFit/>
          </a:bodyPr>
          <a:lstStyle/>
          <a:p>
            <a:pPr algn="ctr" defTabSz="457200"/>
            <a:r>
              <a:rPr kumimoji="0" lang="en-US" altLang="ja-JP"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rPr>
              <a:t>Radiation </a:t>
            </a:r>
          </a:p>
          <a:p>
            <a:pPr algn="ctr" defTabSz="457200"/>
            <a:r>
              <a:rPr kumimoji="0" lang="en-US" altLang="ja-JP"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rPr>
              <a:t>Thermometers</a:t>
            </a:r>
            <a:endParaRPr kumimoji="0" lang="ja-JP" altLang="en-US" dirty="0">
              <a:solidFill>
                <a:srgbClr val="FFFF00"/>
              </a:solidFill>
              <a:latin typeface="Times New Roman" panose="02020603050405020304" pitchFamily="18" charset="0"/>
              <a:ea typeface="ＭＳ Ｐゴシック" panose="020B0600070205080204" pitchFamily="34" charset="-128"/>
              <a:cs typeface="Times New Roman" panose="02020603050405020304" pitchFamily="18" charset="0"/>
            </a:endParaRPr>
          </a:p>
        </p:txBody>
      </p:sp>
      <p:sp>
        <p:nvSpPr>
          <p:cNvPr id="44" name="円/楕円 43"/>
          <p:cNvSpPr/>
          <p:nvPr/>
        </p:nvSpPr>
        <p:spPr>
          <a:xfrm>
            <a:off x="5663952" y="980728"/>
            <a:ext cx="792088" cy="720080"/>
          </a:xfrm>
          <a:prstGeom prst="ellipse">
            <a:avLst/>
          </a:prstGeom>
          <a:noFill/>
          <a:ln w="317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ja-JP" altLang="en-US">
              <a:solidFill>
                <a:prstClr val="white"/>
              </a:solidFill>
              <a:latin typeface="Calibri"/>
              <a:ea typeface="ＭＳ Ｐゴシック" panose="020B0600070205080204" pitchFamily="34" charset="-128"/>
            </a:endParaRPr>
          </a:p>
        </p:txBody>
      </p:sp>
      <p:cxnSp>
        <p:nvCxnSpPr>
          <p:cNvPr id="46" name="直線矢印コネクタ 45"/>
          <p:cNvCxnSpPr/>
          <p:nvPr/>
        </p:nvCxnSpPr>
        <p:spPr>
          <a:xfrm>
            <a:off x="6223360" y="1484784"/>
            <a:ext cx="0" cy="1763034"/>
          </a:xfrm>
          <a:prstGeom prst="straightConnector1">
            <a:avLst/>
          </a:prstGeom>
          <a:ln w="19050">
            <a:solidFill>
              <a:srgbClr val="FFFF00"/>
            </a:solidFill>
            <a:tailEnd type="arrow"/>
          </a:ln>
        </p:spPr>
        <p:style>
          <a:lnRef idx="1">
            <a:schemeClr val="accent1"/>
          </a:lnRef>
          <a:fillRef idx="0">
            <a:schemeClr val="accent1"/>
          </a:fillRef>
          <a:effectRef idx="0">
            <a:schemeClr val="accent1"/>
          </a:effectRef>
          <a:fontRef idx="minor">
            <a:schemeClr val="tx1"/>
          </a:fontRef>
        </p:style>
      </p:cxnSp>
      <p:cxnSp>
        <p:nvCxnSpPr>
          <p:cNvPr id="49" name="直線矢印コネクタ 48"/>
          <p:cNvCxnSpPr/>
          <p:nvPr/>
        </p:nvCxnSpPr>
        <p:spPr>
          <a:xfrm>
            <a:off x="6247613" y="2204864"/>
            <a:ext cx="2798054" cy="0"/>
          </a:xfrm>
          <a:prstGeom prst="straightConnector1">
            <a:avLst/>
          </a:prstGeom>
          <a:ln w="19050">
            <a:solidFill>
              <a:srgbClr val="FFFF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95114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テキスト ボックス 8"/>
          <p:cNvSpPr txBox="1"/>
          <p:nvPr/>
        </p:nvSpPr>
        <p:spPr>
          <a:xfrm>
            <a:off x="6487886" y="5974189"/>
            <a:ext cx="4138550" cy="415498"/>
          </a:xfrm>
          <a:prstGeom prst="rect">
            <a:avLst/>
          </a:prstGeom>
          <a:noFill/>
        </p:spPr>
        <p:txBody>
          <a:bodyPr wrap="square" rtlCol="0">
            <a:spAutoFit/>
          </a:bodyPr>
          <a:lstStyle/>
          <a:p>
            <a:pPr marL="285750" indent="-285750">
              <a:buFont typeface="Wingdings" panose="05000000000000000000" pitchFamily="2" charset="2"/>
              <a:buChar char="n"/>
            </a:pPr>
            <a:r>
              <a:rPr lang="en-US" altLang="ja-JP" sz="1050" b="1" dirty="0">
                <a:solidFill>
                  <a:prstClr val="white"/>
                </a:solidFill>
                <a:latin typeface="Arial Unicode MS" panose="020B0604020202020204" pitchFamily="34" charset="-122"/>
                <a:ea typeface="Arial Unicode MS" panose="020B0604020202020204" pitchFamily="34" charset="-122"/>
                <a:cs typeface="Arial Unicode MS" panose="020B0604020202020204" pitchFamily="34" charset="-122"/>
              </a:rPr>
              <a:t>From Prof. YQ Zheng’s Slide, the 1st KEK and SICCAS nonlinear optics forum, Tsukuba, May 28, 2018</a:t>
            </a:r>
          </a:p>
        </p:txBody>
      </p:sp>
      <p:sp>
        <p:nvSpPr>
          <p:cNvPr id="8" name="タイトル 1"/>
          <p:cNvSpPr>
            <a:spLocks noGrp="1"/>
          </p:cNvSpPr>
          <p:nvPr>
            <p:ph type="title"/>
          </p:nvPr>
        </p:nvSpPr>
        <p:spPr>
          <a:xfrm>
            <a:off x="1524001" y="0"/>
            <a:ext cx="7184573" cy="950026"/>
          </a:xfrm>
        </p:spPr>
        <p:txBody>
          <a:bodyPr>
            <a:noAutofit/>
          </a:bodyPr>
          <a:lstStyle/>
          <a:p>
            <a:r>
              <a:rPr lang="en-US" altLang="ja-JP" sz="36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rPr>
              <a:t>YCOB CRYSTAL at LINAC</a:t>
            </a:r>
            <a:endParaRPr lang="ja-JP" altLang="en-US" sz="3600" b="1" dirty="0">
              <a:solidFill>
                <a:schemeClr val="bg1"/>
              </a:solidFill>
              <a:latin typeface="Arial Unicode MS" panose="020B0604020202020204" pitchFamily="34" charset="-122"/>
              <a:ea typeface="Arial Unicode MS" panose="020B0604020202020204" pitchFamily="34" charset="-122"/>
              <a:cs typeface="Arial Unicode MS" panose="020B0604020202020204" pitchFamily="34" charset="-122"/>
            </a:endParaRPr>
          </a:p>
        </p:txBody>
      </p:sp>
      <p:pic>
        <p:nvPicPr>
          <p:cNvPr id="2" name="図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2736" y="636776"/>
            <a:ext cx="10365549" cy="5650664"/>
          </a:xfrm>
          <a:prstGeom prst="rect">
            <a:avLst/>
          </a:prstGeom>
        </p:spPr>
      </p:pic>
    </p:spTree>
    <p:extLst>
      <p:ext uri="{BB962C8B-B14F-4D97-AF65-F5344CB8AC3E}">
        <p14:creationId xmlns:p14="http://schemas.microsoft.com/office/powerpoint/2010/main" val="35817576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524000" y="0"/>
            <a:ext cx="9144000" cy="523220"/>
          </a:xfrm>
          <a:prstGeom prst="rect">
            <a:avLst/>
          </a:prstGeom>
          <a:solidFill>
            <a:schemeClr val="accent1">
              <a:lumMod val="75000"/>
            </a:schemeClr>
          </a:solidFill>
        </p:spPr>
        <p:txBody>
          <a:bodyPr wrap="square">
            <a:spAutoFit/>
          </a:bodyPr>
          <a:lstStyle/>
          <a:p>
            <a:pPr algn="ctr">
              <a:defRPr/>
            </a:pPr>
            <a:r>
              <a:rPr kumimoji="0" lang="en-US" altLang="ja-JP" sz="2800" b="1" kern="100" dirty="0">
                <a:solidFill>
                  <a:prstClr val="white"/>
                </a:solidFill>
                <a:latin typeface="Comic Sans MS" panose="030F0702030302020204" pitchFamily="66" charset="0"/>
                <a:ea typeface="宋体" panose="02010600030101010101" pitchFamily="2" charset="-122"/>
                <a:cs typeface="Times New Roman" panose="02020603050405020304" pitchFamily="18" charset="0"/>
              </a:rPr>
              <a:t>Phase II Nd laser module</a:t>
            </a:r>
          </a:p>
        </p:txBody>
      </p:sp>
      <p:pic>
        <p:nvPicPr>
          <p:cNvPr id="5" name="図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77359" y="949873"/>
            <a:ext cx="6637283" cy="4977963"/>
          </a:xfrm>
          <a:prstGeom prst="rect">
            <a:avLst/>
          </a:prstGeom>
        </p:spPr>
      </p:pic>
    </p:spTree>
    <p:extLst>
      <p:ext uri="{BB962C8B-B14F-4D97-AF65-F5344CB8AC3E}">
        <p14:creationId xmlns:p14="http://schemas.microsoft.com/office/powerpoint/2010/main" val="117171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
            <a:extLst>
              <a:ext uri="{FF2B5EF4-FFF2-40B4-BE49-F238E27FC236}">
                <a16:creationId xmlns:a16="http://schemas.microsoft.com/office/drawing/2014/main" id="{4A44B4B2-F268-4387-B33F-BE7078E05C06}"/>
              </a:ext>
            </a:extLst>
          </p:cNvPr>
          <p:cNvSpPr/>
          <p:nvPr/>
        </p:nvSpPr>
        <p:spPr bwMode="auto">
          <a:xfrm>
            <a:off x="9036828" y="2983831"/>
            <a:ext cx="2778276" cy="1997243"/>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sp>
        <p:nvSpPr>
          <p:cNvPr id="69" name="Rectangle 118"/>
          <p:cNvSpPr/>
          <p:nvPr/>
        </p:nvSpPr>
        <p:spPr>
          <a:xfrm>
            <a:off x="11359530" y="6442502"/>
            <a:ext cx="787395" cy="415498"/>
          </a:xfrm>
          <a:prstGeom prst="rect">
            <a:avLst/>
          </a:prstGeom>
        </p:spPr>
        <p:txBody>
          <a:bodyPr wrap="none" tIns="91440">
            <a:spAutoFit/>
          </a:bodyPr>
          <a:lstStyle/>
          <a:p>
            <a:pPr marL="0" marR="0" lvl="0" indent="0" algn="ctr" defTabSz="930457" eaLnBrk="1" fontAlgn="auto" latinLnBrk="0" hangingPunct="1">
              <a:lnSpc>
                <a:spcPct val="100000"/>
              </a:lnSpc>
              <a:spcBef>
                <a:spcPct val="20000"/>
              </a:spcBef>
              <a:spcAft>
                <a:spcPts val="0"/>
              </a:spcAft>
              <a:buClrTx/>
              <a:buSzPct val="90000"/>
              <a:buFontTx/>
              <a:buNone/>
              <a:tabLst/>
              <a:defRPr/>
            </a:pPr>
            <a:r>
              <a:rPr kumimoji="0" lang="en-US" kern="0" dirty="0">
                <a:solidFill>
                  <a:srgbClr val="FFFFFF"/>
                </a:solidFill>
                <a:latin typeface="等线" panose="02010600030101010101" pitchFamily="2" charset="-122"/>
                <a:ea typeface="等线" panose="02010600030101010101" pitchFamily="2" charset="-122"/>
              </a:rPr>
              <a:t>05-17</a:t>
            </a:r>
            <a:endParaRPr kumimoji="0" lang="en-US"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endParaRPr>
          </a:p>
        </p:txBody>
      </p:sp>
      <p:sp>
        <p:nvSpPr>
          <p:cNvPr id="76" name="Title 3">
            <a:extLst>
              <a:ext uri="{FF2B5EF4-FFF2-40B4-BE49-F238E27FC236}">
                <a16:creationId xmlns:a16="http://schemas.microsoft.com/office/drawing/2014/main" id="{8F4A44AA-8558-47DE-ADF7-2D76A0D9EAD1}"/>
              </a:ext>
            </a:extLst>
          </p:cNvPr>
          <p:cNvSpPr txBox="1">
            <a:spLocks/>
          </p:cNvSpPr>
          <p:nvPr/>
        </p:nvSpPr>
        <p:spPr>
          <a:xfrm>
            <a:off x="660518" y="170874"/>
            <a:ext cx="11486407" cy="593487"/>
          </a:xfrm>
          <a:prstGeom prst="rect">
            <a:avLst/>
          </a:prstGeom>
        </p:spPr>
        <p:txBody>
          <a:bodyPr/>
          <a:lstStyle>
            <a:lvl1pPr algn="l" defTabSz="914023"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23"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Injector Section for SuperKEKB</a:t>
            </a:r>
          </a:p>
        </p:txBody>
      </p:sp>
      <p:pic>
        <p:nvPicPr>
          <p:cNvPr id="3" name="图片 2">
            <a:extLst>
              <a:ext uri="{FF2B5EF4-FFF2-40B4-BE49-F238E27FC236}">
                <a16:creationId xmlns:a16="http://schemas.microsoft.com/office/drawing/2014/main" id="{2E44D082-FD3A-4DB6-AB64-8737008748B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9663" y="1010653"/>
            <a:ext cx="5628773" cy="5628773"/>
          </a:xfrm>
          <a:prstGeom prst="rect">
            <a:avLst/>
          </a:prstGeom>
        </p:spPr>
      </p:pic>
      <p:pic>
        <p:nvPicPr>
          <p:cNvPr id="77" name="Picture 2">
            <a:extLst>
              <a:ext uri="{FF2B5EF4-FFF2-40B4-BE49-F238E27FC236}">
                <a16:creationId xmlns:a16="http://schemas.microsoft.com/office/drawing/2014/main" id="{12818FB6-A41B-40B3-8706-44C8F40D8962}"/>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9808" t="12389" r="8890" b="4055"/>
          <a:stretch/>
        </p:blipFill>
        <p:spPr bwMode="auto">
          <a:xfrm>
            <a:off x="9106440" y="3080455"/>
            <a:ext cx="2639052" cy="1790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0" name="Rectangle 9">
            <a:extLst>
              <a:ext uri="{FF2B5EF4-FFF2-40B4-BE49-F238E27FC236}">
                <a16:creationId xmlns:a16="http://schemas.microsoft.com/office/drawing/2014/main" id="{DD9732C8-DEBA-4A11-9D4B-A011534BA76F}"/>
              </a:ext>
            </a:extLst>
          </p:cNvPr>
          <p:cNvSpPr/>
          <p:nvPr/>
        </p:nvSpPr>
        <p:spPr bwMode="auto">
          <a:xfrm>
            <a:off x="248328" y="1473960"/>
            <a:ext cx="2525134" cy="221039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algn="ctr" defTabSz="931764" fontAlgn="base">
              <a:spcBef>
                <a:spcPct val="0"/>
              </a:spcBef>
              <a:spcAft>
                <a:spcPct val="0"/>
              </a:spcAft>
            </a:pPr>
            <a:endParaRPr lang="en-US" sz="240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endParaRPr>
          </a:p>
        </p:txBody>
      </p:sp>
      <p:pic>
        <p:nvPicPr>
          <p:cNvPr id="4" name="图片 3">
            <a:extLst>
              <a:ext uri="{FF2B5EF4-FFF2-40B4-BE49-F238E27FC236}">
                <a16:creationId xmlns:a16="http://schemas.microsoft.com/office/drawing/2014/main" id="{93E9BF41-3AD9-4A37-81E3-F15A1C75E87B}"/>
              </a:ext>
            </a:extLst>
          </p:cNvPr>
          <p:cNvPicPr>
            <a:picLocks noChangeAspect="1"/>
          </p:cNvPicPr>
          <p:nvPr/>
        </p:nvPicPr>
        <p:blipFill>
          <a:blip r:embed="rId6"/>
          <a:stretch>
            <a:fillRect/>
          </a:stretch>
        </p:blipFill>
        <p:spPr>
          <a:xfrm>
            <a:off x="328792" y="1579983"/>
            <a:ext cx="2364205" cy="1998346"/>
          </a:xfrm>
          <a:prstGeom prst="rect">
            <a:avLst/>
          </a:prstGeom>
        </p:spPr>
      </p:pic>
      <p:sp>
        <p:nvSpPr>
          <p:cNvPr id="92" name="TextBox 10">
            <a:extLst>
              <a:ext uri="{FF2B5EF4-FFF2-40B4-BE49-F238E27FC236}">
                <a16:creationId xmlns:a16="http://schemas.microsoft.com/office/drawing/2014/main" id="{73E20B26-7F5C-4B21-B8BC-5FC51547741B}"/>
              </a:ext>
            </a:extLst>
          </p:cNvPr>
          <p:cNvSpPr txBox="1"/>
          <p:nvPr/>
        </p:nvSpPr>
        <p:spPr>
          <a:xfrm>
            <a:off x="248328" y="3716349"/>
            <a:ext cx="2525134" cy="415948"/>
          </a:xfrm>
          <a:prstGeom prst="rect">
            <a:avLst/>
          </a:prstGeom>
          <a:solidFill>
            <a:schemeClr val="accent3"/>
          </a:solidFill>
          <a:ln w="12700">
            <a:noFill/>
            <a:prstDash val="sysDash"/>
          </a:ln>
        </p:spPr>
        <p:txBody>
          <a:bodyPr wrap="square" lIns="91379" tIns="45690" rIns="91379" bIns="45690" rtlCol="0" anchor="ctr" anchorCtr="0">
            <a:noAutofit/>
          </a:bodyPr>
          <a:lstStyle>
            <a:defPPr>
              <a:defRPr lang="en-US"/>
            </a:defPPr>
            <a:lvl1pPr algn="ctr" defTabSz="1624214" fontAlgn="base">
              <a:defRPr sz="1600" kern="0">
                <a:ln>
                  <a:solidFill>
                    <a:srgbClr val="FFFFFF">
                      <a:alpha val="0"/>
                    </a:srgbClr>
                  </a:solidFill>
                </a:ln>
                <a:gradFill>
                  <a:gsLst>
                    <a:gs pos="0">
                      <a:sysClr val="window" lastClr="FFFFFF"/>
                    </a:gs>
                    <a:gs pos="100000">
                      <a:sysClr val="window" lastClr="FFFFFF"/>
                    </a:gs>
                  </a:gsLst>
                  <a:lin ang="16200000" scaled="0"/>
                </a:gradFill>
              </a:defRPr>
            </a:lvl1pPr>
          </a:lstStyle>
          <a:p>
            <a:r>
              <a:rPr lang="en-US" sz="2200" b="1" dirty="0">
                <a:latin typeface="等线 Light" panose="02010600030101010101" pitchFamily="2" charset="-122"/>
                <a:ea typeface="等线 Light" panose="02010600030101010101" pitchFamily="2" charset="-122"/>
              </a:rPr>
              <a:t>Primary RF gun</a:t>
            </a:r>
          </a:p>
        </p:txBody>
      </p:sp>
      <p:sp>
        <p:nvSpPr>
          <p:cNvPr id="93" name="TextBox 7">
            <a:extLst>
              <a:ext uri="{FF2B5EF4-FFF2-40B4-BE49-F238E27FC236}">
                <a16:creationId xmlns:a16="http://schemas.microsoft.com/office/drawing/2014/main" id="{DF828ABA-476C-4787-9510-A2C65EB017DC}"/>
              </a:ext>
            </a:extLst>
          </p:cNvPr>
          <p:cNvSpPr txBox="1"/>
          <p:nvPr/>
        </p:nvSpPr>
        <p:spPr>
          <a:xfrm>
            <a:off x="230421" y="4229241"/>
            <a:ext cx="2560673" cy="2210392"/>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QTWSC cavity</a:t>
            </a:r>
          </a:p>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Adopted in this stage </a:t>
            </a:r>
          </a:p>
          <a:p>
            <a:pPr marL="171352" indent="-171352" defTabSz="932213">
              <a:lnSpc>
                <a:spcPct val="90000"/>
              </a:lnSpc>
              <a:spcAft>
                <a:spcPts val="600"/>
              </a:spcAft>
              <a:buFont typeface="Arial" panose="020B0604020202020204" pitchFamily="34" charset="0"/>
              <a:buChar char="•"/>
            </a:pPr>
            <a:r>
              <a:rPr lang="en-US" sz="2000" b="1" u="sng"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1st milestone: full regular operation for the injection of HER (R4.3)</a:t>
            </a:r>
          </a:p>
        </p:txBody>
      </p:sp>
      <p:sp>
        <p:nvSpPr>
          <p:cNvPr id="6" name="椭圆 5">
            <a:extLst>
              <a:ext uri="{FF2B5EF4-FFF2-40B4-BE49-F238E27FC236}">
                <a16:creationId xmlns:a16="http://schemas.microsoft.com/office/drawing/2014/main" id="{DE46FD7B-92DB-458A-A652-EB99629FF272}"/>
              </a:ext>
            </a:extLst>
          </p:cNvPr>
          <p:cNvSpPr/>
          <p:nvPr/>
        </p:nvSpPr>
        <p:spPr bwMode="auto">
          <a:xfrm>
            <a:off x="4969042" y="3370441"/>
            <a:ext cx="691816" cy="691816"/>
          </a:xfrm>
          <a:prstGeom prst="ellipse">
            <a:avLst/>
          </a:prstGeom>
          <a:noFill/>
          <a:ln w="57150">
            <a:solidFill>
              <a:schemeClr val="bg1">
                <a:lumMod val="75000"/>
                <a:lumOff val="2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4" name="TextBox 14">
            <a:extLst>
              <a:ext uri="{FF2B5EF4-FFF2-40B4-BE49-F238E27FC236}">
                <a16:creationId xmlns:a16="http://schemas.microsoft.com/office/drawing/2014/main" id="{024A35A6-75D8-4A39-BF69-5FAF4E52BD65}"/>
              </a:ext>
            </a:extLst>
          </p:cNvPr>
          <p:cNvSpPr txBox="1"/>
          <p:nvPr/>
        </p:nvSpPr>
        <p:spPr>
          <a:xfrm>
            <a:off x="9051946" y="1010653"/>
            <a:ext cx="2763158" cy="415948"/>
          </a:xfrm>
          <a:prstGeom prst="rect">
            <a:avLst/>
          </a:prstGeom>
          <a:solidFill>
            <a:srgbClr val="1468C5"/>
          </a:solidFill>
          <a:ln w="12700">
            <a:noFill/>
            <a:prstDash val="sysDash"/>
          </a:ln>
        </p:spPr>
        <p:txBody>
          <a:bodyPr wrap="square" lIns="91379" tIns="45690" rIns="91379" bIns="45690" rtlCol="0" anchor="ctr" anchorCtr="0">
            <a:noAutofit/>
          </a:bodyPr>
          <a:lstStyle>
            <a:defPPr>
              <a:defRPr lang="en-US"/>
            </a:defPPr>
            <a:lvl1pPr defTabSz="914363">
              <a:defRPr sz="2000"/>
            </a:lvl1pPr>
          </a:lstStyle>
          <a:p>
            <a:pPr algn="ctr" defTabSz="1622978" fontAlgn="base">
              <a:defRPr/>
            </a:pPr>
            <a:r>
              <a:rPr lang="en-US" sz="2200" b="1" kern="0" dirty="0">
                <a:ln>
                  <a:solidFill>
                    <a:srgbClr val="FFFFFF">
                      <a:alpha val="0"/>
                    </a:srgbClr>
                  </a:solidFill>
                </a:ln>
                <a:gradFill>
                  <a:gsLst>
                    <a:gs pos="0">
                      <a:sysClr val="window" lastClr="FFFFFF"/>
                    </a:gs>
                    <a:gs pos="100000">
                      <a:sysClr val="window" lastClr="FFFFFF"/>
                    </a:gs>
                  </a:gsLst>
                  <a:lin ang="16200000" scaled="0"/>
                </a:gradFill>
                <a:latin typeface="等线 Light" panose="02010600030101010101" pitchFamily="2" charset="-122"/>
                <a:ea typeface="等线 Light" panose="02010600030101010101" pitchFamily="2" charset="-122"/>
              </a:rPr>
              <a:t>Thermionic gun</a:t>
            </a:r>
          </a:p>
        </p:txBody>
      </p:sp>
      <p:sp>
        <p:nvSpPr>
          <p:cNvPr id="95" name="TextBox 7">
            <a:extLst>
              <a:ext uri="{FF2B5EF4-FFF2-40B4-BE49-F238E27FC236}">
                <a16:creationId xmlns:a16="http://schemas.microsoft.com/office/drawing/2014/main" id="{D0D11C23-9044-49CC-88AE-293E9A995F2C}"/>
              </a:ext>
            </a:extLst>
          </p:cNvPr>
          <p:cNvSpPr txBox="1"/>
          <p:nvPr/>
        </p:nvSpPr>
        <p:spPr>
          <a:xfrm>
            <a:off x="9076095" y="1521064"/>
            <a:ext cx="2867577" cy="1731209"/>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In the 2nd layer</a:t>
            </a:r>
          </a:p>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Used for positron target, PF and PF-AR</a:t>
            </a:r>
          </a:p>
        </p:txBody>
      </p:sp>
      <p:sp>
        <p:nvSpPr>
          <p:cNvPr id="99" name="TextBox 10">
            <a:extLst>
              <a:ext uri="{FF2B5EF4-FFF2-40B4-BE49-F238E27FC236}">
                <a16:creationId xmlns:a16="http://schemas.microsoft.com/office/drawing/2014/main" id="{BD693C71-3BE2-4365-966A-F37E217CA40A}"/>
              </a:ext>
            </a:extLst>
          </p:cNvPr>
          <p:cNvSpPr txBox="1"/>
          <p:nvPr/>
        </p:nvSpPr>
        <p:spPr>
          <a:xfrm>
            <a:off x="9036828" y="5023780"/>
            <a:ext cx="2778276" cy="415948"/>
          </a:xfrm>
          <a:prstGeom prst="rect">
            <a:avLst/>
          </a:prstGeom>
          <a:solidFill>
            <a:schemeClr val="accent6">
              <a:lumMod val="75000"/>
            </a:schemeClr>
          </a:solidFill>
          <a:ln w="12700">
            <a:noFill/>
            <a:prstDash val="sysDash"/>
          </a:ln>
        </p:spPr>
        <p:txBody>
          <a:bodyPr wrap="square" lIns="91379" tIns="45690" rIns="91379" bIns="45690" rtlCol="0" anchor="ctr" anchorCtr="0">
            <a:noAutofit/>
          </a:bodyPr>
          <a:lstStyle>
            <a:defPPr>
              <a:defRPr lang="en-US"/>
            </a:defPPr>
            <a:lvl1pPr algn="ctr" defTabSz="1624214" fontAlgn="base">
              <a:defRPr sz="1600" kern="0">
                <a:ln>
                  <a:solidFill>
                    <a:srgbClr val="FFFFFF">
                      <a:alpha val="0"/>
                    </a:srgbClr>
                  </a:solidFill>
                </a:ln>
                <a:gradFill>
                  <a:gsLst>
                    <a:gs pos="0">
                      <a:sysClr val="window" lastClr="FFFFFF"/>
                    </a:gs>
                    <a:gs pos="100000">
                      <a:sysClr val="window" lastClr="FFFFFF"/>
                    </a:gs>
                  </a:gsLst>
                  <a:lin ang="16200000" scaled="0"/>
                </a:gradFill>
              </a:defRPr>
            </a:lvl1pPr>
          </a:lstStyle>
          <a:p>
            <a:r>
              <a:rPr lang="en-US" sz="2200" b="1" dirty="0">
                <a:latin typeface="等线 Light" panose="02010600030101010101" pitchFamily="2" charset="-122"/>
                <a:ea typeface="等线 Light" panose="02010600030101010101" pitchFamily="2" charset="-122"/>
              </a:rPr>
              <a:t>Secondary RF gun</a:t>
            </a:r>
          </a:p>
        </p:txBody>
      </p:sp>
      <p:sp>
        <p:nvSpPr>
          <p:cNvPr id="100" name="TextBox 7">
            <a:extLst>
              <a:ext uri="{FF2B5EF4-FFF2-40B4-BE49-F238E27FC236}">
                <a16:creationId xmlns:a16="http://schemas.microsoft.com/office/drawing/2014/main" id="{A2A3997C-ACAA-4E8F-B987-00FB674D89B4}"/>
              </a:ext>
            </a:extLst>
          </p:cNvPr>
          <p:cNvSpPr txBox="1"/>
          <p:nvPr/>
        </p:nvSpPr>
        <p:spPr>
          <a:xfrm>
            <a:off x="9109892" y="5482434"/>
            <a:ext cx="2705211" cy="1105133"/>
          </a:xfrm>
          <a:prstGeom prst="rect">
            <a:avLst/>
          </a:prstGeom>
          <a:noFill/>
        </p:spPr>
        <p:txBody>
          <a:bodyPr wrap="square" lIns="91379" tIns="45690" rIns="91379" bIns="45690" rtlCol="0">
            <a:noAutofit/>
          </a:bodyPr>
          <a:lstStyle/>
          <a:p>
            <a:pPr marL="171352" indent="-171352" defTabSz="932213">
              <a:lnSpc>
                <a:spcPct val="90000"/>
              </a:lnSpc>
              <a:spcAft>
                <a:spcPts val="600"/>
              </a:spcAft>
              <a:buFont typeface="Arial" panose="020B0604020202020204" pitchFamily="34" charset="0"/>
              <a:buChar char="•"/>
            </a:pP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CDS cavity</a:t>
            </a:r>
          </a:p>
          <a:p>
            <a:pPr marL="171352" indent="-171352" defTabSz="932213">
              <a:lnSpc>
                <a:spcPct val="90000"/>
              </a:lnSpc>
              <a:spcAft>
                <a:spcPts val="600"/>
              </a:spcAft>
              <a:buFont typeface="Arial" panose="020B0604020202020204" pitchFamily="34" charset="0"/>
              <a:buChar char="•"/>
            </a:pPr>
            <a:r>
              <a:rPr lang="en-US" altLang="zh-CN"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Never used</a:t>
            </a:r>
            <a:r>
              <a:rPr lang="en-US" sz="20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 in this stage</a:t>
            </a:r>
          </a:p>
        </p:txBody>
      </p:sp>
      <p:sp>
        <p:nvSpPr>
          <p:cNvPr id="101" name="椭圆 100">
            <a:extLst>
              <a:ext uri="{FF2B5EF4-FFF2-40B4-BE49-F238E27FC236}">
                <a16:creationId xmlns:a16="http://schemas.microsoft.com/office/drawing/2014/main" id="{7A222B49-4F2E-4568-83C7-B6543F10E48A}"/>
              </a:ext>
            </a:extLst>
          </p:cNvPr>
          <p:cNvSpPr/>
          <p:nvPr/>
        </p:nvSpPr>
        <p:spPr bwMode="auto">
          <a:xfrm>
            <a:off x="7293142" y="4539938"/>
            <a:ext cx="691816" cy="691816"/>
          </a:xfrm>
          <a:prstGeom prst="ellipse">
            <a:avLst/>
          </a:prstGeom>
          <a:noFill/>
          <a:ln w="57150">
            <a:solidFill>
              <a:schemeClr val="accent6">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5" name="幻灯片缩放定位 4">
                <a:extLst>
                  <a:ext uri="{FF2B5EF4-FFF2-40B4-BE49-F238E27FC236}">
                    <a16:creationId xmlns:a16="http://schemas.microsoft.com/office/drawing/2014/main" id="{9F5A86A9-8AC3-46CB-A81E-5C1D7DF106AC}"/>
                  </a:ext>
                </a:extLst>
              </p:cNvPr>
              <p:cNvGraphicFramePr>
                <a:graphicFrameLocks noChangeAspect="1"/>
              </p:cNvGraphicFramePr>
              <p:nvPr>
                <p:extLst>
                  <p:ext uri="{D42A27DB-BD31-4B8C-83A1-F6EECF244321}">
                    <p14:modId xmlns:p14="http://schemas.microsoft.com/office/powerpoint/2010/main" val="3187184763"/>
                  </p:ext>
                </p:extLst>
              </p:nvPr>
            </p:nvGraphicFramePr>
            <p:xfrm>
              <a:off x="878250" y="2501702"/>
              <a:ext cx="105276" cy="94748"/>
            </p:xfrm>
            <a:graphic>
              <a:graphicData uri="http://schemas.microsoft.com/office/powerpoint/2016/slidezoom">
                <pslz:sldZm>
                  <pslz:sldZmObj sldId="263" cId="3405604579">
                    <pslz:zmPr id="{4E4AD645-5022-4027-B3E2-9E392097F2F5}" returnToParent="0" imageType="cover" transitionDur="1000">
                      <p166:blipFill xmlns:p166="http://schemas.microsoft.com/office/powerpoint/2016/6/main">
                        <a:blip r:embed="rId7" cstate="print">
                          <a:extLst>
                            <a:ext uri="{28A0092B-C50C-407E-A947-70E740481C1C}">
                              <a14:useLocalDpi xmlns:a14="http://schemas.microsoft.com/office/drawing/2010/main" val="0"/>
                            </a:ext>
                          </a:extLst>
                        </a:blip>
                        <a:stretch>
                          <a:fillRect/>
                        </a:stretch>
                      </p166:blipFill>
                      <p166:spPr xmlns:p166="http://schemas.microsoft.com/office/powerpoint/2016/6/main">
                        <a:xfrm>
                          <a:off x="0" y="0"/>
                          <a:ext cx="105276" cy="94748"/>
                        </a:xfrm>
                        <a:prstGeom prst="rect">
                          <a:avLst/>
                        </a:prstGeom>
                        <a:solidFill>
                          <a:schemeClr val="accent4">
                            <a:lumMod val="50000"/>
                          </a:schemeClr>
                        </a:solidFill>
                        <a:ln w="3175">
                          <a:noFill/>
                        </a:ln>
                      </p166:spPr>
                    </pslz:zmPr>
                  </pslz:sldZmObj>
                </pslz:sldZm>
              </a:graphicData>
            </a:graphic>
          </p:graphicFrame>
        </mc:Choice>
        <mc:Fallback xmlns="">
          <p:pic>
            <p:nvPicPr>
              <p:cNvPr id="5" name="幻灯片缩放定位 4">
                <a:hlinkClick r:id="rId8" action="ppaction://hlinksldjump"/>
                <a:extLst>
                  <a:ext uri="{FF2B5EF4-FFF2-40B4-BE49-F238E27FC236}">
                    <a16:creationId xmlns:a16="http://schemas.microsoft.com/office/drawing/2014/main" id="{9F5A86A9-8AC3-46CB-A81E-5C1D7DF106AC}"/>
                  </a:ext>
                </a:extLst>
              </p:cNvPr>
              <p:cNvPicPr>
                <a:picLocks noGrp="1" noRot="1" noChangeAspect="1" noMove="1" noResize="1" noEditPoints="1" noAdjustHandles="1" noChangeArrowheads="1" noChangeShapeType="1"/>
              </p:cNvPicPr>
              <p:nvPr/>
            </p:nvPicPr>
            <p:blipFill>
              <a:blip r:embed="rId9" cstate="print">
                <a:extLst>
                  <a:ext uri="{28A0092B-C50C-407E-A947-70E740481C1C}">
                    <a14:useLocalDpi xmlns:a14="http://schemas.microsoft.com/office/drawing/2010/main" val="0"/>
                  </a:ext>
                </a:extLst>
              </a:blip>
              <a:stretch>
                <a:fillRect/>
              </a:stretch>
            </p:blipFill>
            <p:spPr>
              <a:xfrm>
                <a:off x="878250" y="2501702"/>
                <a:ext cx="105276" cy="94748"/>
              </a:xfrm>
              <a:prstGeom prst="rect">
                <a:avLst/>
              </a:prstGeom>
              <a:solidFill>
                <a:schemeClr val="accent4">
                  <a:lumMod val="50000"/>
                </a:schemeClr>
              </a:solidFill>
              <a:ln w="3175">
                <a:noFill/>
              </a:ln>
            </p:spPr>
          </p:pic>
        </mc:Fallback>
      </mc:AlternateContent>
    </p:spTree>
    <p:custDataLst>
      <p:tags r:id="rId1"/>
    </p:custDataLst>
    <p:extLst>
      <p:ext uri="{BB962C8B-B14F-4D97-AF65-F5344CB8AC3E}">
        <p14:creationId xmlns:p14="http://schemas.microsoft.com/office/powerpoint/2010/main" val="3263371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90" grpId="0" animBg="1"/>
      <p:bldP spid="92" grpId="0" animBg="1"/>
      <p:bldP spid="93" grpId="0"/>
      <p:bldP spid="6" grpId="0" animBg="1"/>
      <p:bldP spid="94" grpId="0" animBg="1"/>
      <p:bldP spid="95" grpId="0"/>
      <p:bldP spid="99" grpId="0" animBg="1"/>
      <p:bldP spid="100" grpId="0"/>
      <p:bldP spid="10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13">
            <a:extLst>
              <a:ext uri="{FF2B5EF4-FFF2-40B4-BE49-F238E27FC236}">
                <a16:creationId xmlns:a16="http://schemas.microsoft.com/office/drawing/2014/main" id="{D6BC8980-EAE3-4BDE-89E8-1CD31D2EC938}"/>
              </a:ext>
            </a:extLst>
          </p:cNvPr>
          <p:cNvSpPr/>
          <p:nvPr/>
        </p:nvSpPr>
        <p:spPr bwMode="auto">
          <a:xfrm>
            <a:off x="5610130" y="942417"/>
            <a:ext cx="6538242" cy="549326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60" tIns="146207" rIns="182760" bIns="146207" numCol="1" spcCol="0" rtlCol="0" fromWordArt="0" anchor="t" anchorCtr="0" forceAA="0" compatLnSpc="1">
            <a:prstTxWarp prst="textNoShape">
              <a:avLst/>
            </a:prstTxWarp>
            <a:noAutofit/>
          </a:bodyPr>
          <a:lstStyle/>
          <a:p>
            <a:pPr marL="0" marR="0" lvl="0" indent="0" algn="ctr" defTabSz="931764" rtl="0" eaLnBrk="1" fontAlgn="base" latinLnBrk="0" hangingPunct="1">
              <a:lnSpc>
                <a:spcPct val="100000"/>
              </a:lnSpc>
              <a:spcBef>
                <a:spcPct val="0"/>
              </a:spcBef>
              <a:spcAft>
                <a:spcPct val="0"/>
              </a:spcAft>
              <a:buClrTx/>
              <a:buSzTx/>
              <a:buFontTx/>
              <a:buNone/>
              <a:tabLst/>
              <a:defRPr/>
            </a:pPr>
            <a:endParaRPr kumimoji="1" lang="en-US" sz="2400" b="0" i="0" u="none" strike="noStrike" kern="1200" cap="none" spc="0" normalizeH="0" baseline="0" noProof="0" dirty="0">
              <a:ln>
                <a:solidFill>
                  <a:srgbClr val="FFFFFF">
                    <a:alpha val="0"/>
                  </a:srgbClr>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3">
            <a:extLst>
              <a:ext uri="{FF2B5EF4-FFF2-40B4-BE49-F238E27FC236}">
                <a16:creationId xmlns:a16="http://schemas.microsoft.com/office/drawing/2014/main" id="{1753E346-EAE8-490A-922C-E461B2491330}"/>
              </a:ext>
            </a:extLst>
          </p:cNvPr>
          <p:cNvSpPr/>
          <p:nvPr/>
        </p:nvSpPr>
        <p:spPr bwMode="auto">
          <a:xfrm>
            <a:off x="105989" y="949169"/>
            <a:ext cx="5245399" cy="5483720"/>
          </a:xfrm>
          <a:prstGeom prst="rect">
            <a:avLst/>
          </a:prstGeom>
          <a:solidFill>
            <a:srgbClr val="0072C6"/>
          </a:solidFill>
          <a:ln w="9525" cap="flat" cmpd="sng" algn="ctr">
            <a:noFill/>
            <a:prstDash val="solid"/>
            <a:headEnd type="none" w="med" len="med"/>
            <a:tailEnd type="none" w="med" len="med"/>
          </a:ln>
          <a:effectLst/>
        </p:spPr>
        <p:txBody>
          <a:bodyPr rot="0" spcFirstLastPara="0" vertOverflow="overflow" horzOverflow="overflow" vert="horz" wrap="square" lIns="182812" tIns="146249" rIns="182812" bIns="146249" numCol="1" spcCol="0" rtlCol="0" fromWordArt="0" anchor="t" anchorCtr="0" forceAA="0" compatLnSpc="1">
            <a:prstTxWarp prst="textNoShape">
              <a:avLst/>
            </a:prstTxWarp>
            <a:noAutofit/>
          </a:bodyPr>
          <a:lstStyle/>
          <a:p>
            <a:pPr marL="0" marR="0" lvl="0" indent="0" algn="ctr" defTabSz="932121" rtl="0" eaLnBrk="1" fontAlgn="base" latinLnBrk="0" hangingPunct="1">
              <a:lnSpc>
                <a:spcPct val="90000"/>
              </a:lnSpc>
              <a:spcBef>
                <a:spcPct val="0"/>
              </a:spcBef>
              <a:spcAft>
                <a:spcPct val="0"/>
              </a:spcAft>
              <a:buClrTx/>
              <a:buSzTx/>
              <a:buFontTx/>
              <a:buNone/>
              <a:tabLst/>
              <a:defRPr/>
            </a:pPr>
            <a:endParaRPr kumimoji="0" lang="sv-SE" sz="2400" b="0" i="0" u="none" strike="noStrike" kern="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0" name="Rectangle 118"/>
          <p:cNvSpPr/>
          <p:nvPr/>
        </p:nvSpPr>
        <p:spPr>
          <a:xfrm>
            <a:off x="11359530" y="6442502"/>
            <a:ext cx="787395" cy="415498"/>
          </a:xfrm>
          <a:prstGeom prst="rect">
            <a:avLst/>
          </a:prstGeom>
        </p:spPr>
        <p:txBody>
          <a:bodyPr wrap="none" tIns="91440">
            <a:spAutoFit/>
          </a:bodyPr>
          <a:lstStyle/>
          <a:p>
            <a:pPr marL="0" marR="0" lvl="0" indent="0" algn="ctr" defTabSz="930457" eaLnBrk="1" fontAlgn="auto" latinLnBrk="0" hangingPunct="1">
              <a:lnSpc>
                <a:spcPct val="100000"/>
              </a:lnSpc>
              <a:spcBef>
                <a:spcPct val="20000"/>
              </a:spcBef>
              <a:spcAft>
                <a:spcPts val="0"/>
              </a:spcAft>
              <a:buClrTx/>
              <a:buSzPct val="90000"/>
              <a:buFontTx/>
              <a:buNone/>
              <a:tabLst/>
              <a:defRPr/>
            </a:pPr>
            <a:r>
              <a:rPr kumimoji="0" lang="en-US" kern="0" dirty="0">
                <a:solidFill>
                  <a:srgbClr val="FFFFFF"/>
                </a:solidFill>
                <a:latin typeface="等线" panose="02010600030101010101" pitchFamily="2" charset="-122"/>
                <a:ea typeface="等线" panose="02010600030101010101" pitchFamily="2" charset="-122"/>
              </a:rPr>
              <a:t>06-17</a:t>
            </a:r>
            <a:endParaRPr kumimoji="0" lang="en-US"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endParaRPr>
          </a:p>
        </p:txBody>
      </p:sp>
      <p:sp>
        <p:nvSpPr>
          <p:cNvPr id="11" name="Title 3">
            <a:extLst>
              <a:ext uri="{FF2B5EF4-FFF2-40B4-BE49-F238E27FC236}">
                <a16:creationId xmlns:a16="http://schemas.microsoft.com/office/drawing/2014/main" id="{32A4A0F5-BE81-4177-BB4B-7F10FC2DAAD6}"/>
              </a:ext>
            </a:extLst>
          </p:cNvPr>
          <p:cNvSpPr txBox="1">
            <a:spLocks/>
          </p:cNvSpPr>
          <p:nvPr/>
        </p:nvSpPr>
        <p:spPr>
          <a:xfrm>
            <a:off x="660518" y="170874"/>
            <a:ext cx="11486407" cy="593487"/>
          </a:xfrm>
          <a:prstGeom prst="rect">
            <a:avLst/>
          </a:prstGeom>
        </p:spPr>
        <p:txBody>
          <a:bodyPr/>
          <a:lstStyle>
            <a:lvl1pPr algn="l" defTabSz="914023"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023" rtl="0" eaLnBrk="1" fontAlgn="auto" latinLnBrk="0" hangingPunct="1">
              <a:lnSpc>
                <a:spcPct val="90000"/>
              </a:lnSpc>
              <a:spcBef>
                <a:spcPct val="0"/>
              </a:spcBef>
              <a:spcAft>
                <a:spcPts val="0"/>
              </a:spcAft>
              <a:buClrTx/>
              <a:buSzTx/>
              <a:buFontTx/>
              <a:buNone/>
              <a:tabLst/>
              <a:defRPr/>
            </a:pPr>
            <a:r>
              <a:rPr kumimoji="0" lang="en-US" altLang="zh-CN" sz="4000" b="1"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rPr>
              <a:t>Photocathode in Primary RF Gun </a:t>
            </a:r>
            <a:endParaRPr kumimoji="0" lang="en-US" sz="4000" b="1" i="0" u="none" strike="noStrike" kern="1200" cap="none" spc="-100" normalizeH="0" baseline="0" noProof="0" dirty="0">
              <a:ln w="3175">
                <a:noFill/>
              </a:ln>
              <a:gradFill>
                <a:gsLst>
                  <a:gs pos="1250">
                    <a:srgbClr val="FFFFFF"/>
                  </a:gs>
                  <a:gs pos="100000">
                    <a:srgbClr val="FFFFFF"/>
                  </a:gs>
                </a:gsLst>
                <a:lin ang="5400000" scaled="0"/>
              </a:gradFill>
              <a:effectLst/>
              <a:uLnTx/>
              <a:uFillTx/>
              <a:latin typeface="Segoe UI Light"/>
              <a:ea typeface="+mn-ea"/>
              <a:cs typeface="Segoe UI" pitchFamily="34" charset="0"/>
            </a:endParaRPr>
          </a:p>
        </p:txBody>
      </p:sp>
      <p:sp>
        <p:nvSpPr>
          <p:cNvPr id="4" name="テキスト ボックス 13">
            <a:extLst>
              <a:ext uri="{FF2B5EF4-FFF2-40B4-BE49-F238E27FC236}">
                <a16:creationId xmlns:a16="http://schemas.microsoft.com/office/drawing/2014/main" id="{B4DB0097-E5C6-4E8E-BDEE-5B731D585EDF}"/>
              </a:ext>
            </a:extLst>
          </p:cNvPr>
          <p:cNvSpPr txBox="1"/>
          <p:nvPr/>
        </p:nvSpPr>
        <p:spPr>
          <a:xfrm>
            <a:off x="478766" y="1054907"/>
            <a:ext cx="4554510" cy="461665"/>
          </a:xfrm>
          <a:prstGeom prst="rect">
            <a:avLst/>
          </a:prstGeom>
          <a:noFill/>
        </p:spPr>
        <p:txBody>
          <a:bodyPr wrap="square" rtlCol="0">
            <a:spAutoFit/>
          </a:bodyPr>
          <a:lstStyle/>
          <a:p>
            <a:r>
              <a:rPr lang="en-US" altLang="zh-CN" sz="2400" b="1" dirty="0">
                <a:latin typeface="等线 Light" panose="02010600030101010101" pitchFamily="2" charset="-122"/>
                <a:ea typeface="等线 Light" panose="02010600030101010101" pitchFamily="2" charset="-122"/>
                <a:cs typeface="Times New Roman" panose="02020603050405020304" pitchFamily="18" charset="0"/>
              </a:rPr>
              <a:t>Ir</a:t>
            </a:r>
            <a:r>
              <a:rPr lang="en-US" altLang="zh-CN" sz="2400" b="1" baseline="-25000" dirty="0">
                <a:latin typeface="等线 Light" panose="02010600030101010101" pitchFamily="2" charset="-122"/>
                <a:ea typeface="等线 Light" panose="02010600030101010101" pitchFamily="2" charset="-122"/>
                <a:cs typeface="Times New Roman" panose="02020603050405020304" pitchFamily="18" charset="0"/>
              </a:rPr>
              <a:t>7</a:t>
            </a:r>
            <a:r>
              <a:rPr lang="en-US" altLang="zh-CN" sz="2400" b="1" dirty="0">
                <a:latin typeface="等线 Light" panose="02010600030101010101" pitchFamily="2" charset="-122"/>
                <a:ea typeface="等线 Light" panose="02010600030101010101" pitchFamily="2" charset="-122"/>
                <a:cs typeface="Times New Roman" panose="02020603050405020304" pitchFamily="18" charset="0"/>
              </a:rPr>
              <a:t>Ce</a:t>
            </a:r>
            <a:r>
              <a:rPr lang="en-US" altLang="zh-CN" sz="2400" b="1" baseline="-25000" dirty="0">
                <a:latin typeface="等线 Light" panose="02010600030101010101" pitchFamily="2" charset="-122"/>
                <a:ea typeface="等线 Light" panose="02010600030101010101" pitchFamily="2" charset="-122"/>
                <a:cs typeface="Times New Roman" panose="02020603050405020304" pitchFamily="18" charset="0"/>
              </a:rPr>
              <a:t>2</a:t>
            </a:r>
            <a:r>
              <a:rPr lang="en-US" altLang="zh-CN" sz="2400" b="1" dirty="0">
                <a:latin typeface="等线 Light" panose="02010600030101010101" pitchFamily="2" charset="-122"/>
                <a:ea typeface="等线 Light" panose="02010600030101010101" pitchFamily="2" charset="-122"/>
                <a:cs typeface="Times New Roman" panose="02020603050405020304" pitchFamily="18" charset="0"/>
              </a:rPr>
              <a:t> p</a:t>
            </a:r>
            <a:r>
              <a:rPr kumimoji="1" lang="en-US" altLang="ja-JP" sz="2400" b="1" dirty="0">
                <a:latin typeface="等线 Light" panose="02010600030101010101" pitchFamily="2" charset="-122"/>
                <a:ea typeface="等线 Light" panose="02010600030101010101" pitchFamily="2" charset="-122"/>
                <a:cs typeface="Times New Roman" panose="02020603050405020304" pitchFamily="18" charset="0"/>
              </a:rPr>
              <a:t>hotocathode</a:t>
            </a:r>
            <a:r>
              <a:rPr lang="en-US" altLang="ja-JP" sz="2400" b="1" dirty="0">
                <a:latin typeface="等线 Light" panose="02010600030101010101" pitchFamily="2" charset="-122"/>
                <a:ea typeface="等线 Light" panose="02010600030101010101" pitchFamily="2" charset="-122"/>
                <a:cs typeface="Times New Roman" panose="02020603050405020304" pitchFamily="18" charset="0"/>
              </a:rPr>
              <a:t> &amp; QE map</a:t>
            </a:r>
            <a:endParaRPr kumimoji="1" lang="ja-JP" altLang="en-US" sz="2400" b="1" dirty="0">
              <a:latin typeface="等线 Light" panose="02010600030101010101" pitchFamily="2" charset="-122"/>
              <a:ea typeface="等线 Light"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9DB32D6C-5022-45BD-8C85-43EA46DB2E3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078" t="25817" r="55393" b="31209"/>
          <a:stretch/>
        </p:blipFill>
        <p:spPr bwMode="auto">
          <a:xfrm>
            <a:off x="140267" y="1828020"/>
            <a:ext cx="1705250" cy="23358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a:extLst>
              <a:ext uri="{FF2B5EF4-FFF2-40B4-BE49-F238E27FC236}">
                <a16:creationId xmlns:a16="http://schemas.microsoft.com/office/drawing/2014/main" id="{763CB8B8-ACD2-4737-98F7-89909E83078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5763" t="25684" r="28079" b="17474"/>
          <a:stretch/>
        </p:blipFill>
        <p:spPr bwMode="auto">
          <a:xfrm>
            <a:off x="2191899" y="1794250"/>
            <a:ext cx="2717891" cy="2403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テキスト ボックス 9">
            <a:extLst>
              <a:ext uri="{FF2B5EF4-FFF2-40B4-BE49-F238E27FC236}">
                <a16:creationId xmlns:a16="http://schemas.microsoft.com/office/drawing/2014/main" id="{52DD7A43-A338-4AAD-90C5-34BF4366E8E7}"/>
              </a:ext>
            </a:extLst>
          </p:cNvPr>
          <p:cNvSpPr txBox="1"/>
          <p:nvPr/>
        </p:nvSpPr>
        <p:spPr>
          <a:xfrm>
            <a:off x="1414163" y="2811272"/>
            <a:ext cx="1154271" cy="369332"/>
          </a:xfrm>
          <a:prstGeom prst="rect">
            <a:avLst/>
          </a:prstGeom>
          <a:noFill/>
          <a:scene3d>
            <a:camera prst="orthographicFront">
              <a:rot lat="0" lon="0" rev="5400000"/>
            </a:camera>
            <a:lightRig rig="threePt" dir="t"/>
          </a:scene3d>
        </p:spPr>
        <p:txBody>
          <a:bodyPr wrap="square" rtlCol="0">
            <a:spAutoFit/>
          </a:bodyPr>
          <a:lstStyle/>
          <a:p>
            <a:pPr algn="ctr"/>
            <a:r>
              <a:rPr lang="en-US" altLang="ja-JP" i="1" dirty="0">
                <a:latin typeface="Times New Roman" panose="02020603050405020304" pitchFamily="18" charset="0"/>
                <a:cs typeface="Times New Roman" panose="02020603050405020304" pitchFamily="18" charset="0"/>
              </a:rPr>
              <a:t>y</a:t>
            </a:r>
            <a:r>
              <a:rPr kumimoji="1" lang="en-US" altLang="ja-JP" i="1" dirty="0">
                <a:latin typeface="Times New Roman" panose="02020603050405020304" pitchFamily="18" charset="0"/>
                <a:cs typeface="Times New Roman" panose="02020603050405020304" pitchFamily="18" charset="0"/>
              </a:rPr>
              <a:t> (mm)</a:t>
            </a:r>
            <a:endParaRPr kumimoji="1" lang="ja-JP" altLang="en-US" baseline="-25000" dirty="0">
              <a:latin typeface="Times New Roman" panose="02020603050405020304" pitchFamily="18" charset="0"/>
              <a:cs typeface="Times New Roman" panose="02020603050405020304" pitchFamily="18" charset="0"/>
            </a:endParaRPr>
          </a:p>
        </p:txBody>
      </p:sp>
      <p:grpSp>
        <p:nvGrpSpPr>
          <p:cNvPr id="8" name="グループ化 6">
            <a:extLst>
              <a:ext uri="{FF2B5EF4-FFF2-40B4-BE49-F238E27FC236}">
                <a16:creationId xmlns:a16="http://schemas.microsoft.com/office/drawing/2014/main" id="{2954876F-1FDC-4D73-871E-EC4AAE67C910}"/>
              </a:ext>
            </a:extLst>
          </p:cNvPr>
          <p:cNvGrpSpPr/>
          <p:nvPr/>
        </p:nvGrpSpPr>
        <p:grpSpPr>
          <a:xfrm>
            <a:off x="2884664" y="2811272"/>
            <a:ext cx="3122227" cy="1499189"/>
            <a:chOff x="3464914" y="1397402"/>
            <a:chExt cx="5570617" cy="2674823"/>
          </a:xfrm>
        </p:grpSpPr>
        <p:sp>
          <p:nvSpPr>
            <p:cNvPr id="9" name="テキスト ボックス 5">
              <a:extLst>
                <a:ext uri="{FF2B5EF4-FFF2-40B4-BE49-F238E27FC236}">
                  <a16:creationId xmlns:a16="http://schemas.microsoft.com/office/drawing/2014/main" id="{C66389FF-0ECF-4FF5-9C6B-1FAF0E53449B}"/>
                </a:ext>
              </a:extLst>
            </p:cNvPr>
            <p:cNvSpPr txBox="1"/>
            <p:nvPr/>
          </p:nvSpPr>
          <p:spPr>
            <a:xfrm>
              <a:off x="5978077" y="1397402"/>
              <a:ext cx="3057454" cy="658955"/>
            </a:xfrm>
            <a:prstGeom prst="rect">
              <a:avLst/>
            </a:prstGeom>
            <a:noFill/>
            <a:scene3d>
              <a:camera prst="orthographicFront">
                <a:rot lat="0" lon="0" rev="16200000"/>
              </a:camera>
              <a:lightRig rig="threePt" dir="t"/>
            </a:scene3d>
          </p:spPr>
          <p:txBody>
            <a:bodyPr wrap="square" rtlCol="0">
              <a:spAutoFit/>
            </a:bodyPr>
            <a:lstStyle/>
            <a:p>
              <a:pPr algn="ctr"/>
              <a:r>
                <a:rPr kumimoji="1" lang="en-US" altLang="ja-JP" dirty="0">
                  <a:latin typeface="Times New Roman" panose="02020603050405020304" pitchFamily="18" charset="0"/>
                  <a:cs typeface="Times New Roman" panose="02020603050405020304" pitchFamily="18" charset="0"/>
                </a:rPr>
                <a:t>QE(</a:t>
              </a:r>
              <a:r>
                <a:rPr kumimoji="1" lang="en-US" altLang="ja-JP" i="1" dirty="0" err="1">
                  <a:latin typeface="Times New Roman" panose="02020603050405020304" pitchFamily="18" charset="0"/>
                  <a:cs typeface="Times New Roman" panose="02020603050405020304" pitchFamily="18" charset="0"/>
                </a:rPr>
                <a:t>x</a:t>
              </a:r>
              <a:r>
                <a:rPr kumimoji="1" lang="en-US" altLang="ja-JP" dirty="0" err="1">
                  <a:latin typeface="Times New Roman" panose="02020603050405020304" pitchFamily="18" charset="0"/>
                  <a:cs typeface="Times New Roman" panose="02020603050405020304" pitchFamily="18" charset="0"/>
                </a:rPr>
                <a:t>,</a:t>
              </a:r>
              <a:r>
                <a:rPr kumimoji="1" lang="en-US" altLang="ja-JP" i="1" dirty="0" err="1">
                  <a:latin typeface="Times New Roman" panose="02020603050405020304" pitchFamily="18" charset="0"/>
                  <a:cs typeface="Times New Roman" panose="02020603050405020304" pitchFamily="18" charset="0"/>
                </a:rPr>
                <a:t>y</a:t>
              </a:r>
              <a:r>
                <a:rPr kumimoji="1" lang="en-US" altLang="ja-JP" dirty="0">
                  <a:latin typeface="Times New Roman" panose="02020603050405020304" pitchFamily="18" charset="0"/>
                  <a:cs typeface="Times New Roman" panose="02020603050405020304" pitchFamily="18" charset="0"/>
                </a:rPr>
                <a:t>)/QE</a:t>
              </a:r>
              <a:r>
                <a:rPr kumimoji="1" lang="en-US" altLang="ja-JP" baseline="-25000" dirty="0">
                  <a:latin typeface="Times New Roman" panose="02020603050405020304" pitchFamily="18" charset="0"/>
                  <a:cs typeface="Times New Roman" panose="02020603050405020304" pitchFamily="18" charset="0"/>
                </a:rPr>
                <a:t>Max</a:t>
              </a:r>
              <a:endParaRPr kumimoji="1" lang="ja-JP" altLang="en-US" baseline="-25000" dirty="0">
                <a:latin typeface="Times New Roman" panose="02020603050405020304" pitchFamily="18" charset="0"/>
                <a:cs typeface="Times New Roman" panose="02020603050405020304" pitchFamily="18" charset="0"/>
              </a:endParaRPr>
            </a:p>
          </p:txBody>
        </p:sp>
        <p:sp>
          <p:nvSpPr>
            <p:cNvPr id="12" name="テキスト ボックス 10">
              <a:extLst>
                <a:ext uri="{FF2B5EF4-FFF2-40B4-BE49-F238E27FC236}">
                  <a16:creationId xmlns:a16="http://schemas.microsoft.com/office/drawing/2014/main" id="{1B4BAB09-A071-4EE6-8A99-3991C424A212}"/>
                </a:ext>
              </a:extLst>
            </p:cNvPr>
            <p:cNvSpPr txBox="1"/>
            <p:nvPr/>
          </p:nvSpPr>
          <p:spPr>
            <a:xfrm>
              <a:off x="3464914" y="3702893"/>
              <a:ext cx="1872208" cy="369332"/>
            </a:xfrm>
            <a:prstGeom prst="rect">
              <a:avLst/>
            </a:prstGeom>
            <a:noFill/>
            <a:scene3d>
              <a:camera prst="orthographicFront">
                <a:rot lat="0" lon="0" rev="0"/>
              </a:camera>
              <a:lightRig rig="threePt" dir="t"/>
            </a:scene3d>
          </p:spPr>
          <p:txBody>
            <a:bodyPr wrap="square" rtlCol="0">
              <a:spAutoFit/>
            </a:bodyPr>
            <a:lstStyle/>
            <a:p>
              <a:pPr algn="ctr"/>
              <a:r>
                <a:rPr lang="en-US" altLang="ja-JP" i="1" dirty="0">
                  <a:latin typeface="Times New Roman" panose="02020603050405020304" pitchFamily="18" charset="0"/>
                  <a:cs typeface="Times New Roman" panose="02020603050405020304" pitchFamily="18" charset="0"/>
                </a:rPr>
                <a:t>x</a:t>
              </a:r>
              <a:r>
                <a:rPr kumimoji="1" lang="en-US" altLang="ja-JP" i="1" dirty="0">
                  <a:latin typeface="Times New Roman" panose="02020603050405020304" pitchFamily="18" charset="0"/>
                  <a:cs typeface="Times New Roman" panose="02020603050405020304" pitchFamily="18" charset="0"/>
                </a:rPr>
                <a:t> (mm)</a:t>
              </a:r>
              <a:endParaRPr kumimoji="1" lang="ja-JP" altLang="en-US" baseline="-25000" dirty="0">
                <a:latin typeface="Times New Roman" panose="02020603050405020304" pitchFamily="18" charset="0"/>
                <a:cs typeface="Times New Roman" panose="02020603050405020304" pitchFamily="18" charset="0"/>
              </a:endParaRPr>
            </a:p>
          </p:txBody>
        </p:sp>
      </p:grpSp>
      <p:pic>
        <p:nvPicPr>
          <p:cNvPr id="15" name="Picture 377">
            <a:extLst>
              <a:ext uri="{FF2B5EF4-FFF2-40B4-BE49-F238E27FC236}">
                <a16:creationId xmlns:a16="http://schemas.microsoft.com/office/drawing/2014/main" id="{C9014E72-AA74-457C-83FF-8ACE431B4D09}"/>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2555" y="1503864"/>
            <a:ext cx="3548122" cy="3320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 name="Picture 2">
            <a:extLst>
              <a:ext uri="{FF2B5EF4-FFF2-40B4-BE49-F238E27FC236}">
                <a16:creationId xmlns:a16="http://schemas.microsoft.com/office/drawing/2014/main" id="{9E437104-CC39-4DD5-8FD1-04415C63F9D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9307" t="20361" r="21219" b="29412"/>
          <a:stretch/>
        </p:blipFill>
        <p:spPr bwMode="auto">
          <a:xfrm rot="16200000" flipV="1">
            <a:off x="9111107" y="2272105"/>
            <a:ext cx="2897525" cy="22067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5" name="テキスト ボックス 13">
            <a:extLst>
              <a:ext uri="{FF2B5EF4-FFF2-40B4-BE49-F238E27FC236}">
                <a16:creationId xmlns:a16="http://schemas.microsoft.com/office/drawing/2014/main" id="{9232F92C-E5B3-4645-83B3-DAD74A09E289}"/>
              </a:ext>
            </a:extLst>
          </p:cNvPr>
          <p:cNvSpPr txBox="1"/>
          <p:nvPr/>
        </p:nvSpPr>
        <p:spPr>
          <a:xfrm>
            <a:off x="6438125" y="1060402"/>
            <a:ext cx="5119476" cy="461665"/>
          </a:xfrm>
          <a:prstGeom prst="rect">
            <a:avLst/>
          </a:prstGeom>
          <a:noFill/>
        </p:spPr>
        <p:txBody>
          <a:bodyPr wrap="square" rtlCol="0">
            <a:spAutoFit/>
          </a:bodyPr>
          <a:lstStyle/>
          <a:p>
            <a:r>
              <a:rPr lang="en-US" altLang="zh-CN" sz="2400" b="1" dirty="0">
                <a:latin typeface="等线 Light" panose="02010600030101010101" pitchFamily="2" charset="-122"/>
                <a:ea typeface="等线 Light" panose="02010600030101010101" pitchFamily="2" charset="-122"/>
                <a:cs typeface="Times New Roman" panose="02020603050405020304" pitchFamily="18" charset="0"/>
              </a:rPr>
              <a:t>Novel type cathode plug in this stage </a:t>
            </a:r>
            <a:endParaRPr kumimoji="1" lang="ja-JP" altLang="en-US" sz="2400" b="1" dirty="0">
              <a:latin typeface="等线 Light" panose="02010600030101010101" pitchFamily="2" charset="-122"/>
              <a:ea typeface="等线 Light" panose="02010600030101010101" pitchFamily="2" charset="-122"/>
              <a:cs typeface="Times New Roman" panose="02020603050405020304" pitchFamily="18" charset="0"/>
            </a:endParaRPr>
          </a:p>
        </p:txBody>
      </p:sp>
      <p:sp>
        <p:nvSpPr>
          <p:cNvPr id="26" name="矩形 7">
            <a:extLst>
              <a:ext uri="{FF2B5EF4-FFF2-40B4-BE49-F238E27FC236}">
                <a16:creationId xmlns:a16="http://schemas.microsoft.com/office/drawing/2014/main" id="{F4D98549-BEAA-49EA-8680-AE6404BF7518}"/>
              </a:ext>
            </a:extLst>
          </p:cNvPr>
          <p:cNvSpPr/>
          <p:nvPr/>
        </p:nvSpPr>
        <p:spPr>
          <a:xfrm>
            <a:off x="105989" y="4828208"/>
            <a:ext cx="5245399" cy="1323439"/>
          </a:xfrm>
          <a:prstGeom prst="rect">
            <a:avLst/>
          </a:prstGeom>
        </p:spPr>
        <p:txBody>
          <a:bodyPr wrap="square">
            <a:spAutoFit/>
          </a:bodyPr>
          <a:lstStyle/>
          <a:p>
            <a:pPr marL="342900" lvl="0" indent="-342900">
              <a:buClr>
                <a:srgbClr val="FFFFFF"/>
              </a:buClr>
              <a:buFont typeface="Arial" panose="020B0604020202020204" pitchFamily="34" charset="0"/>
              <a:buChar char="•"/>
            </a:pPr>
            <a:r>
              <a:rPr kumimoji="0" lang="en-US" altLang="zh-CN" sz="2000" b="1" dirty="0">
                <a:solidFill>
                  <a:srgbClr val="FFFFFF"/>
                </a:solidFill>
                <a:latin typeface="等线 Light" panose="02010600030101010101" pitchFamily="2" charset="-122"/>
                <a:ea typeface="等线 Light" panose="02010600030101010101" pitchFamily="2" charset="-122"/>
              </a:rPr>
              <a:t>QE &gt; 10</a:t>
            </a:r>
            <a:r>
              <a:rPr kumimoji="0" lang="en-US" altLang="zh-CN" sz="2000" b="1" baseline="30000" dirty="0">
                <a:solidFill>
                  <a:srgbClr val="FFFFFF"/>
                </a:solidFill>
                <a:latin typeface="等线 Light" panose="02010600030101010101" pitchFamily="2" charset="-122"/>
                <a:ea typeface="等线 Light" panose="02010600030101010101" pitchFamily="2" charset="-122"/>
              </a:rPr>
              <a:t>-4</a:t>
            </a:r>
            <a:r>
              <a:rPr kumimoji="0" lang="en-US" altLang="zh-CN" sz="2000" b="1" dirty="0">
                <a:solidFill>
                  <a:srgbClr val="FFFFFF"/>
                </a:solidFill>
                <a:latin typeface="等线 Light" panose="02010600030101010101" pitchFamily="2" charset="-122"/>
                <a:ea typeface="等线 Light" panose="02010600030101010101" pitchFamily="2" charset="-122"/>
              </a:rPr>
              <a:t>  in off-line measurement (10</a:t>
            </a:r>
            <a:r>
              <a:rPr kumimoji="0" lang="en-US" altLang="zh-CN" sz="2000" b="1" baseline="30000" dirty="0">
                <a:solidFill>
                  <a:srgbClr val="FFFFFF"/>
                </a:solidFill>
                <a:latin typeface="等线 Light" panose="02010600030101010101" pitchFamily="2" charset="-122"/>
                <a:ea typeface="等线 Light" panose="02010600030101010101" pitchFamily="2" charset="-122"/>
              </a:rPr>
              <a:t>-6</a:t>
            </a:r>
            <a:r>
              <a:rPr kumimoji="0" lang="en-US" altLang="zh-CN" sz="2000" b="1" dirty="0">
                <a:solidFill>
                  <a:srgbClr val="FFFFFF"/>
                </a:solidFill>
                <a:latin typeface="等线 Light" panose="02010600030101010101" pitchFamily="2" charset="-122"/>
                <a:ea typeface="等线 Light" panose="02010600030101010101" pitchFamily="2" charset="-122"/>
              </a:rPr>
              <a:t> Pa) </a:t>
            </a:r>
          </a:p>
          <a:p>
            <a:pPr marL="342900" lvl="0" indent="-342900">
              <a:buClr>
                <a:srgbClr val="FFFFFF"/>
              </a:buClr>
              <a:buFont typeface="Arial" panose="020B0604020202020204" pitchFamily="34" charset="0"/>
              <a:buChar char="•"/>
            </a:pPr>
            <a:endParaRPr kumimoji="0" lang="en-US" altLang="zh-CN" sz="2000" b="1" dirty="0">
              <a:solidFill>
                <a:srgbClr val="FFFFFF"/>
              </a:solidFill>
              <a:latin typeface="等线 Light" panose="02010600030101010101" pitchFamily="2" charset="-122"/>
              <a:ea typeface="等线 Light" panose="02010600030101010101" pitchFamily="2" charset="-122"/>
            </a:endParaRPr>
          </a:p>
          <a:p>
            <a:pPr marL="342900" lvl="0" indent="-342900">
              <a:buClr>
                <a:srgbClr val="FFFFFF"/>
              </a:buClr>
              <a:buFont typeface="Arial" panose="020B0604020202020204" pitchFamily="34" charset="0"/>
              <a:buChar char="•"/>
            </a:pPr>
            <a:r>
              <a:rPr kumimoji="0" lang="en-US" altLang="zh-CN" sz="2000" b="1" dirty="0">
                <a:solidFill>
                  <a:srgbClr val="FFFFFF"/>
                </a:solidFill>
                <a:latin typeface="等线 Light" panose="02010600030101010101" pitchFamily="2" charset="-122"/>
                <a:ea typeface="等线 Light" panose="02010600030101010101" pitchFamily="2" charset="-122"/>
              </a:rPr>
              <a:t>QE = 10</a:t>
            </a:r>
            <a:r>
              <a:rPr kumimoji="0" lang="en-US" altLang="zh-CN" sz="2000" b="1" baseline="30000" dirty="0">
                <a:solidFill>
                  <a:srgbClr val="FFFFFF"/>
                </a:solidFill>
                <a:latin typeface="等线 Light" panose="02010600030101010101" pitchFamily="2" charset="-122"/>
                <a:ea typeface="等线 Light" panose="02010600030101010101" pitchFamily="2" charset="-122"/>
              </a:rPr>
              <a:t>-5</a:t>
            </a:r>
            <a:r>
              <a:rPr kumimoji="0" lang="en-US" altLang="zh-CN" sz="2000" b="1" dirty="0">
                <a:solidFill>
                  <a:srgbClr val="FFFFFF"/>
                </a:solidFill>
                <a:latin typeface="等线 Light" panose="02010600030101010101" pitchFamily="2" charset="-122"/>
                <a:ea typeface="等线 Light" panose="02010600030101010101" pitchFamily="2" charset="-122"/>
              </a:rPr>
              <a:t>  in operation condition because of vacuum level (10</a:t>
            </a:r>
            <a:r>
              <a:rPr kumimoji="0" lang="en-US" altLang="zh-CN" sz="2000" b="1" baseline="30000" dirty="0">
                <a:solidFill>
                  <a:srgbClr val="FFFFFF"/>
                </a:solidFill>
                <a:latin typeface="等线 Light" panose="02010600030101010101" pitchFamily="2" charset="-122"/>
                <a:ea typeface="等线 Light" panose="02010600030101010101" pitchFamily="2" charset="-122"/>
              </a:rPr>
              <a:t>-5</a:t>
            </a:r>
            <a:r>
              <a:rPr kumimoji="0" lang="en-US" altLang="zh-CN" sz="2000" b="1" dirty="0">
                <a:solidFill>
                  <a:srgbClr val="FFFFFF"/>
                </a:solidFill>
                <a:latin typeface="等线 Light" panose="02010600030101010101" pitchFamily="2" charset="-122"/>
                <a:ea typeface="等线 Light" panose="02010600030101010101" pitchFamily="2" charset="-122"/>
              </a:rPr>
              <a:t> Pa)</a:t>
            </a:r>
            <a:endParaRPr kumimoji="0" lang="en-US" altLang="zh-CN" sz="2000" b="1" i="0" u="none" strike="noStrike" kern="1200" cap="none" spc="0" normalizeH="0" baseline="0" noProof="0" dirty="0">
              <a:ln>
                <a:noFill/>
              </a:ln>
              <a:solidFill>
                <a:srgbClr val="FFFFFF"/>
              </a:solidFill>
              <a:effectLst/>
              <a:uLnTx/>
              <a:uFillTx/>
              <a:latin typeface="等线 Light" panose="02010600030101010101" pitchFamily="2" charset="-122"/>
              <a:ea typeface="等线 Light" panose="02010600030101010101" pitchFamily="2" charset="-122"/>
            </a:endParaRPr>
          </a:p>
        </p:txBody>
      </p:sp>
      <p:sp>
        <p:nvSpPr>
          <p:cNvPr id="27" name="矩形 7">
            <a:extLst>
              <a:ext uri="{FF2B5EF4-FFF2-40B4-BE49-F238E27FC236}">
                <a16:creationId xmlns:a16="http://schemas.microsoft.com/office/drawing/2014/main" id="{52D4BB99-CD48-4F65-8664-33E09F620169}"/>
              </a:ext>
            </a:extLst>
          </p:cNvPr>
          <p:cNvSpPr/>
          <p:nvPr/>
        </p:nvSpPr>
        <p:spPr>
          <a:xfrm>
            <a:off x="5672490" y="4984314"/>
            <a:ext cx="6538241" cy="1323439"/>
          </a:xfrm>
          <a:prstGeom prst="rect">
            <a:avLst/>
          </a:prstGeom>
        </p:spPr>
        <p:txBody>
          <a:bodyPr wrap="square">
            <a:spAutoFit/>
          </a:bodyPr>
          <a:lstStyle/>
          <a:p>
            <a:pPr marL="342900" lvl="0" indent="-342900">
              <a:buClr>
                <a:srgbClr val="FFFFFF"/>
              </a:buClr>
              <a:buFont typeface="Arial" panose="020B0604020202020204" pitchFamily="34" charset="0"/>
              <a:buChar char="•"/>
            </a:pPr>
            <a:r>
              <a:rPr kumimoji="0" lang="en-US" altLang="zh-CN" sz="2000" b="1" dirty="0">
                <a:solidFill>
                  <a:srgbClr val="FFFFFF"/>
                </a:solidFill>
                <a:latin typeface="等线 Light" panose="02010600030101010101" pitchFamily="2" charset="-122"/>
                <a:ea typeface="等线 Light" panose="02010600030101010101" pitchFamily="2" charset="-122"/>
              </a:rPr>
              <a:t>Electron beam heating: the main cathode is bombarded by an accelerated electron beam</a:t>
            </a:r>
          </a:p>
          <a:p>
            <a:pPr marL="342900" lvl="0" indent="-342900">
              <a:buClr>
                <a:srgbClr val="FFFFFF"/>
              </a:buClr>
              <a:buFont typeface="Arial" panose="020B0604020202020204" pitchFamily="34" charset="0"/>
              <a:buChar char="•"/>
            </a:pPr>
            <a:r>
              <a:rPr kumimoji="0" lang="en-US" altLang="zh-CN" sz="2000" b="1" dirty="0">
                <a:solidFill>
                  <a:srgbClr val="FFFFFF"/>
                </a:solidFill>
                <a:latin typeface="等线 Light" panose="02010600030101010101" pitchFamily="2" charset="-122"/>
                <a:ea typeface="等线 Light" panose="02010600030101010101" pitchFamily="2" charset="-122"/>
              </a:rPr>
              <a:t>Successful heating over 1000 ℃</a:t>
            </a:r>
          </a:p>
          <a:p>
            <a:pPr marL="342900" lvl="0" indent="-342900">
              <a:buClr>
                <a:srgbClr val="FFFFFF"/>
              </a:buClr>
              <a:buFont typeface="Arial" panose="020B0604020202020204" pitchFamily="34" charset="0"/>
              <a:buChar char="•"/>
            </a:pPr>
            <a:r>
              <a:rPr kumimoji="0" lang="en-US" altLang="zh-CN" sz="2000" b="1" dirty="0">
                <a:solidFill>
                  <a:srgbClr val="FFFFFF"/>
                </a:solidFill>
                <a:latin typeface="等线 Light" panose="02010600030101010101" pitchFamily="2" charset="-122"/>
                <a:ea typeface="等线 Light" panose="02010600030101010101" pitchFamily="2" charset="-122"/>
              </a:rPr>
              <a:t>QE increased 3 times after cleaning</a:t>
            </a:r>
          </a:p>
        </p:txBody>
      </p:sp>
      <p:sp>
        <p:nvSpPr>
          <p:cNvPr id="29" name="箭头: 下 28">
            <a:extLst>
              <a:ext uri="{FF2B5EF4-FFF2-40B4-BE49-F238E27FC236}">
                <a16:creationId xmlns:a16="http://schemas.microsoft.com/office/drawing/2014/main" id="{F9915C96-2824-4770-A42B-8913E317E185}"/>
              </a:ext>
            </a:extLst>
          </p:cNvPr>
          <p:cNvSpPr/>
          <p:nvPr/>
        </p:nvSpPr>
        <p:spPr bwMode="auto">
          <a:xfrm rot="10800000">
            <a:off x="7360586" y="2509997"/>
            <a:ext cx="153423" cy="212039"/>
          </a:xfrm>
          <a:prstGeom prst="downArrow">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0" name="矩形 29">
            <a:extLst>
              <a:ext uri="{FF2B5EF4-FFF2-40B4-BE49-F238E27FC236}">
                <a16:creationId xmlns:a16="http://schemas.microsoft.com/office/drawing/2014/main" id="{012D4CA1-0FCB-40BA-A82F-58841E672272}"/>
              </a:ext>
            </a:extLst>
          </p:cNvPr>
          <p:cNvSpPr/>
          <p:nvPr/>
        </p:nvSpPr>
        <p:spPr>
          <a:xfrm>
            <a:off x="7437297" y="2505006"/>
            <a:ext cx="378630" cy="369332"/>
          </a:xfrm>
          <a:prstGeom prst="rect">
            <a:avLst/>
          </a:prstGeom>
        </p:spPr>
        <p:txBody>
          <a:bodyPr wrap="none">
            <a:spAutoFit/>
          </a:bodyPr>
          <a:lstStyle/>
          <a:p>
            <a:r>
              <a:rPr kumimoji="0" lang="en-US" altLang="zh-CN" b="1" dirty="0">
                <a:solidFill>
                  <a:srgbClr val="FF0000"/>
                </a:solidFill>
                <a:latin typeface="等线 Light" panose="02010600030101010101" pitchFamily="2" charset="-122"/>
                <a:ea typeface="等线 Light" panose="02010600030101010101" pitchFamily="2" charset="-122"/>
              </a:rPr>
              <a:t>e</a:t>
            </a:r>
            <a:r>
              <a:rPr kumimoji="0" lang="en-US" altLang="zh-CN" b="1" baseline="30000" dirty="0">
                <a:solidFill>
                  <a:srgbClr val="FF0000"/>
                </a:solidFill>
                <a:latin typeface="等线 Light" panose="02010600030101010101" pitchFamily="2" charset="-122"/>
                <a:ea typeface="等线 Light" panose="02010600030101010101" pitchFamily="2" charset="-122"/>
              </a:rPr>
              <a:t>-</a:t>
            </a:r>
            <a:endParaRPr lang="zh-CN" altLang="en-US" baseline="30000" dirty="0">
              <a:solidFill>
                <a:srgbClr val="FF0000"/>
              </a:solidFill>
            </a:endParaRPr>
          </a:p>
        </p:txBody>
      </p:sp>
      <p:pic>
        <p:nvPicPr>
          <p:cNvPr id="14" name="图片 13">
            <a:extLst>
              <a:ext uri="{FF2B5EF4-FFF2-40B4-BE49-F238E27FC236}">
                <a16:creationId xmlns:a16="http://schemas.microsoft.com/office/drawing/2014/main" id="{011AA864-0C42-443D-BFD9-FE7B3A3A43E5}"/>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894874"/>
            <a:ext cx="12192000" cy="5256773"/>
          </a:xfrm>
          <a:prstGeom prst="rect">
            <a:avLst/>
          </a:prstGeom>
        </p:spPr>
      </p:pic>
    </p:spTree>
    <p:custDataLst>
      <p:tags r:id="rId1"/>
    </p:custDataLst>
    <p:extLst>
      <p:ext uri="{BB962C8B-B14F-4D97-AF65-F5344CB8AC3E}">
        <p14:creationId xmlns:p14="http://schemas.microsoft.com/office/powerpoint/2010/main" val="34056045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repeatCount="indefinite" fill="hold" grpId="0" nodeType="clickEffect">
                                  <p:stCondLst>
                                    <p:cond delay="0"/>
                                  </p:stCondLst>
                                  <p:endCondLst>
                                    <p:cond evt="onNext" delay="0">
                                      <p:tgtEl>
                                        <p:sldTgt/>
                                      </p:tgtEl>
                                    </p:cond>
                                  </p:endCondLst>
                                  <p:childTnLst>
                                    <p:set>
                                      <p:cBhvr>
                                        <p:cTn id="6" dur="1" fill="hold">
                                          <p:stCondLst>
                                            <p:cond delay="0"/>
                                          </p:stCondLst>
                                        </p:cTn>
                                        <p:tgtEl>
                                          <p:spTgt spid="29"/>
                                        </p:tgtEl>
                                        <p:attrNameLst>
                                          <p:attrName>style.visibility</p:attrName>
                                        </p:attrNameLst>
                                      </p:cBhvr>
                                      <p:to>
                                        <p:strVal val="visible"/>
                                      </p:to>
                                    </p:set>
                                    <p:animEffect transition="in" filter="wipe(down)">
                                      <p:cBhvr>
                                        <p:cTn id="7" dur="500"/>
                                        <p:tgtEl>
                                          <p:spTgt spid="29"/>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wipe(down)">
                                      <p:cBhvr>
                                        <p:cTn id="10" dur="500"/>
                                        <p:tgtEl>
                                          <p:spTgt spid="3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直線コネクタ 35">
            <a:extLst>
              <a:ext uri="{FF2B5EF4-FFF2-40B4-BE49-F238E27FC236}">
                <a16:creationId xmlns:a16="http://schemas.microsoft.com/office/drawing/2014/main" id="{90E94BD0-F2E1-4EB9-BA43-6E78A3B1CE04}"/>
              </a:ext>
            </a:extLst>
          </p:cNvPr>
          <p:cNvCxnSpPr>
            <a:cxnSpLocks/>
          </p:cNvCxnSpPr>
          <p:nvPr/>
        </p:nvCxnSpPr>
        <p:spPr>
          <a:xfrm flipH="1">
            <a:off x="5489000" y="3777839"/>
            <a:ext cx="125809"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custDataLst>
              <p:tags r:id="rId2"/>
            </p:custDataLst>
          </p:nvPr>
        </p:nvSpPr>
        <p:spPr bwMode="auto">
          <a:xfrm>
            <a:off x="3732384" y="2177770"/>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1</a:t>
            </a:r>
          </a:p>
        </p:txBody>
      </p:sp>
      <p:sp>
        <p:nvSpPr>
          <p:cNvPr id="45" name="Rectangle 44"/>
          <p:cNvSpPr/>
          <p:nvPr/>
        </p:nvSpPr>
        <p:spPr bwMode="auto">
          <a:xfrm>
            <a:off x="5799812" y="2183787"/>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miconductor optics Amplifier (SOA)</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14 MHz </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10 MHz</a:t>
            </a: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7861233" y="2177771"/>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fr-FR"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fr-FR"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2</a:t>
            </a:r>
          </a:p>
        </p:txBody>
      </p:sp>
      <p:sp>
        <p:nvSpPr>
          <p:cNvPr id="19" name="Rectangle 18"/>
          <p:cNvSpPr/>
          <p:nvPr/>
        </p:nvSpPr>
        <p:spPr bwMode="auto">
          <a:xfrm>
            <a:off x="3732383" y="1111121"/>
            <a:ext cx="3896229" cy="297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nlo Orange 1 (1064 nm by SPM)</a:t>
            </a:r>
          </a:p>
        </p:txBody>
      </p:sp>
      <p:sp>
        <p:nvSpPr>
          <p:cNvPr id="22" name="Rectangle 21"/>
          <p:cNvSpPr/>
          <p:nvPr/>
        </p:nvSpPr>
        <p:spPr bwMode="auto">
          <a:xfrm>
            <a:off x="3732383" y="1467851"/>
            <a:ext cx="3896229" cy="290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nlo Orange 2 (1064 nm)</a:t>
            </a:r>
          </a:p>
        </p:txBody>
      </p:sp>
      <p:sp>
        <p:nvSpPr>
          <p:cNvPr id="29" name="Rectangle 28"/>
          <p:cNvSpPr/>
          <p:nvPr/>
        </p:nvSpPr>
        <p:spPr bwMode="auto">
          <a:xfrm>
            <a:off x="3732383" y="1812268"/>
            <a:ext cx="3896229" cy="2845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me made </a:t>
            </a:r>
            <a:r>
              <a:rPr kumimoji="0" lang="en-US" sz="1372" b="0" i="0" u="none" strike="noStrike" kern="1200" cap="none" spc="-3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Di</a:t>
            </a: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type 1064 nm</a:t>
            </a:r>
          </a:p>
        </p:txBody>
      </p:sp>
      <p:sp>
        <p:nvSpPr>
          <p:cNvPr id="11" name="Rectangle 10"/>
          <p:cNvSpPr/>
          <p:nvPr>
            <p:custDataLst>
              <p:tags r:id="rId3"/>
            </p:custDataLst>
          </p:nvPr>
        </p:nvSpPr>
        <p:spPr bwMode="auto">
          <a:xfrm>
            <a:off x="3732384" y="3244416"/>
            <a:ext cx="1828800" cy="990460"/>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O Pulse Pick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 MHz </a:t>
            </a: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1-50 Hz</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Double bunch</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sz="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Beam splitter 50:50</a:t>
            </a:r>
          </a:p>
        </p:txBody>
      </p:sp>
      <p:sp>
        <p:nvSpPr>
          <p:cNvPr id="12" name="Rectangle 11"/>
          <p:cNvSpPr/>
          <p:nvPr/>
        </p:nvSpPr>
        <p:spPr bwMode="auto">
          <a:xfrm>
            <a:off x="5807138" y="3244415"/>
            <a:ext cx="4156319" cy="423373"/>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st N</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AG Laser Line with 5 Stages </a:t>
            </a:r>
            <a:r>
              <a:rPr kumimoji="0" lang="en-US" sz="1400" dirty="0">
                <a:gradFill>
                  <a:gsLst>
                    <a:gs pos="0">
                      <a:srgbClr val="FFFFFF"/>
                    </a:gs>
                    <a:gs pos="100000">
                      <a:srgbClr val="FFFFFF"/>
                    </a:gs>
                  </a:gsLst>
                  <a:lin ang="5400000" scaled="0"/>
                </a:gradFill>
                <a:latin typeface="Segoe UI"/>
                <a:ea typeface="Segoe UI" pitchFamily="34" charset="0"/>
                <a:cs typeface="Segoe UI" pitchFamily="34" charset="0"/>
              </a:rPr>
              <a:t>R</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d </a:t>
            </a:r>
            <a:r>
              <a:rPr kumimoji="0" lang="en-US" altLang="ja-JP" sz="1400" dirty="0">
                <a:gradFill>
                  <a:gsLst>
                    <a:gs pos="0">
                      <a:srgbClr val="FFFFFF"/>
                    </a:gs>
                    <a:gs pos="100000">
                      <a:srgbClr val="FFFFFF"/>
                    </a:gs>
                  </a:gsLst>
                  <a:lin ang="5400000" scaled="0"/>
                </a:gradFill>
                <a:latin typeface="Segoe UI"/>
                <a:ea typeface="Segoe UI" pitchFamily="34" charset="0"/>
                <a:cs typeface="Segoe UI" pitchFamily="34" charset="0"/>
              </a:rPr>
              <a:t>Amplifier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p:cNvSpPr/>
          <p:nvPr>
            <p:custDataLst>
              <p:tags r:id="rId4"/>
            </p:custDataLst>
          </p:nvPr>
        </p:nvSpPr>
        <p:spPr bwMode="auto">
          <a:xfrm>
            <a:off x="3732384" y="4311062"/>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COB in </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st Laser Line </a:t>
            </a: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64 nm </a:t>
            </a: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532 nm </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2nd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64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532 nm </a:t>
            </a:r>
            <a:endPar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p:txBody>
      </p:sp>
      <p:sp>
        <p:nvSpPr>
          <p:cNvPr id="15" name="Rectangle 14"/>
          <p:cNvSpPr/>
          <p:nvPr/>
        </p:nvSpPr>
        <p:spPr bwMode="auto">
          <a:xfrm>
            <a:off x="5799812" y="4317079"/>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eam Polariz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bination for Two </a:t>
            </a:r>
            <a:r>
              <a:rPr kumimoji="0" lang="en-US" altLang="ja-JP" sz="1372" dirty="0">
                <a:gradFill>
                  <a:gsLst>
                    <a:gs pos="0">
                      <a:srgbClr val="FFFFFF"/>
                    </a:gs>
                    <a:gs pos="100000">
                      <a:srgbClr val="FFFFFF"/>
                    </a:gs>
                  </a:gsLst>
                  <a:lin ang="5400000" scaled="0"/>
                </a:gradFill>
                <a:latin typeface="Segoe UI"/>
                <a:ea typeface="Segoe UI" pitchFamily="34" charset="0"/>
                <a:cs typeface="Segoe UI" pitchFamily="34" charset="0"/>
              </a:rPr>
              <a:t>Laser</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altLang="ja-JP" sz="1372" dirty="0">
                <a:gradFill>
                  <a:gsLst>
                    <a:gs pos="0">
                      <a:srgbClr val="FFFFFF"/>
                    </a:gs>
                    <a:gs pos="100000">
                      <a:srgbClr val="FFFFFF"/>
                    </a:gs>
                  </a:gsLst>
                  <a:lin ang="5400000" scaled="0"/>
                </a:gradFill>
                <a:latin typeface="Segoe UI"/>
                <a:ea typeface="Segoe UI" pitchFamily="34" charset="0"/>
                <a:cs typeface="Segoe UI" pitchFamily="34" charset="0"/>
              </a:rPr>
              <a:t>Lines</a:t>
            </a: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p:cNvSpPr/>
          <p:nvPr/>
        </p:nvSpPr>
        <p:spPr bwMode="auto">
          <a:xfrm>
            <a:off x="7861233" y="4311063"/>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eam Polariz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vision for Two </a:t>
            </a:r>
            <a:r>
              <a:rPr kumimoji="0" lang="en-US" altLang="ja-JP" sz="1372" dirty="0">
                <a:gradFill>
                  <a:gsLst>
                    <a:gs pos="0">
                      <a:srgbClr val="FFFFFF"/>
                    </a:gs>
                    <a:gs pos="100000">
                      <a:srgbClr val="FFFFFF"/>
                    </a:gs>
                  </a:gsLst>
                  <a:lin ang="5400000" scaled="0"/>
                </a:gradFill>
                <a:latin typeface="Segoe UI"/>
                <a:ea typeface="Segoe UI" pitchFamily="34" charset="0"/>
                <a:cs typeface="Segoe UI" pitchFamily="34" charset="0"/>
              </a:rPr>
              <a:t>Laser</a:t>
            </a: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lines</a:t>
            </a:r>
          </a:p>
        </p:txBody>
      </p:sp>
      <p:sp>
        <p:nvSpPr>
          <p:cNvPr id="18" name="Rectangle 17"/>
          <p:cNvSpPr/>
          <p:nvPr/>
        </p:nvSpPr>
        <p:spPr bwMode="auto">
          <a:xfrm>
            <a:off x="9946706" y="4311064"/>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1st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32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266 nm </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altLang="ja-JP"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2nd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32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266 nm </a:t>
            </a:r>
            <a:endPar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p:txBody>
      </p:sp>
      <p:sp>
        <p:nvSpPr>
          <p:cNvPr id="20" name="Rectangle 19"/>
          <p:cNvSpPr/>
          <p:nvPr/>
        </p:nvSpPr>
        <p:spPr bwMode="auto">
          <a:xfrm>
            <a:off x="674034" y="1111120"/>
            <a:ext cx="2971800" cy="9904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cillators (114 MHz)</a:t>
            </a:r>
          </a:p>
        </p:txBody>
      </p:sp>
      <p:sp>
        <p:nvSpPr>
          <p:cNvPr id="21" name="Rectangle 20"/>
          <p:cNvSpPr/>
          <p:nvPr/>
        </p:nvSpPr>
        <p:spPr bwMode="auto">
          <a:xfrm>
            <a:off x="674034" y="2177769"/>
            <a:ext cx="2971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a:t>
            </a:r>
            <a:r>
              <a:rPr kumimoji="0" lang="en-US" altLang="zh-CN"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bwMode="auto">
          <a:xfrm>
            <a:off x="674034" y="3244417"/>
            <a:ext cx="2971800" cy="990460"/>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d:YAG </a:t>
            </a:r>
            <a:r>
              <a:rPr kumimoji="0" lang="en-US" altLang="zh-CN"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d Las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s</a:t>
            </a:r>
          </a:p>
        </p:txBody>
      </p:sp>
      <p:sp>
        <p:nvSpPr>
          <p:cNvPr id="24" name="Rectangle 23"/>
          <p:cNvSpPr/>
          <p:nvPr/>
        </p:nvSpPr>
        <p:spPr bwMode="auto">
          <a:xfrm>
            <a:off x="674034" y="4311063"/>
            <a:ext cx="2971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b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velength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version</a:t>
            </a:r>
          </a:p>
        </p:txBody>
      </p:sp>
      <p:sp>
        <p:nvSpPr>
          <p:cNvPr id="26" name="Rectangle 25"/>
          <p:cNvSpPr/>
          <p:nvPr/>
        </p:nvSpPr>
        <p:spPr bwMode="auto">
          <a:xfrm>
            <a:off x="9946706" y="2177769"/>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3</a:t>
            </a:r>
          </a:p>
        </p:txBody>
      </p:sp>
      <p:sp>
        <p:nvSpPr>
          <p:cNvPr id="74" name="Rectangle 28"/>
          <p:cNvSpPr/>
          <p:nvPr/>
        </p:nvSpPr>
        <p:spPr bwMode="auto">
          <a:xfrm>
            <a:off x="7861233" y="1107174"/>
            <a:ext cx="1828800" cy="9904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S Switch</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 In 1 Out</a:t>
            </a:r>
          </a:p>
        </p:txBody>
      </p:sp>
      <p:sp>
        <p:nvSpPr>
          <p:cNvPr id="82" name="正方形/長方形 81"/>
          <p:cNvSpPr/>
          <p:nvPr/>
        </p:nvSpPr>
        <p:spPr>
          <a:xfrm>
            <a:off x="7554401" y="1449231"/>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正方形/長方形 82"/>
          <p:cNvSpPr/>
          <p:nvPr/>
        </p:nvSpPr>
        <p:spPr>
          <a:xfrm>
            <a:off x="5482176" y="288263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正方形/長方形 83"/>
          <p:cNvSpPr/>
          <p:nvPr/>
        </p:nvSpPr>
        <p:spPr>
          <a:xfrm>
            <a:off x="7539576" y="2875084"/>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正方形/長方形 84"/>
          <p:cNvSpPr/>
          <p:nvPr/>
        </p:nvSpPr>
        <p:spPr>
          <a:xfrm>
            <a:off x="9617042" y="287535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正方形/長方形 85"/>
          <p:cNvSpPr/>
          <p:nvPr/>
        </p:nvSpPr>
        <p:spPr>
          <a:xfrm>
            <a:off x="5513473" y="331927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正方形/長方形 86"/>
          <p:cNvSpPr/>
          <p:nvPr/>
        </p:nvSpPr>
        <p:spPr>
          <a:xfrm>
            <a:off x="5508526" y="3867076"/>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36" name="直線コネクタ 35"/>
          <p:cNvCxnSpPr>
            <a:cxnSpLocks/>
          </p:cNvCxnSpPr>
          <p:nvPr/>
        </p:nvCxnSpPr>
        <p:spPr>
          <a:xfrm>
            <a:off x="5627358" y="3503936"/>
            <a:ext cx="0" cy="54780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下矢印 37"/>
          <p:cNvSpPr/>
          <p:nvPr/>
        </p:nvSpPr>
        <p:spPr bwMode="auto">
          <a:xfrm>
            <a:off x="253931" y="2513520"/>
            <a:ext cx="300789" cy="2139312"/>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4"/>
          <p:cNvSpPr/>
          <p:nvPr/>
        </p:nvSpPr>
        <p:spPr bwMode="auto">
          <a:xfrm>
            <a:off x="6880660" y="5377709"/>
            <a:ext cx="1828800" cy="5959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ound Laser </a:t>
            </a:r>
            <a:r>
              <a:rPr kumimoji="0" lang="en-US" altLang="ja-JP" sz="1400" dirty="0">
                <a:gradFill>
                  <a:gsLst>
                    <a:gs pos="0">
                      <a:srgbClr val="FFFFFF"/>
                    </a:gs>
                    <a:gs pos="100000">
                      <a:srgbClr val="FFFFFF"/>
                    </a:gs>
                  </a:gsLst>
                  <a:lin ang="5400000" scaled="0"/>
                </a:gradFill>
                <a:latin typeface="Segoe UI"/>
                <a:ea typeface="Segoe UI" pitchFamily="34" charset="0"/>
                <a:cs typeface="Segoe UI" pitchFamily="34" charset="0"/>
              </a:rPr>
              <a:t>Hut</a:t>
            </a: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Tunnel RF gun box</a:t>
            </a: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1" name="Rectangle 23"/>
          <p:cNvSpPr/>
          <p:nvPr/>
        </p:nvSpPr>
        <p:spPr bwMode="auto">
          <a:xfrm>
            <a:off x="674034" y="5377709"/>
            <a:ext cx="2971800" cy="5959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ing Line fo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wo Lasers (11 m long)</a:t>
            </a:r>
          </a:p>
        </p:txBody>
      </p:sp>
      <p:sp>
        <p:nvSpPr>
          <p:cNvPr id="92" name="正方形/長方形 91"/>
          <p:cNvSpPr/>
          <p:nvPr/>
        </p:nvSpPr>
        <p:spPr>
          <a:xfrm>
            <a:off x="5476968" y="4991911"/>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正方形/長方形 92"/>
          <p:cNvSpPr/>
          <p:nvPr/>
        </p:nvSpPr>
        <p:spPr>
          <a:xfrm rot="5400000">
            <a:off x="7092408" y="519304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正方形/長方形 93"/>
          <p:cNvSpPr/>
          <p:nvPr/>
        </p:nvSpPr>
        <p:spPr>
          <a:xfrm rot="16200000">
            <a:off x="8135878" y="5187027"/>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正方形/長方形 94"/>
          <p:cNvSpPr/>
          <p:nvPr/>
        </p:nvSpPr>
        <p:spPr>
          <a:xfrm>
            <a:off x="9611361" y="500236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Rectangle 23"/>
          <p:cNvSpPr/>
          <p:nvPr/>
        </p:nvSpPr>
        <p:spPr bwMode="auto">
          <a:xfrm>
            <a:off x="674034" y="6049865"/>
            <a:ext cx="2971800" cy="5959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b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F Gun</a:t>
            </a:r>
          </a:p>
        </p:txBody>
      </p:sp>
      <p:sp>
        <p:nvSpPr>
          <p:cNvPr id="97" name="Rectangle 14"/>
          <p:cNvSpPr/>
          <p:nvPr/>
        </p:nvSpPr>
        <p:spPr bwMode="auto">
          <a:xfrm>
            <a:off x="9946706" y="6049865"/>
            <a:ext cx="1828800" cy="5959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rom Two Injection Windows</a:t>
            </a:r>
          </a:p>
        </p:txBody>
      </p:sp>
      <p:sp>
        <p:nvSpPr>
          <p:cNvPr id="98" name="正方形/長方形 97"/>
          <p:cNvSpPr/>
          <p:nvPr/>
        </p:nvSpPr>
        <p:spPr>
          <a:xfrm rot="5400000">
            <a:off x="10647746" y="578901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9" name="直線コネクタ 98"/>
          <p:cNvCxnSpPr/>
          <p:nvPr/>
        </p:nvCxnSpPr>
        <p:spPr>
          <a:xfrm>
            <a:off x="10861106" y="5301524"/>
            <a:ext cx="0" cy="67215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3"/>
          <p:cNvSpPr>
            <a:spLocks noGrp="1"/>
          </p:cNvSpPr>
          <p:nvPr>
            <p:ph type="title"/>
          </p:nvPr>
        </p:nvSpPr>
        <p:spPr>
          <a:xfrm>
            <a:off x="555726" y="123347"/>
            <a:ext cx="10695924" cy="593487"/>
          </a:xfrm>
        </p:spPr>
        <p:txBody>
          <a:bodyPr/>
          <a:lstStyle/>
          <a:p>
            <a:r>
              <a:rPr lang="en-US" sz="4800" dirty="0"/>
              <a:t>Current Nd/Yb Hybrid Laser System (R4.1)</a:t>
            </a:r>
          </a:p>
        </p:txBody>
      </p:sp>
      <p:sp>
        <p:nvSpPr>
          <p:cNvPr id="43" name="Rectangle 11">
            <a:extLst>
              <a:ext uri="{FF2B5EF4-FFF2-40B4-BE49-F238E27FC236}">
                <a16:creationId xmlns:a16="http://schemas.microsoft.com/office/drawing/2014/main" id="{FAFC14AF-B9DD-46C7-A7E4-ACB7889421C8}"/>
              </a:ext>
            </a:extLst>
          </p:cNvPr>
          <p:cNvSpPr/>
          <p:nvPr/>
        </p:nvSpPr>
        <p:spPr bwMode="auto">
          <a:xfrm>
            <a:off x="5807138" y="3804713"/>
            <a:ext cx="4156319" cy="423373"/>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nd N</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AG Laser Line with 5 Stages </a:t>
            </a:r>
            <a:r>
              <a:rPr kumimoji="0" lang="en-US" sz="1400" dirty="0">
                <a:gradFill>
                  <a:gsLst>
                    <a:gs pos="0">
                      <a:srgbClr val="FFFFFF"/>
                    </a:gs>
                    <a:gs pos="100000">
                      <a:srgbClr val="FFFFFF"/>
                    </a:gs>
                  </a:gsLst>
                  <a:lin ang="5400000" scaled="0"/>
                </a:gradFill>
                <a:latin typeface="Segoe UI"/>
                <a:ea typeface="Segoe UI" pitchFamily="34" charset="0"/>
                <a:cs typeface="Segoe UI" pitchFamily="34" charset="0"/>
              </a:rPr>
              <a:t>R</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d </a:t>
            </a:r>
            <a:r>
              <a:rPr kumimoji="0" lang="en-US" altLang="ja-JP" sz="1400" dirty="0">
                <a:gradFill>
                  <a:gsLst>
                    <a:gs pos="0">
                      <a:srgbClr val="FFFFFF"/>
                    </a:gs>
                    <a:gs pos="100000">
                      <a:srgbClr val="FFFFFF"/>
                    </a:gs>
                  </a:gsLst>
                  <a:lin ang="5400000" scaled="0"/>
                </a:gradFill>
                <a:latin typeface="Segoe UI"/>
                <a:ea typeface="Segoe UI" pitchFamily="34" charset="0"/>
                <a:cs typeface="Segoe UI" pitchFamily="34" charset="0"/>
              </a:rPr>
              <a:t>Amplifier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矩形 7">
            <a:extLst>
              <a:ext uri="{FF2B5EF4-FFF2-40B4-BE49-F238E27FC236}">
                <a16:creationId xmlns:a16="http://schemas.microsoft.com/office/drawing/2014/main" id="{FF6DD906-4DDC-4F9A-98CA-42D2E443D9C2}"/>
              </a:ext>
            </a:extLst>
          </p:cNvPr>
          <p:cNvSpPr/>
          <p:nvPr/>
        </p:nvSpPr>
        <p:spPr bwMode="auto">
          <a:xfrm>
            <a:off x="3732382" y="1107174"/>
            <a:ext cx="8043098" cy="989615"/>
          </a:xfrm>
          <a:prstGeom prst="rect">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1" name="矩形 50">
            <a:extLst>
              <a:ext uri="{FF2B5EF4-FFF2-40B4-BE49-F238E27FC236}">
                <a16:creationId xmlns:a16="http://schemas.microsoft.com/office/drawing/2014/main" id="{72DFF790-989B-4F87-9FD4-363BDE282E8F}"/>
              </a:ext>
            </a:extLst>
          </p:cNvPr>
          <p:cNvSpPr/>
          <p:nvPr/>
        </p:nvSpPr>
        <p:spPr bwMode="auto">
          <a:xfrm>
            <a:off x="3732383" y="3253651"/>
            <a:ext cx="8043098" cy="2047871"/>
          </a:xfrm>
          <a:prstGeom prst="rect">
            <a:avLst/>
          </a:prstGeom>
          <a:noFill/>
          <a:ln w="571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zh-CN" alt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59" name="Freeform 35">
            <a:extLst>
              <a:ext uri="{FF2B5EF4-FFF2-40B4-BE49-F238E27FC236}">
                <a16:creationId xmlns:a16="http://schemas.microsoft.com/office/drawing/2014/main" id="{D733A1A2-F3A0-441C-B35F-2203210C4371}"/>
              </a:ext>
            </a:extLst>
          </p:cNvPr>
          <p:cNvSpPr>
            <a:spLocks/>
          </p:cNvSpPr>
          <p:nvPr/>
        </p:nvSpPr>
        <p:spPr bwMode="black">
          <a:xfrm>
            <a:off x="9963456" y="3322086"/>
            <a:ext cx="529893" cy="544990"/>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sp>
        <p:nvSpPr>
          <p:cNvPr id="60" name="Freeform 35">
            <a:extLst>
              <a:ext uri="{FF2B5EF4-FFF2-40B4-BE49-F238E27FC236}">
                <a16:creationId xmlns:a16="http://schemas.microsoft.com/office/drawing/2014/main" id="{9B77B6E4-722C-445A-ABE0-B2D406E607EB}"/>
              </a:ext>
            </a:extLst>
          </p:cNvPr>
          <p:cNvSpPr>
            <a:spLocks/>
          </p:cNvSpPr>
          <p:nvPr/>
        </p:nvSpPr>
        <p:spPr bwMode="black">
          <a:xfrm>
            <a:off x="9698510" y="1174806"/>
            <a:ext cx="529893" cy="544990"/>
          </a:xfrm>
          <a:custGeom>
            <a:avLst/>
            <a:gdLst>
              <a:gd name="T0" fmla="*/ 120 w 191"/>
              <a:gd name="T1" fmla="*/ 32 h 197"/>
              <a:gd name="T2" fmla="*/ 83 w 191"/>
              <a:gd name="T3" fmla="*/ 3 h 197"/>
              <a:gd name="T4" fmla="*/ 47 w 191"/>
              <a:gd name="T5" fmla="*/ 5 h 197"/>
              <a:gd name="T6" fmla="*/ 44 w 191"/>
              <a:gd name="T7" fmla="*/ 27 h 197"/>
              <a:gd name="T8" fmla="*/ 40 w 191"/>
              <a:gd name="T9" fmla="*/ 29 h 197"/>
              <a:gd name="T10" fmla="*/ 40 w 191"/>
              <a:gd name="T11" fmla="*/ 33 h 197"/>
              <a:gd name="T12" fmla="*/ 45 w 191"/>
              <a:gd name="T13" fmla="*/ 40 h 197"/>
              <a:gd name="T14" fmla="*/ 88 w 191"/>
              <a:gd name="T15" fmla="*/ 44 h 197"/>
              <a:gd name="T16" fmla="*/ 118 w 191"/>
              <a:gd name="T17" fmla="*/ 113 h 197"/>
              <a:gd name="T18" fmla="*/ 144 w 191"/>
              <a:gd name="T19" fmla="*/ 129 h 197"/>
              <a:gd name="T20" fmla="*/ 112 w 191"/>
              <a:gd name="T21" fmla="*/ 109 h 197"/>
              <a:gd name="T22" fmla="*/ 65 w 191"/>
              <a:gd name="T23" fmla="*/ 115 h 197"/>
              <a:gd name="T24" fmla="*/ 0 w 191"/>
              <a:gd name="T25" fmla="*/ 116 h 197"/>
              <a:gd name="T26" fmla="*/ 26 w 191"/>
              <a:gd name="T27" fmla="*/ 174 h 197"/>
              <a:gd name="T28" fmla="*/ 61 w 191"/>
              <a:gd name="T29" fmla="*/ 136 h 197"/>
              <a:gd name="T30" fmla="*/ 57 w 191"/>
              <a:gd name="T31" fmla="*/ 148 h 197"/>
              <a:gd name="T32" fmla="*/ 126 w 191"/>
              <a:gd name="T33" fmla="*/ 140 h 197"/>
              <a:gd name="T34" fmla="*/ 55 w 191"/>
              <a:gd name="T35" fmla="*/ 153 h 197"/>
              <a:gd name="T36" fmla="*/ 30 w 191"/>
              <a:gd name="T37" fmla="*/ 180 h 197"/>
              <a:gd name="T38" fmla="*/ 32 w 191"/>
              <a:gd name="T39" fmla="*/ 182 h 197"/>
              <a:gd name="T40" fmla="*/ 180 w 191"/>
              <a:gd name="T41" fmla="*/ 159 h 197"/>
              <a:gd name="T42" fmla="*/ 185 w 191"/>
              <a:gd name="T43" fmla="*/ 129 h 197"/>
              <a:gd name="T44" fmla="*/ 120 w 191"/>
              <a:gd name="T45" fmla="*/ 32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1" h="197">
                <a:moveTo>
                  <a:pt x="120" y="32"/>
                </a:moveTo>
                <a:cubicBezTo>
                  <a:pt x="112" y="23"/>
                  <a:pt x="99" y="9"/>
                  <a:pt x="83" y="3"/>
                </a:cubicBezTo>
                <a:cubicBezTo>
                  <a:pt x="72" y="0"/>
                  <a:pt x="47" y="5"/>
                  <a:pt x="47" y="5"/>
                </a:cubicBezTo>
                <a:cubicBezTo>
                  <a:pt x="44" y="27"/>
                  <a:pt x="44" y="27"/>
                  <a:pt x="44" y="27"/>
                </a:cubicBezTo>
                <a:cubicBezTo>
                  <a:pt x="40" y="29"/>
                  <a:pt x="40" y="29"/>
                  <a:pt x="40" y="29"/>
                </a:cubicBezTo>
                <a:cubicBezTo>
                  <a:pt x="40" y="33"/>
                  <a:pt x="40" y="33"/>
                  <a:pt x="40" y="33"/>
                </a:cubicBezTo>
                <a:cubicBezTo>
                  <a:pt x="40" y="33"/>
                  <a:pt x="40" y="37"/>
                  <a:pt x="45" y="40"/>
                </a:cubicBezTo>
                <a:cubicBezTo>
                  <a:pt x="50" y="42"/>
                  <a:pt x="73" y="53"/>
                  <a:pt x="88" y="44"/>
                </a:cubicBezTo>
                <a:cubicBezTo>
                  <a:pt x="118" y="60"/>
                  <a:pt x="105" y="91"/>
                  <a:pt x="118" y="113"/>
                </a:cubicBezTo>
                <a:cubicBezTo>
                  <a:pt x="123" y="120"/>
                  <a:pt x="131" y="127"/>
                  <a:pt x="144" y="129"/>
                </a:cubicBezTo>
                <a:cubicBezTo>
                  <a:pt x="144" y="129"/>
                  <a:pt x="115" y="131"/>
                  <a:pt x="112" y="109"/>
                </a:cubicBezTo>
                <a:cubicBezTo>
                  <a:pt x="101" y="104"/>
                  <a:pt x="82" y="99"/>
                  <a:pt x="65" y="115"/>
                </a:cubicBezTo>
                <a:cubicBezTo>
                  <a:pt x="51" y="100"/>
                  <a:pt x="14" y="100"/>
                  <a:pt x="0" y="116"/>
                </a:cubicBezTo>
                <a:cubicBezTo>
                  <a:pt x="6" y="141"/>
                  <a:pt x="18" y="163"/>
                  <a:pt x="26" y="174"/>
                </a:cubicBezTo>
                <a:cubicBezTo>
                  <a:pt x="52" y="156"/>
                  <a:pt x="61" y="136"/>
                  <a:pt x="61" y="136"/>
                </a:cubicBezTo>
                <a:cubicBezTo>
                  <a:pt x="60" y="140"/>
                  <a:pt x="59" y="144"/>
                  <a:pt x="57" y="148"/>
                </a:cubicBezTo>
                <a:cubicBezTo>
                  <a:pt x="103" y="167"/>
                  <a:pt x="126" y="140"/>
                  <a:pt x="126" y="140"/>
                </a:cubicBezTo>
                <a:cubicBezTo>
                  <a:pt x="107" y="171"/>
                  <a:pt x="63" y="157"/>
                  <a:pt x="55" y="153"/>
                </a:cubicBezTo>
                <a:cubicBezTo>
                  <a:pt x="48" y="166"/>
                  <a:pt x="38" y="175"/>
                  <a:pt x="30" y="180"/>
                </a:cubicBezTo>
                <a:cubicBezTo>
                  <a:pt x="32" y="181"/>
                  <a:pt x="32" y="182"/>
                  <a:pt x="32" y="182"/>
                </a:cubicBezTo>
                <a:cubicBezTo>
                  <a:pt x="88" y="197"/>
                  <a:pt x="154" y="177"/>
                  <a:pt x="180" y="159"/>
                </a:cubicBezTo>
                <a:cubicBezTo>
                  <a:pt x="191" y="151"/>
                  <a:pt x="188" y="138"/>
                  <a:pt x="185" y="129"/>
                </a:cubicBezTo>
                <a:cubicBezTo>
                  <a:pt x="172" y="91"/>
                  <a:pt x="134" y="49"/>
                  <a:pt x="120" y="32"/>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endParaRPr lang="en-US" sz="1400" dirty="0">
              <a:latin typeface="Segoe UI" pitchFamily="34" charset="0"/>
            </a:endParaRPr>
          </a:p>
        </p:txBody>
      </p:sp>
      <p:sp>
        <p:nvSpPr>
          <p:cNvPr id="27" name="矩形 26">
            <a:extLst>
              <a:ext uri="{FF2B5EF4-FFF2-40B4-BE49-F238E27FC236}">
                <a16:creationId xmlns:a16="http://schemas.microsoft.com/office/drawing/2014/main" id="{9E960E31-4714-41B6-9E38-CB761BF00CF1}"/>
              </a:ext>
            </a:extLst>
          </p:cNvPr>
          <p:cNvSpPr/>
          <p:nvPr/>
        </p:nvSpPr>
        <p:spPr>
          <a:xfrm>
            <a:off x="10374346" y="1137673"/>
            <a:ext cx="1255191" cy="923330"/>
          </a:xfrm>
          <a:prstGeom prst="rect">
            <a:avLst/>
          </a:prstGeom>
        </p:spPr>
        <p:txBody>
          <a:bodyPr wrap="square">
            <a:spAutoFit/>
          </a:bodyPr>
          <a:lstStyle/>
          <a:p>
            <a:r>
              <a:rPr lang="en-US" altLang="zh-CN" dirty="0"/>
              <a:t>4 months</a:t>
            </a:r>
            <a:r>
              <a:rPr lang="zh-CN" altLang="en-US" dirty="0"/>
              <a:t> </a:t>
            </a:r>
            <a:r>
              <a:rPr lang="en-US" altLang="zh-CN" dirty="0"/>
              <a:t>0 fault operation!</a:t>
            </a:r>
          </a:p>
        </p:txBody>
      </p:sp>
      <p:sp>
        <p:nvSpPr>
          <p:cNvPr id="62" name="矩形 61">
            <a:extLst>
              <a:ext uri="{FF2B5EF4-FFF2-40B4-BE49-F238E27FC236}">
                <a16:creationId xmlns:a16="http://schemas.microsoft.com/office/drawing/2014/main" id="{C0FA6034-F6C6-4535-904B-C947373529AE}"/>
              </a:ext>
            </a:extLst>
          </p:cNvPr>
          <p:cNvSpPr/>
          <p:nvPr/>
        </p:nvSpPr>
        <p:spPr>
          <a:xfrm>
            <a:off x="10520289" y="3327540"/>
            <a:ext cx="1255191" cy="923330"/>
          </a:xfrm>
          <a:prstGeom prst="rect">
            <a:avLst/>
          </a:prstGeom>
        </p:spPr>
        <p:txBody>
          <a:bodyPr wrap="square">
            <a:spAutoFit/>
          </a:bodyPr>
          <a:lstStyle/>
          <a:p>
            <a:r>
              <a:rPr lang="en-US" altLang="zh-CN" dirty="0"/>
              <a:t>4 months</a:t>
            </a:r>
            <a:r>
              <a:rPr lang="zh-CN" altLang="en-US" dirty="0"/>
              <a:t> </a:t>
            </a:r>
            <a:r>
              <a:rPr lang="en-US" altLang="zh-CN" dirty="0"/>
              <a:t>0 fault operation!</a:t>
            </a:r>
          </a:p>
        </p:txBody>
      </p:sp>
    </p:spTree>
    <p:custDataLst>
      <p:tags r:id="rId1"/>
    </p:custDataLst>
    <p:extLst>
      <p:ext uri="{BB962C8B-B14F-4D97-AF65-F5344CB8AC3E}">
        <p14:creationId xmlns:p14="http://schemas.microsoft.com/office/powerpoint/2010/main" val="39679314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7" presetClass="emph" presetSubtype="0" repeatCount="5000" fill="remove" grpId="0" nodeType="clickEffect">
                                  <p:stCondLst>
                                    <p:cond delay="0"/>
                                  </p:stCondLst>
                                  <p:childTnLst>
                                    <p:animClr clrSpc="rgb" dir="cw">
                                      <p:cBhvr override="childStyle">
                                        <p:cTn id="6" dur="250" autoRev="1" fill="remove"/>
                                        <p:tgtEl>
                                          <p:spTgt spid="22"/>
                                        </p:tgtEl>
                                        <p:attrNameLst>
                                          <p:attrName>style.color</p:attrName>
                                        </p:attrNameLst>
                                      </p:cBhvr>
                                      <p:to>
                                        <a:schemeClr val="hlink"/>
                                      </p:to>
                                    </p:animClr>
                                    <p:animClr clrSpc="rgb" dir="cw">
                                      <p:cBhvr>
                                        <p:cTn id="7" dur="250" autoRev="1" fill="remove"/>
                                        <p:tgtEl>
                                          <p:spTgt spid="22"/>
                                        </p:tgtEl>
                                        <p:attrNameLst>
                                          <p:attrName>fillcolor</p:attrName>
                                        </p:attrNameLst>
                                      </p:cBhvr>
                                      <p:to>
                                        <a:schemeClr val="hlink"/>
                                      </p:to>
                                    </p:animClr>
                                    <p:set>
                                      <p:cBhvr>
                                        <p:cTn id="8" dur="250" autoRev="1" fill="remove"/>
                                        <p:tgtEl>
                                          <p:spTgt spid="22"/>
                                        </p:tgtEl>
                                        <p:attrNameLst>
                                          <p:attrName>fill.type</p:attrName>
                                        </p:attrNameLst>
                                      </p:cBhvr>
                                      <p:to>
                                        <p:strVal val="solid"/>
                                      </p:to>
                                    </p:set>
                                    <p:set>
                                      <p:cBhvr>
                                        <p:cTn id="9" dur="250" autoRev="1" fill="remove"/>
                                        <p:tgtEl>
                                          <p:spTgt spid="22"/>
                                        </p:tgtEl>
                                        <p:attrNameLst>
                                          <p:attrName>fill.on</p:attrName>
                                        </p:attrNameLst>
                                      </p:cBhvr>
                                      <p:to>
                                        <p:strVal val="true"/>
                                      </p:to>
                                    </p:set>
                                  </p:childTnLst>
                                </p:cTn>
                              </p:par>
                            </p:childTnLst>
                          </p:cTn>
                        </p:par>
                      </p:childTnLst>
                    </p:cTn>
                  </p:par>
                  <p:par>
                    <p:cTn id="10" fill="hold">
                      <p:stCondLst>
                        <p:cond delay="indefinite"/>
                      </p:stCondLst>
                      <p:childTnLst>
                        <p:par>
                          <p:cTn id="11" fill="hold">
                            <p:stCondLst>
                              <p:cond delay="0"/>
                            </p:stCondLst>
                            <p:childTnLst>
                              <p:par>
                                <p:cTn id="12" presetID="16" presetClass="entr" presetSubtype="21" fill="hold" grpId="0" nodeType="click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barn(inVertical)">
                                      <p:cBhvr>
                                        <p:cTn id="14" dur="500"/>
                                        <p:tgtEl>
                                          <p:spTgt spid="60"/>
                                        </p:tgtEl>
                                      </p:cBhvr>
                                    </p:animEffect>
                                  </p:childTnLst>
                                </p:cTn>
                              </p:par>
                              <p:par>
                                <p:cTn id="15" presetID="16" presetClass="entr" presetSubtype="21"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par>
                                <p:cTn id="18" presetID="16" presetClass="entr" presetSubtype="21" fill="hold" grpId="0" nodeType="with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barn(inVertical)">
                                      <p:cBhvr>
                                        <p:cTn id="20" dur="500"/>
                                        <p:tgtEl>
                                          <p:spTgt spid="27"/>
                                        </p:tgtEl>
                                      </p:cBhvr>
                                    </p:animEffect>
                                  </p:childTnLst>
                                </p:cTn>
                              </p:par>
                              <p:par>
                                <p:cTn id="21" presetID="16" presetClass="entr" presetSubtype="21" fill="hold" grpId="0" nodeType="withEffect">
                                  <p:stCondLst>
                                    <p:cond delay="0"/>
                                  </p:stCondLst>
                                  <p:childTnLst>
                                    <p:set>
                                      <p:cBhvr>
                                        <p:cTn id="22" dur="1" fill="hold">
                                          <p:stCondLst>
                                            <p:cond delay="0"/>
                                          </p:stCondLst>
                                        </p:cTn>
                                        <p:tgtEl>
                                          <p:spTgt spid="59"/>
                                        </p:tgtEl>
                                        <p:attrNameLst>
                                          <p:attrName>style.visibility</p:attrName>
                                        </p:attrNameLst>
                                      </p:cBhvr>
                                      <p:to>
                                        <p:strVal val="visible"/>
                                      </p:to>
                                    </p:set>
                                    <p:animEffect transition="in" filter="barn(inVertical)">
                                      <p:cBhvr>
                                        <p:cTn id="23" dur="500"/>
                                        <p:tgtEl>
                                          <p:spTgt spid="59"/>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62"/>
                                        </p:tgtEl>
                                        <p:attrNameLst>
                                          <p:attrName>style.visibility</p:attrName>
                                        </p:attrNameLst>
                                      </p:cBhvr>
                                      <p:to>
                                        <p:strVal val="visible"/>
                                      </p:to>
                                    </p:set>
                                    <p:animEffect transition="in" filter="barn(inVertical)">
                                      <p:cBhvr>
                                        <p:cTn id="26" dur="500"/>
                                        <p:tgtEl>
                                          <p:spTgt spid="62"/>
                                        </p:tgtEl>
                                      </p:cBhvr>
                                    </p:animEffect>
                                  </p:childTnLst>
                                </p:cTn>
                              </p:par>
                              <p:par>
                                <p:cTn id="27" presetID="16" presetClass="entr" presetSubtype="21" fill="hold" grpId="0" nodeType="with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barn(inVertical)">
                                      <p:cBhvr>
                                        <p:cTn id="2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8" grpId="0" animBg="1"/>
      <p:bldP spid="51" grpId="0" animBg="1"/>
      <p:bldP spid="59" grpId="0" animBg="1"/>
      <p:bldP spid="60" grpId="0" animBg="1"/>
      <p:bldP spid="27" grpId="0"/>
      <p:bldP spid="6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直線コネクタ 35">
            <a:extLst>
              <a:ext uri="{FF2B5EF4-FFF2-40B4-BE49-F238E27FC236}">
                <a16:creationId xmlns:a16="http://schemas.microsoft.com/office/drawing/2014/main" id="{90E94BD0-F2E1-4EB9-BA43-6E78A3B1CE04}"/>
              </a:ext>
            </a:extLst>
          </p:cNvPr>
          <p:cNvCxnSpPr>
            <a:cxnSpLocks/>
          </p:cNvCxnSpPr>
          <p:nvPr/>
        </p:nvCxnSpPr>
        <p:spPr>
          <a:xfrm flipH="1">
            <a:off x="5489000" y="3777839"/>
            <a:ext cx="125809" cy="0"/>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p:cNvSpPr/>
          <p:nvPr>
            <p:custDataLst>
              <p:tags r:id="rId2"/>
            </p:custDataLst>
          </p:nvPr>
        </p:nvSpPr>
        <p:spPr bwMode="auto">
          <a:xfrm>
            <a:off x="3732384" y="2177770"/>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1</a:t>
            </a:r>
          </a:p>
        </p:txBody>
      </p:sp>
      <p:sp>
        <p:nvSpPr>
          <p:cNvPr id="45" name="Rectangle 44"/>
          <p:cNvSpPr/>
          <p:nvPr/>
        </p:nvSpPr>
        <p:spPr bwMode="auto">
          <a:xfrm>
            <a:off x="5799812" y="2183787"/>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emiconductor optics Amplifier (SOA)</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14 MHz </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10 MHz</a:t>
            </a: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ectangle 15"/>
          <p:cNvSpPr/>
          <p:nvPr/>
        </p:nvSpPr>
        <p:spPr bwMode="auto">
          <a:xfrm>
            <a:off x="7861233" y="2177771"/>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fr-FR"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fr-FR"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2</a:t>
            </a:r>
          </a:p>
        </p:txBody>
      </p:sp>
      <p:sp>
        <p:nvSpPr>
          <p:cNvPr id="19" name="Rectangle 18"/>
          <p:cNvSpPr/>
          <p:nvPr/>
        </p:nvSpPr>
        <p:spPr bwMode="auto">
          <a:xfrm>
            <a:off x="3732383" y="1111121"/>
            <a:ext cx="3896229" cy="2970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nlo Orange 1 (1064 nm by SPM)</a:t>
            </a:r>
          </a:p>
        </p:txBody>
      </p:sp>
      <p:sp>
        <p:nvSpPr>
          <p:cNvPr id="22" name="Rectangle 21"/>
          <p:cNvSpPr/>
          <p:nvPr/>
        </p:nvSpPr>
        <p:spPr bwMode="auto">
          <a:xfrm>
            <a:off x="3732383" y="1467851"/>
            <a:ext cx="3896229" cy="2907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nlo Orange 2 (1064 nm)</a:t>
            </a:r>
          </a:p>
        </p:txBody>
      </p:sp>
      <p:sp>
        <p:nvSpPr>
          <p:cNvPr id="29" name="Rectangle 28"/>
          <p:cNvSpPr/>
          <p:nvPr/>
        </p:nvSpPr>
        <p:spPr bwMode="auto">
          <a:xfrm>
            <a:off x="3732383" y="1812268"/>
            <a:ext cx="3896229" cy="2845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ome made </a:t>
            </a:r>
            <a:r>
              <a:rPr kumimoji="0" lang="en-US" sz="1372" b="0" i="0" u="none" strike="noStrike" kern="1200" cap="none" spc="-3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NDi</a:t>
            </a: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type 1064 nm</a:t>
            </a:r>
          </a:p>
        </p:txBody>
      </p:sp>
      <p:sp>
        <p:nvSpPr>
          <p:cNvPr id="11" name="Rectangle 10"/>
          <p:cNvSpPr/>
          <p:nvPr>
            <p:custDataLst>
              <p:tags r:id="rId3"/>
            </p:custDataLst>
          </p:nvPr>
        </p:nvSpPr>
        <p:spPr bwMode="auto">
          <a:xfrm>
            <a:off x="3732384" y="3244416"/>
            <a:ext cx="1828800" cy="990460"/>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O Pulse Pick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 MHz </a:t>
            </a: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1-50 Hz</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Double bunch</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sz="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Beam splitter 50:50</a:t>
            </a:r>
          </a:p>
        </p:txBody>
      </p:sp>
      <p:sp>
        <p:nvSpPr>
          <p:cNvPr id="12" name="Rectangle 11"/>
          <p:cNvSpPr/>
          <p:nvPr/>
        </p:nvSpPr>
        <p:spPr bwMode="auto">
          <a:xfrm>
            <a:off x="5807138" y="3244415"/>
            <a:ext cx="4156319" cy="423373"/>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st N</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AG Laser Line with 5 Stages Rod </a:t>
            </a: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ectangle 13"/>
          <p:cNvSpPr/>
          <p:nvPr>
            <p:custDataLst>
              <p:tags r:id="rId4"/>
            </p:custDataLst>
          </p:nvPr>
        </p:nvSpPr>
        <p:spPr bwMode="auto">
          <a:xfrm>
            <a:off x="3732384" y="4311062"/>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COB in </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st Laser Line </a:t>
            </a: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64 nm </a:t>
            </a:r>
            <a:r>
              <a:rPr kumimoji="0" lang="en-US"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532 nm </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2nd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1064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532 nm </a:t>
            </a:r>
            <a:endPar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p:txBody>
      </p:sp>
      <p:sp>
        <p:nvSpPr>
          <p:cNvPr id="15" name="Rectangle 14"/>
          <p:cNvSpPr/>
          <p:nvPr/>
        </p:nvSpPr>
        <p:spPr bwMode="auto">
          <a:xfrm>
            <a:off x="5799812" y="4317079"/>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eam Polariz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mbination for Two </a:t>
            </a: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aser</a:t>
            </a:r>
            <a:r>
              <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Lines</a:t>
            </a:r>
            <a:endParaRPr kumimoji="0" lang="en-US"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p:cNvSpPr/>
          <p:nvPr/>
        </p:nvSpPr>
        <p:spPr bwMode="auto">
          <a:xfrm>
            <a:off x="7861233" y="4311063"/>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eam Polariz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ivision for Two Laser lines</a:t>
            </a:r>
          </a:p>
        </p:txBody>
      </p:sp>
      <p:sp>
        <p:nvSpPr>
          <p:cNvPr id="18" name="Rectangle 17"/>
          <p:cNvSpPr/>
          <p:nvPr/>
        </p:nvSpPr>
        <p:spPr bwMode="auto">
          <a:xfrm>
            <a:off x="9946706" y="4311064"/>
            <a:ext cx="1828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1st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32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266 nm </a:t>
            </a:r>
          </a:p>
          <a:p>
            <a:pPr marL="0" marR="0" lvl="0" indent="0" algn="l" defTabSz="913314" rtl="0" eaLnBrk="1" fontAlgn="base" latinLnBrk="0" hangingPunct="1">
              <a:lnSpc>
                <a:spcPct val="100000"/>
              </a:lnSpc>
              <a:spcBef>
                <a:spcPct val="0"/>
              </a:spcBef>
              <a:spcAft>
                <a:spcPct val="0"/>
              </a:spcAft>
              <a:buClrTx/>
              <a:buSzTx/>
              <a:buFontTx/>
              <a:buNone/>
              <a:tabLst/>
              <a:defRPr/>
            </a:pPr>
            <a:endParaRPr kumimoji="0" lang="en-US" altLang="ja-JP" sz="105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BBO in 2nd Laser Line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532 nm </a:t>
            </a:r>
            <a:r>
              <a:rPr kumimoji="0" lang="en-US" altLang="ja-JP" sz="11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266 nm </a:t>
            </a:r>
            <a:endPar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endParaRPr>
          </a:p>
        </p:txBody>
      </p:sp>
      <p:sp>
        <p:nvSpPr>
          <p:cNvPr id="20" name="Rectangle 19"/>
          <p:cNvSpPr/>
          <p:nvPr/>
        </p:nvSpPr>
        <p:spPr bwMode="auto">
          <a:xfrm>
            <a:off x="674034" y="1111120"/>
            <a:ext cx="2971800" cy="9904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scillators (114 MHz)</a:t>
            </a:r>
          </a:p>
        </p:txBody>
      </p:sp>
      <p:sp>
        <p:nvSpPr>
          <p:cNvPr id="21" name="Rectangle 20"/>
          <p:cNvSpPr/>
          <p:nvPr/>
        </p:nvSpPr>
        <p:spPr bwMode="auto">
          <a:xfrm>
            <a:off x="674034" y="2177769"/>
            <a:ext cx="2971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a:t>
            </a:r>
            <a:r>
              <a:rPr kumimoji="0" lang="en-US" altLang="zh-CN"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s</a:t>
            </a: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p:nvSpPr>
        <p:spPr bwMode="auto">
          <a:xfrm>
            <a:off x="674034" y="3244417"/>
            <a:ext cx="2971800" cy="990460"/>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Nd:YAG </a:t>
            </a:r>
            <a:r>
              <a:rPr kumimoji="0" lang="en-US" altLang="zh-CN"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a:t>
            </a: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d Laser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s</a:t>
            </a:r>
          </a:p>
        </p:txBody>
      </p:sp>
      <p:sp>
        <p:nvSpPr>
          <p:cNvPr id="24" name="Rectangle 23"/>
          <p:cNvSpPr/>
          <p:nvPr/>
        </p:nvSpPr>
        <p:spPr bwMode="auto">
          <a:xfrm>
            <a:off x="674034" y="4311063"/>
            <a:ext cx="2971800" cy="990460"/>
          </a:xfrm>
          <a:prstGeom prst="rect">
            <a:avLst/>
          </a:prstGeom>
          <a:solidFill>
            <a:schemeClr val="accent4">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b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Wavelength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onversion</a:t>
            </a:r>
          </a:p>
        </p:txBody>
      </p:sp>
      <p:sp>
        <p:nvSpPr>
          <p:cNvPr id="26" name="Rectangle 25"/>
          <p:cNvSpPr/>
          <p:nvPr/>
        </p:nvSpPr>
        <p:spPr bwMode="auto">
          <a:xfrm>
            <a:off x="9946706" y="2177769"/>
            <a:ext cx="1828800" cy="990460"/>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Yb Single mode Fibe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3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 3</a:t>
            </a:r>
          </a:p>
        </p:txBody>
      </p:sp>
      <p:sp>
        <p:nvSpPr>
          <p:cNvPr id="74" name="Rectangle 28"/>
          <p:cNvSpPr/>
          <p:nvPr/>
        </p:nvSpPr>
        <p:spPr bwMode="auto">
          <a:xfrm>
            <a:off x="7861233" y="1107174"/>
            <a:ext cx="1828800" cy="9904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MEMS Switch</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1372" b="0" i="0" u="none" strike="noStrike" kern="1200" cap="none" spc="-3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3 In 1 Out</a:t>
            </a:r>
          </a:p>
        </p:txBody>
      </p:sp>
      <p:sp>
        <p:nvSpPr>
          <p:cNvPr id="82" name="正方形/長方形 81"/>
          <p:cNvSpPr/>
          <p:nvPr/>
        </p:nvSpPr>
        <p:spPr>
          <a:xfrm>
            <a:off x="7554401" y="1449231"/>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3" name="正方形/長方形 82"/>
          <p:cNvSpPr/>
          <p:nvPr/>
        </p:nvSpPr>
        <p:spPr>
          <a:xfrm>
            <a:off x="5482176" y="288263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4" name="正方形/長方形 83"/>
          <p:cNvSpPr/>
          <p:nvPr/>
        </p:nvSpPr>
        <p:spPr>
          <a:xfrm>
            <a:off x="7539576" y="2875084"/>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5" name="正方形/長方形 84"/>
          <p:cNvSpPr/>
          <p:nvPr/>
        </p:nvSpPr>
        <p:spPr>
          <a:xfrm>
            <a:off x="9617042" y="287535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6" name="正方形/長方形 85"/>
          <p:cNvSpPr/>
          <p:nvPr/>
        </p:nvSpPr>
        <p:spPr>
          <a:xfrm>
            <a:off x="5513473" y="331927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87" name="正方形/長方形 86"/>
          <p:cNvSpPr/>
          <p:nvPr/>
        </p:nvSpPr>
        <p:spPr>
          <a:xfrm>
            <a:off x="5508526" y="3867076"/>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36" name="直線コネクタ 35"/>
          <p:cNvCxnSpPr>
            <a:cxnSpLocks/>
          </p:cNvCxnSpPr>
          <p:nvPr/>
        </p:nvCxnSpPr>
        <p:spPr>
          <a:xfrm>
            <a:off x="5627358" y="3503936"/>
            <a:ext cx="0" cy="547806"/>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 name="下矢印 37"/>
          <p:cNvSpPr/>
          <p:nvPr/>
        </p:nvSpPr>
        <p:spPr bwMode="auto">
          <a:xfrm>
            <a:off x="253931" y="2513520"/>
            <a:ext cx="300789" cy="2139312"/>
          </a:xfrm>
          <a:prstGeom prst="downArrow">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1" lang="ja-JP" altLang="en-US" sz="2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0" name="Rectangle 14"/>
          <p:cNvSpPr/>
          <p:nvPr/>
        </p:nvSpPr>
        <p:spPr bwMode="auto">
          <a:xfrm>
            <a:off x="6880660" y="5377709"/>
            <a:ext cx="1828800" cy="5959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Ground Laser Hut </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 Tunnel RF gun box</a:t>
            </a: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91" name="Rectangle 23"/>
          <p:cNvSpPr/>
          <p:nvPr/>
        </p:nvSpPr>
        <p:spPr bwMode="auto">
          <a:xfrm>
            <a:off x="674034" y="5377709"/>
            <a:ext cx="2971800" cy="59597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ransporting Line for</a:t>
            </a:r>
          </a:p>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wo Lasers (11 m long)</a:t>
            </a:r>
          </a:p>
        </p:txBody>
      </p:sp>
      <p:sp>
        <p:nvSpPr>
          <p:cNvPr id="92" name="正方形/長方形 91"/>
          <p:cNvSpPr/>
          <p:nvPr/>
        </p:nvSpPr>
        <p:spPr>
          <a:xfrm>
            <a:off x="5476968" y="4991911"/>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3" name="正方形/長方形 92"/>
          <p:cNvSpPr/>
          <p:nvPr/>
        </p:nvSpPr>
        <p:spPr>
          <a:xfrm rot="5400000">
            <a:off x="7092408" y="519304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4" name="正方形/長方形 93"/>
          <p:cNvSpPr/>
          <p:nvPr/>
        </p:nvSpPr>
        <p:spPr>
          <a:xfrm rot="16200000">
            <a:off x="8135878" y="5187027"/>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5" name="正方形/長方形 94"/>
          <p:cNvSpPr/>
          <p:nvPr/>
        </p:nvSpPr>
        <p:spPr>
          <a:xfrm>
            <a:off x="9611361" y="5002360"/>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96" name="Rectangle 23"/>
          <p:cNvSpPr/>
          <p:nvPr/>
        </p:nvSpPr>
        <p:spPr bwMode="auto">
          <a:xfrm>
            <a:off x="674034" y="6049865"/>
            <a:ext cx="2971800" cy="5959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br>
              <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RF Gun</a:t>
            </a: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7" name="Rectangle 14"/>
          <p:cNvSpPr/>
          <p:nvPr/>
        </p:nvSpPr>
        <p:spPr bwMode="auto">
          <a:xfrm>
            <a:off x="9946706" y="6049865"/>
            <a:ext cx="1828800" cy="595970"/>
          </a:xfrm>
          <a:prstGeom prst="rect">
            <a:avLst/>
          </a:prstGeom>
          <a:solidFill>
            <a:schemeClr val="accent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b"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From Two Injection Windows</a:t>
            </a:r>
          </a:p>
        </p:txBody>
      </p:sp>
      <p:sp>
        <p:nvSpPr>
          <p:cNvPr id="98" name="正方形/長方形 97"/>
          <p:cNvSpPr/>
          <p:nvPr/>
        </p:nvSpPr>
        <p:spPr>
          <a:xfrm rot="5400000">
            <a:off x="10647746" y="5789013"/>
            <a:ext cx="426720"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ja-JP"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sym typeface="Wingdings" panose="05000000000000000000" pitchFamily="2" charset="2"/>
              </a:rPr>
              <a:t></a:t>
            </a:r>
            <a:endParaRPr kumimoji="1" lang="ja-JP" altLang="en-US" sz="1800" b="0" i="0" u="none" strike="noStrike" kern="1200" cap="none" spc="0" normalizeH="0" baseline="0" noProof="0" dirty="0">
              <a:ln>
                <a:noFill/>
              </a:ln>
              <a:solidFill>
                <a:srgbClr val="FFFFFF"/>
              </a:solidFill>
              <a:effectLst/>
              <a:uLnTx/>
              <a:uFillTx/>
              <a:latin typeface="Segoe UI"/>
              <a:ea typeface="+mn-ea"/>
              <a:cs typeface="+mn-cs"/>
            </a:endParaRPr>
          </a:p>
        </p:txBody>
      </p:sp>
      <p:cxnSp>
        <p:nvCxnSpPr>
          <p:cNvPr id="99" name="直線コネクタ 98"/>
          <p:cNvCxnSpPr/>
          <p:nvPr/>
        </p:nvCxnSpPr>
        <p:spPr>
          <a:xfrm>
            <a:off x="10861106" y="5301524"/>
            <a:ext cx="0" cy="672155"/>
          </a:xfrm>
          <a:prstGeom prst="line">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4" name="Title 3"/>
          <p:cNvSpPr>
            <a:spLocks noGrp="1"/>
          </p:cNvSpPr>
          <p:nvPr>
            <p:ph type="title"/>
          </p:nvPr>
        </p:nvSpPr>
        <p:spPr>
          <a:xfrm>
            <a:off x="555726" y="123347"/>
            <a:ext cx="10695924" cy="593487"/>
          </a:xfrm>
        </p:spPr>
        <p:txBody>
          <a:bodyPr/>
          <a:lstStyle/>
          <a:p>
            <a:r>
              <a:rPr lang="en-US" sz="4800" dirty="0"/>
              <a:t>Current Nd/Yb Hybrid Laser System (R4.1)</a:t>
            </a:r>
          </a:p>
        </p:txBody>
      </p:sp>
      <p:sp>
        <p:nvSpPr>
          <p:cNvPr id="43" name="Rectangle 11">
            <a:extLst>
              <a:ext uri="{FF2B5EF4-FFF2-40B4-BE49-F238E27FC236}">
                <a16:creationId xmlns:a16="http://schemas.microsoft.com/office/drawing/2014/main" id="{FAFC14AF-B9DD-46C7-A7E4-ACB7889421C8}"/>
              </a:ext>
            </a:extLst>
          </p:cNvPr>
          <p:cNvSpPr/>
          <p:nvPr/>
        </p:nvSpPr>
        <p:spPr bwMode="auto">
          <a:xfrm>
            <a:off x="5807138" y="3804713"/>
            <a:ext cx="4156319" cy="423373"/>
          </a:xfrm>
          <a:prstGeom prst="rect">
            <a:avLst/>
          </a:prstGeom>
          <a:solidFill>
            <a:srgbClr val="64135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688" tIns="45688" rIns="45688" bIns="45688" numCol="1" spcCol="0" rtlCol="0" fromWordArt="0" anchor="ctr" anchorCtr="0" forceAA="0" compatLnSpc="1">
            <a:prstTxWarp prst="textNoShape">
              <a:avLst/>
            </a:prstTxWarp>
            <a:noAutofit/>
          </a:bodyPr>
          <a:lstStyle/>
          <a:p>
            <a:pPr marL="0" marR="0" lvl="0" indent="0" algn="l" defTabSz="913314" rtl="0" eaLnBrk="1" fontAlgn="base" latinLnBrk="0" hangingPunct="1">
              <a:lnSpc>
                <a:spcPct val="100000"/>
              </a:lnSpc>
              <a:spcBef>
                <a:spcPct val="0"/>
              </a:spcBef>
              <a:spcAft>
                <a:spcPct val="0"/>
              </a:spcAft>
              <a:buClrTx/>
              <a:buSzTx/>
              <a:buFontTx/>
              <a:buNone/>
              <a:tabLst/>
              <a:defRPr/>
            </a:pPr>
            <a:r>
              <a:rPr kumimoji="0" lang="en-US" altLang="zh-CN"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2nd N</a:t>
            </a:r>
            <a:r>
              <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d:YAG Laser Line with 5 Stages Rod </a:t>
            </a:r>
            <a:r>
              <a:rPr kumimoji="0" lang="en-US" altLang="ja-JP"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Amplifiers</a:t>
            </a:r>
            <a:endParaRPr kumimoji="0" lang="en-US" sz="14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mc:AlternateContent xmlns:mc="http://schemas.openxmlformats.org/markup-compatibility/2006" xmlns:pslz="http://schemas.microsoft.com/office/powerpoint/2016/slidezoom">
        <mc:Choice Requires="pslz">
          <p:graphicFrame>
            <p:nvGraphicFramePr>
              <p:cNvPr id="41" name="幻灯片缩放定位 40">
                <a:extLst>
                  <a:ext uri="{FF2B5EF4-FFF2-40B4-BE49-F238E27FC236}">
                    <a16:creationId xmlns:a16="http://schemas.microsoft.com/office/drawing/2014/main" id="{238B65AF-AEA5-4113-AB74-C325943ABD54}"/>
                  </a:ext>
                </a:extLst>
              </p:cNvPr>
              <p:cNvGraphicFramePr>
                <a:graphicFrameLocks noChangeAspect="1"/>
              </p:cNvGraphicFramePr>
              <p:nvPr>
                <p:extLst>
                  <p:ext uri="{D42A27DB-BD31-4B8C-83A1-F6EECF244321}">
                    <p14:modId xmlns:p14="http://schemas.microsoft.com/office/powerpoint/2010/main" val="615651182"/>
                  </p:ext>
                </p:extLst>
              </p:nvPr>
            </p:nvGraphicFramePr>
            <p:xfrm>
              <a:off x="8404551" y="3804713"/>
              <a:ext cx="304909" cy="97471"/>
            </p:xfrm>
            <a:graphic>
              <a:graphicData uri="http://schemas.microsoft.com/office/powerpoint/2016/slidezoom">
                <pslz:sldZm>
                  <pslz:sldZmObj sldId="384" cId="4087546858">
                    <pslz:zmPr id="{97850A31-AA33-4E5A-B70B-C69000AB422C}" imageType="cover" transitionDur="1000">
                      <p166:blipFill xmlns:p166="http://schemas.microsoft.com/office/powerpoint/2016/6/main">
                        <a:blip r:embed="rId7" cstate="print">
                          <a:extLst>
                            <a:ext uri="{28A0092B-C50C-407E-A947-70E740481C1C}">
                              <a14:useLocalDpi xmlns:a14="http://schemas.microsoft.com/office/drawing/2010/main" val="0"/>
                            </a:ext>
                          </a:extLst>
                        </a:blip>
                        <a:stretch>
                          <a:fillRect/>
                        </a:stretch>
                      </p166:blipFill>
                      <p166:spPr xmlns:p166="http://schemas.microsoft.com/office/powerpoint/2016/6/main">
                        <a:xfrm>
                          <a:off x="0" y="0"/>
                          <a:ext cx="304909" cy="97471"/>
                        </a:xfrm>
                        <a:prstGeom prst="rect">
                          <a:avLst/>
                        </a:prstGeom>
                        <a:solidFill>
                          <a:schemeClr val="tx1"/>
                        </a:solidFill>
                        <a:ln w="3175">
                          <a:noFill/>
                        </a:ln>
                      </p166:spPr>
                    </pslz:zmPr>
                  </pslz:sldZmObj>
                </pslz:sldZm>
              </a:graphicData>
            </a:graphic>
          </p:graphicFrame>
        </mc:Choice>
        <mc:Fallback xmlns="">
          <p:pic>
            <p:nvPicPr>
              <p:cNvPr id="41" name="幻灯片缩放定位 40">
                <a:hlinkClick r:id="rId8" action="ppaction://hlinksldjump"/>
                <a:extLst>
                  <a:ext uri="{FF2B5EF4-FFF2-40B4-BE49-F238E27FC236}">
                    <a16:creationId xmlns:a16="http://schemas.microsoft.com/office/drawing/2014/main" id="{238B65AF-AEA5-4113-AB74-C325943ABD54}"/>
                  </a:ext>
                </a:extLst>
              </p:cNvPr>
              <p:cNvPicPr>
                <a:picLocks noGrp="1" noRot="1" noChangeAspect="1" noMove="1" noResize="1" noEditPoints="1" noAdjustHandles="1" noChangeArrowheads="1" noChangeShapeType="1"/>
              </p:cNvPicPr>
              <p:nvPr/>
            </p:nvPicPr>
            <p:blipFill>
              <a:blip r:embed="rId9" cstate="print">
                <a:extLst>
                  <a:ext uri="{28A0092B-C50C-407E-A947-70E740481C1C}">
                    <a14:useLocalDpi xmlns:a14="http://schemas.microsoft.com/office/drawing/2010/main" val="0"/>
                  </a:ext>
                </a:extLst>
              </a:blip>
              <a:stretch>
                <a:fillRect/>
              </a:stretch>
            </p:blipFill>
            <p:spPr>
              <a:xfrm>
                <a:off x="8404551" y="3804713"/>
                <a:ext cx="304909" cy="97471"/>
              </a:xfrm>
              <a:prstGeom prst="rect">
                <a:avLst/>
              </a:prstGeom>
              <a:solidFill>
                <a:schemeClr val="tx1"/>
              </a:solidFill>
              <a:ln w="3175">
                <a:noFill/>
              </a:ln>
            </p:spPr>
          </p:pic>
        </mc:Fallback>
      </mc:AlternateContent>
      <mc:AlternateContent xmlns:mc="http://schemas.openxmlformats.org/markup-compatibility/2006" xmlns:pslz="http://schemas.microsoft.com/office/powerpoint/2016/slidezoom">
        <mc:Choice Requires="pslz">
          <p:graphicFrame>
            <p:nvGraphicFramePr>
              <p:cNvPr id="42" name="幻灯片缩放定位 41">
                <a:extLst>
                  <a:ext uri="{FF2B5EF4-FFF2-40B4-BE49-F238E27FC236}">
                    <a16:creationId xmlns:a16="http://schemas.microsoft.com/office/drawing/2014/main" id="{F3326A63-C533-4C50-BC7A-97F77869F5F9}"/>
                  </a:ext>
                </a:extLst>
              </p:cNvPr>
              <p:cNvGraphicFramePr>
                <a:graphicFrameLocks noChangeAspect="1"/>
              </p:cNvGraphicFramePr>
              <p:nvPr>
                <p:extLst>
                  <p:ext uri="{D42A27DB-BD31-4B8C-83A1-F6EECF244321}">
                    <p14:modId xmlns:p14="http://schemas.microsoft.com/office/powerpoint/2010/main" val="1265786288"/>
                  </p:ext>
                </p:extLst>
              </p:nvPr>
            </p:nvGraphicFramePr>
            <p:xfrm>
              <a:off x="9997297" y="5534024"/>
              <a:ext cx="535262" cy="458796"/>
            </p:xfrm>
            <a:graphic>
              <a:graphicData uri="http://schemas.microsoft.com/office/powerpoint/2016/slidezoom">
                <pslz:sldZm>
                  <pslz:sldZmObj sldId="267" cId="1436716337">
                    <pslz:zmPr id="{77EEE2CA-9686-444F-A7D2-CA3BC946EDB6}" returnToParent="0" imageType="cover" transitionDur="1000">
                      <p166:blipFill xmlns:p166="http://schemas.microsoft.com/office/powerpoint/2016/6/main">
                        <a:blip r:embed="rId10">
                          <a:extLst>
                            <a:ext uri="{28A0092B-C50C-407E-A947-70E740481C1C}">
                              <a14:useLocalDpi xmlns:a14="http://schemas.microsoft.com/office/drawing/2010/main" val="0"/>
                            </a:ext>
                          </a:extLst>
                        </a:blip>
                        <a:stretch>
                          <a:fillRect/>
                        </a:stretch>
                      </p166:blipFill>
                      <p166:spPr xmlns:p166="http://schemas.microsoft.com/office/powerpoint/2016/6/main">
                        <a:xfrm>
                          <a:off x="0" y="0"/>
                          <a:ext cx="535262" cy="458796"/>
                        </a:xfrm>
                        <a:prstGeom prst="rect">
                          <a:avLst/>
                        </a:prstGeom>
                        <a:solidFill>
                          <a:schemeClr val="tx1"/>
                        </a:solidFill>
                        <a:ln w="3175">
                          <a:noFill/>
                        </a:ln>
                      </p166:spPr>
                    </pslz:zmPr>
                  </pslz:sldZmObj>
                </pslz:sldZm>
              </a:graphicData>
            </a:graphic>
          </p:graphicFrame>
        </mc:Choice>
        <mc:Fallback xmlns="">
          <p:pic>
            <p:nvPicPr>
              <p:cNvPr id="42" name="幻灯片缩放定位 41">
                <a:hlinkClick r:id="rId11" action="ppaction://hlinksldjump"/>
                <a:extLst>
                  <a:ext uri="{FF2B5EF4-FFF2-40B4-BE49-F238E27FC236}">
                    <a16:creationId xmlns:a16="http://schemas.microsoft.com/office/drawing/2014/main" id="{F3326A63-C533-4C50-BC7A-97F77869F5F9}"/>
                  </a:ext>
                </a:extLst>
              </p:cNvPr>
              <p:cNvPicPr>
                <a:picLocks noGrp="1" noRot="1" noChangeAspect="1" noMove="1" noResize="1" noEditPoints="1" noAdjustHandles="1" noChangeArrowheads="1" noChangeShapeType="1"/>
              </p:cNvPicPr>
              <p:nvPr/>
            </p:nvPicPr>
            <p:blipFill>
              <a:blip r:embed="rId12">
                <a:extLst>
                  <a:ext uri="{28A0092B-C50C-407E-A947-70E740481C1C}">
                    <a14:useLocalDpi xmlns:a14="http://schemas.microsoft.com/office/drawing/2010/main" val="0"/>
                  </a:ext>
                </a:extLst>
              </a:blip>
              <a:stretch>
                <a:fillRect/>
              </a:stretch>
            </p:blipFill>
            <p:spPr>
              <a:xfrm>
                <a:off x="9997297" y="5534024"/>
                <a:ext cx="535262" cy="458796"/>
              </a:xfrm>
              <a:prstGeom prst="rect">
                <a:avLst/>
              </a:prstGeom>
              <a:solidFill>
                <a:schemeClr val="tx1"/>
              </a:solidFill>
              <a:ln w="3175">
                <a:noFill/>
              </a:ln>
            </p:spPr>
          </p:pic>
        </mc:Fallback>
      </mc:AlternateContent>
    </p:spTree>
    <p:custDataLst>
      <p:tags r:id="rId1"/>
    </p:custDataLst>
    <p:extLst>
      <p:ext uri="{BB962C8B-B14F-4D97-AF65-F5344CB8AC3E}">
        <p14:creationId xmlns:p14="http://schemas.microsoft.com/office/powerpoint/2010/main" val="1658072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118"/>
          <p:cNvSpPr/>
          <p:nvPr/>
        </p:nvSpPr>
        <p:spPr>
          <a:xfrm>
            <a:off x="11359530" y="6442502"/>
            <a:ext cx="787395" cy="415498"/>
          </a:xfrm>
          <a:prstGeom prst="rect">
            <a:avLst/>
          </a:prstGeom>
        </p:spPr>
        <p:txBody>
          <a:bodyPr wrap="none" tIns="91440">
            <a:spAutoFit/>
          </a:bodyPr>
          <a:lstStyle/>
          <a:p>
            <a:pPr marL="0" marR="0" lvl="0" indent="0" algn="ctr" defTabSz="930457" rtl="0" eaLnBrk="1" fontAlgn="auto" latinLnBrk="0" hangingPunct="1">
              <a:lnSpc>
                <a:spcPct val="100000"/>
              </a:lnSpc>
              <a:spcBef>
                <a:spcPct val="20000"/>
              </a:spcBef>
              <a:spcAft>
                <a:spcPts val="0"/>
              </a:spcAft>
              <a:buClrTx/>
              <a:buSzPct val="90000"/>
              <a:buFontTx/>
              <a:buNone/>
              <a:tabLst/>
              <a:defRPr/>
            </a:pPr>
            <a:r>
              <a:rPr kumimoji="0" lang="en-US" sz="1800" b="0" i="0" u="none" strike="noStrike" kern="0" cap="none" spc="0" normalizeH="0" baseline="0" noProof="0" dirty="0">
                <a:ln>
                  <a:noFill/>
                </a:ln>
                <a:solidFill>
                  <a:srgbClr val="FFFFFF"/>
                </a:solidFill>
                <a:effectLst/>
                <a:uLnTx/>
                <a:uFillTx/>
                <a:latin typeface="等线" panose="02010600030101010101" pitchFamily="2" charset="-122"/>
                <a:ea typeface="等线" panose="02010600030101010101" pitchFamily="2" charset="-122"/>
                <a:cs typeface="+mn-cs"/>
              </a:rPr>
              <a:t>09-17</a:t>
            </a:r>
          </a:p>
        </p:txBody>
      </p:sp>
      <p:sp>
        <p:nvSpPr>
          <p:cNvPr id="82" name="Title 3">
            <a:extLst>
              <a:ext uri="{FF2B5EF4-FFF2-40B4-BE49-F238E27FC236}">
                <a16:creationId xmlns:a16="http://schemas.microsoft.com/office/drawing/2014/main" id="{399053C4-3D87-4704-9752-CC066ED7B1D2}"/>
              </a:ext>
            </a:extLst>
          </p:cNvPr>
          <p:cNvSpPr>
            <a:spLocks noGrp="1"/>
          </p:cNvSpPr>
          <p:nvPr>
            <p:ph type="title"/>
          </p:nvPr>
        </p:nvSpPr>
        <p:spPr>
          <a:xfrm>
            <a:off x="585651" y="191653"/>
            <a:ext cx="10695924" cy="593487"/>
          </a:xfrm>
        </p:spPr>
        <p:txBody>
          <a:bodyPr/>
          <a:lstStyle/>
          <a:p>
            <a:r>
              <a:rPr lang="en-US" sz="4800" dirty="0"/>
              <a:t>Stable &amp; Efficient Nd:YAG Amplifier (</a:t>
            </a:r>
            <a:r>
              <a:rPr lang="en-US" altLang="zh-CN" sz="4800" dirty="0"/>
              <a:t>R</a:t>
            </a:r>
            <a:r>
              <a:rPr lang="en-US" sz="4800" dirty="0"/>
              <a:t>4.2)</a:t>
            </a:r>
          </a:p>
        </p:txBody>
      </p:sp>
      <p:sp>
        <p:nvSpPr>
          <p:cNvPr id="85" name="TextBox 7">
            <a:extLst>
              <a:ext uri="{FF2B5EF4-FFF2-40B4-BE49-F238E27FC236}">
                <a16:creationId xmlns:a16="http://schemas.microsoft.com/office/drawing/2014/main" id="{9DB1E7D2-70D7-4D44-A405-58BBC1916880}"/>
              </a:ext>
            </a:extLst>
          </p:cNvPr>
          <p:cNvSpPr txBox="1"/>
          <p:nvPr/>
        </p:nvSpPr>
        <p:spPr>
          <a:xfrm>
            <a:off x="7320986" y="1802214"/>
            <a:ext cx="4728639" cy="3894738"/>
          </a:xfrm>
          <a:prstGeom prst="rect">
            <a:avLst/>
          </a:prstGeom>
          <a:noFill/>
        </p:spPr>
        <p:txBody>
          <a:bodyPr wrap="square" lIns="91379" tIns="45690" rIns="91379" bIns="45690" rtlCol="0">
            <a:noAutofit/>
          </a:bodyPr>
          <a:lstStyle/>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altLang="zh-CN"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High amplification efficiency with sample configuration</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Lower pump currents by use of high dopant Nd:YAG crystals (2018 summer)</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lang="en-US" sz="2400" b="1" dirty="0">
                <a:gradFill>
                  <a:gsLst>
                    <a:gs pos="2917">
                      <a:srgbClr val="FFFFFF"/>
                    </a:gs>
                    <a:gs pos="30000">
                      <a:srgbClr val="FFFFFF"/>
                    </a:gs>
                  </a:gsLst>
                  <a:lin ang="5400000" scaled="0"/>
                </a:gradFill>
                <a:latin typeface="等线 Light" panose="02010600030101010101" pitchFamily="2" charset="-122"/>
                <a:ea typeface="等线 Light" panose="02010600030101010101" pitchFamily="2" charset="-122"/>
              </a:rPr>
              <a:t>Trouble shooting in short time for stable and smooth commissioning</a:t>
            </a: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1" lang="en-US" sz="8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endParaRPr>
          </a:p>
          <a:p>
            <a:pPr marL="171352" marR="0" lvl="0" indent="-171352" algn="l" defTabSz="932213"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1" lang="en-US" sz="2400" b="1" i="0" u="none" strike="noStrike" kern="1200" cap="none" spc="0" normalizeH="0" baseline="0" noProof="0" dirty="0">
                <a:ln>
                  <a:noFill/>
                </a:ln>
                <a:gradFill>
                  <a:gsLst>
                    <a:gs pos="2917">
                      <a:srgbClr val="FFFFFF"/>
                    </a:gs>
                    <a:gs pos="30000">
                      <a:srgbClr val="FFFFFF"/>
                    </a:gs>
                  </a:gsLst>
                  <a:lin ang="5400000" scaled="0"/>
                </a:gradFill>
                <a:effectLst/>
                <a:uLnTx/>
                <a:uFillTx/>
                <a:latin typeface="等线 Light" panose="02010600030101010101" pitchFamily="2" charset="-122"/>
                <a:ea typeface="等线 Light" panose="02010600030101010101" pitchFamily="2" charset="-122"/>
                <a:cs typeface="+mn-cs"/>
              </a:rPr>
              <a:t>No problem occurred during stage (more than 4 months)</a:t>
            </a:r>
          </a:p>
        </p:txBody>
      </p:sp>
      <p:pic>
        <p:nvPicPr>
          <p:cNvPr id="73" name="図 18">
            <a:extLst>
              <a:ext uri="{FF2B5EF4-FFF2-40B4-BE49-F238E27FC236}">
                <a16:creationId xmlns:a16="http://schemas.microsoft.com/office/drawing/2014/main" id="{EEC11F09-FB8A-4301-8547-8E67DBB2187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6669" y="1524536"/>
            <a:ext cx="6932483" cy="4254790"/>
          </a:xfrm>
          <a:prstGeom prst="rect">
            <a:avLst/>
          </a:prstGeom>
        </p:spPr>
      </p:pic>
      <p:sp>
        <p:nvSpPr>
          <p:cNvPr id="74" name="正方形/長方形 22">
            <a:extLst>
              <a:ext uri="{FF2B5EF4-FFF2-40B4-BE49-F238E27FC236}">
                <a16:creationId xmlns:a16="http://schemas.microsoft.com/office/drawing/2014/main" id="{53588861-8C00-41A8-B8DE-416C16166615}"/>
              </a:ext>
            </a:extLst>
          </p:cNvPr>
          <p:cNvSpPr/>
          <p:nvPr/>
        </p:nvSpPr>
        <p:spPr>
          <a:xfrm>
            <a:off x="206668" y="2195763"/>
            <a:ext cx="2024913"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Input @1064 nm (&lt;1 </a:t>
            </a:r>
            <a:r>
              <a:rPr lang="el-GR"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μ</a:t>
            </a:r>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J)</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75" name="正方形/長方形 23">
            <a:extLst>
              <a:ext uri="{FF2B5EF4-FFF2-40B4-BE49-F238E27FC236}">
                <a16:creationId xmlns:a16="http://schemas.microsoft.com/office/drawing/2014/main" id="{D89A64D7-85D0-4104-BD2D-AF393AB0AA67}"/>
              </a:ext>
            </a:extLst>
          </p:cNvPr>
          <p:cNvSpPr/>
          <p:nvPr/>
        </p:nvSpPr>
        <p:spPr>
          <a:xfrm>
            <a:off x="6431867" y="3845483"/>
            <a:ext cx="728084" cy="523220"/>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Output</a:t>
            </a:r>
          </a:p>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10 mJ)</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76" name="正方形/長方形 24">
            <a:extLst>
              <a:ext uri="{FF2B5EF4-FFF2-40B4-BE49-F238E27FC236}">
                <a16:creationId xmlns:a16="http://schemas.microsoft.com/office/drawing/2014/main" id="{34686D7E-2EBD-4C3B-802C-D8B6E385C8DE}"/>
              </a:ext>
            </a:extLst>
          </p:cNvPr>
          <p:cNvSpPr/>
          <p:nvPr/>
        </p:nvSpPr>
        <p:spPr>
          <a:xfrm>
            <a:off x="2293169" y="2506497"/>
            <a:ext cx="854721"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1st stage</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77" name="正方形/長方形 25">
            <a:extLst>
              <a:ext uri="{FF2B5EF4-FFF2-40B4-BE49-F238E27FC236}">
                <a16:creationId xmlns:a16="http://schemas.microsoft.com/office/drawing/2014/main" id="{6D809B7C-18BE-4C30-95C8-FE7060DF1134}"/>
              </a:ext>
            </a:extLst>
          </p:cNvPr>
          <p:cNvSpPr/>
          <p:nvPr/>
        </p:nvSpPr>
        <p:spPr>
          <a:xfrm>
            <a:off x="1969107" y="3034431"/>
            <a:ext cx="928459"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2nd stage</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78" name="正方形/長方形 26">
            <a:extLst>
              <a:ext uri="{FF2B5EF4-FFF2-40B4-BE49-F238E27FC236}">
                <a16:creationId xmlns:a16="http://schemas.microsoft.com/office/drawing/2014/main" id="{9974AD92-EEE5-40AB-AF36-B4D4BB909340}"/>
              </a:ext>
            </a:extLst>
          </p:cNvPr>
          <p:cNvSpPr/>
          <p:nvPr/>
        </p:nvSpPr>
        <p:spPr>
          <a:xfrm>
            <a:off x="5261196" y="2712282"/>
            <a:ext cx="891591"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3rd stage</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79" name="正方形/長方形 27">
            <a:extLst>
              <a:ext uri="{FF2B5EF4-FFF2-40B4-BE49-F238E27FC236}">
                <a16:creationId xmlns:a16="http://schemas.microsoft.com/office/drawing/2014/main" id="{A04B39FD-7A7A-4A42-A1D0-8A05E0F3861C}"/>
              </a:ext>
            </a:extLst>
          </p:cNvPr>
          <p:cNvSpPr/>
          <p:nvPr/>
        </p:nvSpPr>
        <p:spPr>
          <a:xfrm>
            <a:off x="5729630" y="4207805"/>
            <a:ext cx="880369"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4th stage</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80" name="正方形/長方形 28">
            <a:extLst>
              <a:ext uri="{FF2B5EF4-FFF2-40B4-BE49-F238E27FC236}">
                <a16:creationId xmlns:a16="http://schemas.microsoft.com/office/drawing/2014/main" id="{FB130DD9-229F-4E33-AC7E-4877EE9E1641}"/>
              </a:ext>
            </a:extLst>
          </p:cNvPr>
          <p:cNvSpPr/>
          <p:nvPr/>
        </p:nvSpPr>
        <p:spPr>
          <a:xfrm>
            <a:off x="6199471" y="3121065"/>
            <a:ext cx="880369"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5th stage</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86" name="正方形/長方形 29">
            <a:extLst>
              <a:ext uri="{FF2B5EF4-FFF2-40B4-BE49-F238E27FC236}">
                <a16:creationId xmlns:a16="http://schemas.microsoft.com/office/drawing/2014/main" id="{DA5DE6F4-FDAB-4A5A-97D6-E84FBA3ED19A}"/>
              </a:ext>
            </a:extLst>
          </p:cNvPr>
          <p:cNvSpPr/>
          <p:nvPr/>
        </p:nvSpPr>
        <p:spPr>
          <a:xfrm>
            <a:off x="4540348" y="4384836"/>
            <a:ext cx="1037463" cy="307777"/>
          </a:xfrm>
          <a:prstGeom prst="rect">
            <a:avLst/>
          </a:prstGeom>
        </p:spPr>
        <p:txBody>
          <a:bodyPr wrap="none">
            <a:spAutoFit/>
          </a:bodyPr>
          <a:lstStyle/>
          <a:p>
            <a:r>
              <a:rPr lang="en-US" altLang="ja-JP" sz="1400"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Pockels cell</a:t>
            </a:r>
            <a:endParaRPr lang="ja-JP" altLang="en-US" sz="1400" b="1" dirty="0">
              <a:solidFill>
                <a:prstClr val="black"/>
              </a:solidFill>
              <a:latin typeface="等线 Light" panose="02010600030101010101" pitchFamily="2" charset="-122"/>
              <a:ea typeface="等线 Light" panose="02010600030101010101" pitchFamily="2" charset="-122"/>
            </a:endParaRPr>
          </a:p>
        </p:txBody>
      </p:sp>
      <p:sp>
        <p:nvSpPr>
          <p:cNvPr id="87" name="テキスト ボックス 32">
            <a:extLst>
              <a:ext uri="{FF2B5EF4-FFF2-40B4-BE49-F238E27FC236}">
                <a16:creationId xmlns:a16="http://schemas.microsoft.com/office/drawing/2014/main" id="{8920A070-BC00-4398-BB62-1E0B92D56CDF}"/>
              </a:ext>
            </a:extLst>
          </p:cNvPr>
          <p:cNvSpPr txBox="1"/>
          <p:nvPr/>
        </p:nvSpPr>
        <p:spPr>
          <a:xfrm>
            <a:off x="455419" y="4538724"/>
            <a:ext cx="3552324" cy="646331"/>
          </a:xfrm>
          <a:prstGeom prst="rect">
            <a:avLst/>
          </a:prstGeom>
          <a:noFill/>
        </p:spPr>
        <p:txBody>
          <a:bodyPr wrap="square" rtlCol="0">
            <a:spAutoFit/>
          </a:bodyPr>
          <a:lstStyle/>
          <a:p>
            <a:r>
              <a:rPr lang="en-US" altLang="ja-JP"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4 m x 0.8 m</a:t>
            </a:r>
          </a:p>
          <a:p>
            <a:r>
              <a:rPr lang="en-US" altLang="ja-JP" b="1" dirty="0">
                <a:solidFill>
                  <a:prstClr val="white"/>
                </a:solidFill>
                <a:latin typeface="等线 Light" panose="02010600030101010101" pitchFamily="2" charset="-122"/>
                <a:ea typeface="等线 Light" panose="02010600030101010101" pitchFamily="2" charset="-122"/>
                <a:cs typeface="Arial Unicode MS" panose="020B0604020202020204" pitchFamily="34" charset="-122"/>
              </a:rPr>
              <a:t>Optical path: 22 m</a:t>
            </a:r>
          </a:p>
        </p:txBody>
      </p:sp>
      <p:cxnSp>
        <p:nvCxnSpPr>
          <p:cNvPr id="89" name="直線矢印コネクタ 20">
            <a:extLst>
              <a:ext uri="{FF2B5EF4-FFF2-40B4-BE49-F238E27FC236}">
                <a16:creationId xmlns:a16="http://schemas.microsoft.com/office/drawing/2014/main" id="{07E1C208-6956-403E-B4A8-9E14D92D80F2}"/>
              </a:ext>
            </a:extLst>
          </p:cNvPr>
          <p:cNvCxnSpPr/>
          <p:nvPr/>
        </p:nvCxnSpPr>
        <p:spPr>
          <a:xfrm>
            <a:off x="385586" y="2541267"/>
            <a:ext cx="400130" cy="90683"/>
          </a:xfrm>
          <a:prstGeom prst="straightConnector1">
            <a:avLst/>
          </a:prstGeom>
          <a:noFill/>
          <a:ln w="28575" cap="flat" cmpd="sng" algn="ctr">
            <a:solidFill>
              <a:srgbClr val="FF0000"/>
            </a:solidFill>
            <a:prstDash val="solid"/>
            <a:headEnd type="none" w="med" len="med"/>
            <a:tailEnd type="triangle" w="med" len="med"/>
          </a:ln>
          <a:effectLst/>
        </p:spPr>
      </p:cxnSp>
      <p:cxnSp>
        <p:nvCxnSpPr>
          <p:cNvPr id="90" name="直線矢印コネクタ 21">
            <a:extLst>
              <a:ext uri="{FF2B5EF4-FFF2-40B4-BE49-F238E27FC236}">
                <a16:creationId xmlns:a16="http://schemas.microsoft.com/office/drawing/2014/main" id="{9F63428E-4081-4BF4-A33A-80664FC8E70E}"/>
              </a:ext>
            </a:extLst>
          </p:cNvPr>
          <p:cNvCxnSpPr/>
          <p:nvPr/>
        </p:nvCxnSpPr>
        <p:spPr>
          <a:xfrm>
            <a:off x="6414213" y="3800141"/>
            <a:ext cx="400130" cy="68682"/>
          </a:xfrm>
          <a:prstGeom prst="straightConnector1">
            <a:avLst/>
          </a:prstGeom>
          <a:noFill/>
          <a:ln w="28575" cap="flat" cmpd="sng" algn="ctr">
            <a:solidFill>
              <a:srgbClr val="FF0000"/>
            </a:solidFill>
            <a:prstDash val="solid"/>
            <a:headEnd type="none" w="med" len="med"/>
            <a:tailEnd type="triangle" w="med" len="med"/>
          </a:ln>
          <a:effectLst/>
        </p:spPr>
      </p:cxnSp>
      <p:sp>
        <p:nvSpPr>
          <p:cNvPr id="2" name="矩形 1">
            <a:extLst>
              <a:ext uri="{FF2B5EF4-FFF2-40B4-BE49-F238E27FC236}">
                <a16:creationId xmlns:a16="http://schemas.microsoft.com/office/drawing/2014/main" id="{FCA1BCF9-0E24-4417-BF38-A26073A2EB93}"/>
              </a:ext>
            </a:extLst>
          </p:cNvPr>
          <p:cNvSpPr/>
          <p:nvPr/>
        </p:nvSpPr>
        <p:spPr>
          <a:xfrm>
            <a:off x="1409752" y="1511221"/>
            <a:ext cx="4225837" cy="461665"/>
          </a:xfrm>
          <a:prstGeom prst="rect">
            <a:avLst/>
          </a:prstGeom>
        </p:spPr>
        <p:txBody>
          <a:bodyPr wrap="none">
            <a:spAutoFit/>
          </a:bodyPr>
          <a:lstStyle/>
          <a:p>
            <a:r>
              <a:rPr lang="en-US" altLang="zh-CN" sz="2400" b="1" dirty="0">
                <a:latin typeface="等线 Light" panose="02010600030101010101" pitchFamily="2" charset="-122"/>
                <a:ea typeface="等线 Light" panose="02010600030101010101" pitchFamily="2" charset="-122"/>
              </a:rPr>
              <a:t>Layout of Nd:YAG rod amplifier</a:t>
            </a:r>
          </a:p>
        </p:txBody>
      </p:sp>
    </p:spTree>
    <p:custDataLst>
      <p:tags r:id="rId1"/>
    </p:custDataLst>
    <p:extLst>
      <p:ext uri="{BB962C8B-B14F-4D97-AF65-F5344CB8AC3E}">
        <p14:creationId xmlns:p14="http://schemas.microsoft.com/office/powerpoint/2010/main" val="40875468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nodeType="withEffect">
                                  <p:stCondLst>
                                    <p:cond delay="0"/>
                                  </p:stCondLst>
                                  <p:childTnLst>
                                    <p:set>
                                      <p:cBhvr>
                                        <p:cTn id="9" dur="1" fill="hold">
                                          <p:stCondLst>
                                            <p:cond delay="0"/>
                                          </p:stCondLst>
                                        </p:cTn>
                                        <p:tgtEl>
                                          <p:spTgt spid="89"/>
                                        </p:tgtEl>
                                        <p:attrNameLst>
                                          <p:attrName>style.visibility</p:attrName>
                                        </p:attrNameLst>
                                      </p:cBhvr>
                                      <p:to>
                                        <p:strVal val="visible"/>
                                      </p:to>
                                    </p:set>
                                    <p:animEffect transition="in" filter="fade">
                                      <p:cBhvr>
                                        <p:cTn id="10" dur="500"/>
                                        <p:tgtEl>
                                          <p:spTgt spid="8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5"/>
                                        </p:tgtEl>
                                        <p:attrNameLst>
                                          <p:attrName>style.visibility</p:attrName>
                                        </p:attrNameLst>
                                      </p:cBhvr>
                                      <p:to>
                                        <p:strVal val="visible"/>
                                      </p:to>
                                    </p:set>
                                    <p:animEffect transition="in" filter="fade">
                                      <p:cBhvr>
                                        <p:cTn id="15" dur="500"/>
                                        <p:tgtEl>
                                          <p:spTgt spid="75"/>
                                        </p:tgtEl>
                                      </p:cBhvr>
                                    </p:animEffect>
                                  </p:childTnLst>
                                </p:cTn>
                              </p:par>
                              <p:par>
                                <p:cTn id="16" presetID="10" presetClass="entr" presetSubtype="0" fill="hold" nodeType="withEffect">
                                  <p:stCondLst>
                                    <p:cond delay="0"/>
                                  </p:stCondLst>
                                  <p:childTnLst>
                                    <p:set>
                                      <p:cBhvr>
                                        <p:cTn id="17" dur="1" fill="hold">
                                          <p:stCondLst>
                                            <p:cond delay="0"/>
                                          </p:stCondLst>
                                        </p:cTn>
                                        <p:tgtEl>
                                          <p:spTgt spid="90"/>
                                        </p:tgtEl>
                                        <p:attrNameLst>
                                          <p:attrName>style.visibility</p:attrName>
                                        </p:attrNameLst>
                                      </p:cBhvr>
                                      <p:to>
                                        <p:strVal val="visible"/>
                                      </p:to>
                                    </p:set>
                                    <p:animEffect transition="in" filter="fade">
                                      <p:cBhvr>
                                        <p:cTn id="18"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P spid="7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TIMING" val="|10.7"/>
</p:tagLst>
</file>

<file path=ppt/tags/tag2.xml><?xml version="1.0" encoding="utf-8"?>
<p:tagLst xmlns:a="http://schemas.openxmlformats.org/drawingml/2006/main" xmlns:r="http://schemas.openxmlformats.org/officeDocument/2006/relationships" xmlns:p="http://schemas.openxmlformats.org/presentationml/2006/main">
  <p:tag name="TIMING" val="|0|0|0.2"/>
</p:tagLst>
</file>

<file path=ppt/tags/tag3.xml><?xml version="1.0" encoding="utf-8"?>
<p:tagLst xmlns:a="http://schemas.openxmlformats.org/drawingml/2006/main" xmlns:r="http://schemas.openxmlformats.org/officeDocument/2006/relationships" xmlns:p="http://schemas.openxmlformats.org/presentationml/2006/main">
  <p:tag name="TIMING" val="|0.2"/>
</p:tagLst>
</file>

<file path=ppt/tags/tag4.xml><?xml version="1.0" encoding="utf-8"?>
<p:tagLst xmlns:a="http://schemas.openxmlformats.org/drawingml/2006/main" xmlns:r="http://schemas.openxmlformats.org/officeDocument/2006/relationships" xmlns:p="http://schemas.openxmlformats.org/presentationml/2006/main">
  <p:tag name="TIMING" val="|0.1"/>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IMING" val="|0.1"/>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chEd_2013_Template_r09">
  <a:themeElements>
    <a:clrScheme name="自定义 34">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FFFFFF"/>
      </a:hlink>
      <a:folHlink>
        <a:srgbClr val="FFFF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3.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982</TotalTime>
  <Words>2749</Words>
  <Application>Microsoft Office PowerPoint</Application>
  <PresentationFormat>宽屏</PresentationFormat>
  <Paragraphs>617</Paragraphs>
  <Slides>42</Slides>
  <Notes>30</Notes>
  <HiddenSlides>0</HiddenSlides>
  <MMClips>0</MMClips>
  <ScaleCrop>false</ScaleCrop>
  <HeadingPairs>
    <vt:vector size="8" baseType="variant">
      <vt:variant>
        <vt:lpstr>已用的字体</vt:lpstr>
      </vt:variant>
      <vt:variant>
        <vt:i4>17</vt:i4>
      </vt:variant>
      <vt:variant>
        <vt:lpstr>主题</vt:lpstr>
      </vt:variant>
      <vt:variant>
        <vt:i4>6</vt:i4>
      </vt:variant>
      <vt:variant>
        <vt:lpstr>嵌入 OLE 服务器</vt:lpstr>
      </vt:variant>
      <vt:variant>
        <vt:i4>1</vt:i4>
      </vt:variant>
      <vt:variant>
        <vt:lpstr>幻灯片标题</vt:lpstr>
      </vt:variant>
      <vt:variant>
        <vt:i4>42</vt:i4>
      </vt:variant>
    </vt:vector>
  </HeadingPairs>
  <TitlesOfParts>
    <vt:vector size="66" baseType="lpstr">
      <vt:lpstr>Arial Unicode MS</vt:lpstr>
      <vt:lpstr>Avenir LT Pro 45 Book</vt:lpstr>
      <vt:lpstr>ＭＳ 明朝</vt:lpstr>
      <vt:lpstr>ＭＳ Ｐゴシック</vt:lpstr>
      <vt:lpstr>Segoe Semibold</vt:lpstr>
      <vt:lpstr>等线</vt:lpstr>
      <vt:lpstr>等线 Light</vt:lpstr>
      <vt:lpstr>Arial</vt:lpstr>
      <vt:lpstr>Arial Black</vt:lpstr>
      <vt:lpstr>Calibri</vt:lpstr>
      <vt:lpstr>Calibri Light</vt:lpstr>
      <vt:lpstr>Comic Sans MS</vt:lpstr>
      <vt:lpstr>Consolas</vt:lpstr>
      <vt:lpstr>Segoe UI</vt:lpstr>
      <vt:lpstr>Segoe UI Light</vt:lpstr>
      <vt:lpstr>Times New Roman</vt:lpstr>
      <vt:lpstr>Wingdings</vt:lpstr>
      <vt:lpstr>Office テーマ</vt:lpstr>
      <vt:lpstr>TechEd_2013_Template_r09</vt:lpstr>
      <vt:lpstr>1_Office テーマ</vt:lpstr>
      <vt:lpstr>2_Office テーマ</vt:lpstr>
      <vt:lpstr>2_Office ​​テーマ</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Current Nd/Yb Hybrid Laser System (R4.1)</vt:lpstr>
      <vt:lpstr>Current Nd/Yb Hybrid Laser System (R4.1)</vt:lpstr>
      <vt:lpstr>Stable &amp; Efficient Nd:YAG Amplifier (R4.2)</vt:lpstr>
      <vt:lpstr>Two Lasers Injection Mode (R4.1)</vt:lpstr>
      <vt:lpstr>Controllable and Monitorable Laser (R4.2)</vt:lpstr>
      <vt:lpstr>Laser Status Monitoring System</vt:lpstr>
      <vt:lpstr>Electron Beam Commissioning (R4.2 &amp; R4.4)</vt:lpstr>
      <vt:lpstr>Stable &amp; Continuous Operation in the Commissioning </vt:lpstr>
      <vt:lpstr>Updates (R4.1 &amp; R4.2)</vt:lpstr>
      <vt:lpstr>Laser for Middle &amp;  Later Stages of Phase III </vt:lpstr>
      <vt:lpstr>Summery</vt:lpstr>
      <vt:lpstr>Backup</vt:lpstr>
      <vt:lpstr>Recommendations of the 22nd Review</vt:lpstr>
      <vt:lpstr>Plan </vt:lpstr>
      <vt:lpstr>Updates in 2019 Summer</vt:lpstr>
      <vt:lpstr>Updates in 2020</vt:lpstr>
      <vt:lpstr>Updates in 2020</vt:lpstr>
      <vt:lpstr>Updates in 2020</vt:lpstr>
      <vt:lpstr>Wire Scanner Result @ 5 Sector</vt:lpstr>
      <vt:lpstr>Streak Camera Test Data by 2 Lasers</vt:lpstr>
      <vt:lpstr>Statistics</vt:lpstr>
      <vt:lpstr>Ir2Ce: Simple Test Result</vt:lpstr>
      <vt:lpstr>PowerPoint 演示文稿</vt:lpstr>
      <vt:lpstr>PowerPoint 演示文稿</vt:lpstr>
      <vt:lpstr>PowerPoint 演示文稿</vt:lpstr>
      <vt:lpstr>Beam homogenizer</vt:lpstr>
      <vt:lpstr>Beam homogenizer</vt:lpstr>
      <vt:lpstr>PowerPoint 演示文稿</vt:lpstr>
      <vt:lpstr>RF-Gun for 5 nC</vt:lpstr>
      <vt:lpstr>Required laser pulse energy</vt:lpstr>
      <vt:lpstr>PowerPoint 演示文稿</vt:lpstr>
      <vt:lpstr>PowerPoint 演示文稿</vt:lpstr>
      <vt:lpstr>Electron beam (EB) heating type cathode plug</vt:lpstr>
      <vt:lpstr>Heating Test</vt:lpstr>
      <vt:lpstr>YCOB CRYSTAL at LINAC</vt:lpstr>
      <vt:lpstr>PowerPoint 演示文稿</vt:lpstr>
    </vt:vector>
  </TitlesOfParts>
  <Company>KE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or-led Labs</dc:title>
  <dc:creator>Zhang Rui</dc:creator>
  <cp:lastModifiedBy>Zhang Rui</cp:lastModifiedBy>
  <cp:revision>557</cp:revision>
  <dcterms:created xsi:type="dcterms:W3CDTF">2018-12-11T10:06:11Z</dcterms:created>
  <dcterms:modified xsi:type="dcterms:W3CDTF">2019-07-09T04:17:15Z</dcterms:modified>
</cp:coreProperties>
</file>